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omments/modernComment_14F_7AE714B9.xml" ContentType="application/vnd.ms-powerpoint.comment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92" r:id="rId4"/>
  </p:sldMasterIdLst>
  <p:notesMasterIdLst>
    <p:notesMasterId r:id="rId9"/>
  </p:notesMasterIdLst>
  <p:handoutMasterIdLst>
    <p:handoutMasterId r:id="rId10"/>
  </p:handoutMasterIdLst>
  <p:sldIdLst>
    <p:sldId id="331" r:id="rId5"/>
    <p:sldId id="333" r:id="rId6"/>
    <p:sldId id="335" r:id="rId7"/>
    <p:sldId id="3680" r:id="rId8"/>
  </p:sldIdLst>
  <p:sldSz cx="9925050" cy="6858000"/>
  <p:notesSz cx="6950075" cy="92360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V Nadia Touhami" id="{B15F224F-984E-4D6B-8CD6-DFEBFC230E61}">
          <p14:sldIdLst>
            <p14:sldId id="331"/>
            <p14:sldId id="333"/>
            <p14:sldId id="335"/>
            <p14:sldId id="3680"/>
          </p14:sldIdLst>
        </p14:section>
      </p14:sectionLst>
    </p:ext>
    <p:ext uri="{EFAFB233-063F-42B5-8137-9DF3F51BA10A}">
      <p15:sldGuideLst xmlns:p15="http://schemas.microsoft.com/office/powerpoint/2012/main">
        <p15:guide id="1" orient="horz" pos="2183" userDrawn="1">
          <p15:clr>
            <a:srgbClr val="A4A3A4"/>
          </p15:clr>
        </p15:guide>
        <p15:guide id="2" pos="3126"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eu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eu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D00"/>
    <a:srgbClr val="FFFFFF"/>
    <a:srgbClr val="FF4136"/>
    <a:srgbClr val="D2D2DA"/>
    <a:srgbClr val="FFE2CC"/>
    <a:srgbClr val="A4E9B9"/>
    <a:srgbClr val="FFFACC"/>
    <a:srgbClr val="D2F4DC"/>
    <a:srgbClr val="C4C4CD"/>
    <a:srgbClr val="7474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1ECF92-0C18-8C43-25A4-28C56C159287}" v="1" dt="2024-04-26T08:49:23.5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22" autoAdjust="0"/>
    <p:restoredTop sz="95013" autoAdjust="0"/>
  </p:normalViewPr>
  <p:slideViewPr>
    <p:cSldViewPr snapToGrid="0" snapToObjects="1" showGuides="1">
      <p:cViewPr varScale="1">
        <p:scale>
          <a:sx n="67" d="100"/>
          <a:sy n="67" d="100"/>
        </p:scale>
        <p:origin x="188" y="44"/>
      </p:cViewPr>
      <p:guideLst>
        <p:guide orient="horz" pos="2183"/>
        <p:guide pos="3126"/>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comments/modernComment_14F_7AE714B9.xml><?xml version="1.0" encoding="utf-8"?>
<p188:cmLst xmlns:a="http://schemas.openxmlformats.org/drawingml/2006/main" xmlns:r="http://schemas.openxmlformats.org/officeDocument/2006/relationships" xmlns:p188="http://schemas.microsoft.com/office/powerpoint/2018/8/main">
  <p188:cm id="{34DAE8CE-A364-4BFB-A45A-1122AA07122B}" authorId="{00000000-0000-0000-0000-000000000000}" created="2024-03-06T13:52:44.343">
    <ac:txMkLst xmlns:ac="http://schemas.microsoft.com/office/drawing/2013/main/command">
      <pc:docMk xmlns:pc="http://schemas.microsoft.com/office/powerpoint/2013/main/command"/>
      <pc:sldMk xmlns:pc="http://schemas.microsoft.com/office/powerpoint/2013/main/command" cId="2061964473" sldId="335"/>
      <ac:graphicFrameMk id="6" creationId="{B139E64A-453C-4AEE-8AAB-961D52D07645}"/>
      <ac:tblMk/>
      <ac:tcMk rowId="3879871424" colId="2810886987"/>
      <ac:txMk cp="0" len="416">
        <ac:context len="417" hash="1981124336"/>
      </ac:txMk>
    </ac:txMkLst>
    <p188:pos x="8931198" y="637298"/>
    <p188:replyLst>
      <p188:reply id="{300B1088-E590-4A1A-848D-02303339E9BB}" authorId="{00000000-0000-0000-0000-000000000000}" created="2024-03-06T13:55:25.021">
        <p188:txBody>
          <a:bodyPr/>
          <a:lstStyle/>
          <a:p>
            <a:r>
              <a:rPr lang="fr-FR"/>
              <a:t>Sauf si tu la retrouve sur la justif</a:t>
            </a:r>
          </a:p>
        </p188:txBody>
      </p188:reply>
      <p188:reply id="{1D418274-E67A-4A7E-948C-CE16B53DAA32}" authorId="{00000000-0000-0000-0000-000000000000}" created="2024-03-08T13:50:59.531">
        <p188:txBody>
          <a:bodyPr/>
          <a:lstStyle/>
          <a:p>
            <a:r>
              <a:rPr lang="fr-FR"/>
              <a:t>Je confirme qu'elle a travaillé dessus (justif de bonne exec)</a:t>
            </a:r>
          </a:p>
        </p188:txBody>
      </p188:reply>
    </p188:replyLst>
    <p188:txBody>
      <a:bodyPr/>
      <a:lstStyle/>
      <a:p>
        <a:r>
          <a:rPr lang="fr-FR"/>
          <a:t>Je ne pense pas qu'elle a travaillée dessus (à vérifier peut etre avec les justif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6/04/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6/04/2024</a:t>
            </a:fld>
            <a:endParaRPr lang="en-GB" dirty="0"/>
          </a:p>
        </p:txBody>
      </p:sp>
      <p:sp>
        <p:nvSpPr>
          <p:cNvPr id="4" name="Slide Image Placeholder 3"/>
          <p:cNvSpPr>
            <a:spLocks noGrp="1" noRot="1" noChangeAspect="1"/>
          </p:cNvSpPr>
          <p:nvPr>
            <p:ph type="sldImg" idx="2"/>
          </p:nvPr>
        </p:nvSpPr>
        <p:spPr>
          <a:xfrm>
            <a:off x="968375" y="692150"/>
            <a:ext cx="501332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05286" y="5826613"/>
            <a:ext cx="3155310"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64" dirty="0">
                <a:solidFill>
                  <a:schemeClr val="bg1"/>
                </a:solidFill>
              </a:endParaRPr>
            </a:p>
          </p:txBody>
        </p:sp>
      </p:grpSp>
      <p:sp>
        <p:nvSpPr>
          <p:cNvPr id="18" name="Title 1"/>
          <p:cNvSpPr>
            <a:spLocks noGrp="1"/>
          </p:cNvSpPr>
          <p:nvPr userDrawn="1">
            <p:ph type="ctrTitle"/>
          </p:nvPr>
        </p:nvSpPr>
        <p:spPr>
          <a:xfrm>
            <a:off x="768791" y="2158329"/>
            <a:ext cx="3892352" cy="860400"/>
          </a:xfrm>
          <a:prstGeom prst="rect">
            <a:avLst/>
          </a:prstGeom>
        </p:spPr>
        <p:txBody>
          <a:bodyPr/>
          <a:lstStyle>
            <a:lvl1pPr>
              <a:defRPr sz="2441"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768947" y="3200329"/>
            <a:ext cx="3911998" cy="645742"/>
          </a:xfrm>
          <a:prstGeom prst="rect">
            <a:avLst/>
          </a:prstGeom>
        </p:spPr>
        <p:txBody>
          <a:bodyPr/>
          <a:lstStyle>
            <a:lvl1pPr marL="0" indent="0" algn="l">
              <a:buNone/>
              <a:defRPr sz="1627">
                <a:solidFill>
                  <a:schemeClr val="bg1"/>
                </a:solidFill>
                <a:latin typeface="EYInterstate Light" panose="02000506000000020004" pitchFamily="2" charset="0"/>
                <a:cs typeface="Arial" pitchFamily="34" charset="0"/>
              </a:defRPr>
            </a:lvl1pPr>
            <a:lvl2pPr marL="0" indent="0" algn="l">
              <a:buNone/>
              <a:defRPr sz="1302">
                <a:solidFill>
                  <a:schemeClr val="tx1">
                    <a:lumMod val="75000"/>
                    <a:lumOff val="25000"/>
                  </a:schemeClr>
                </a:solidFill>
              </a:defRPr>
            </a:lvl2pPr>
            <a:lvl3pPr marL="743956" indent="0" algn="ctr">
              <a:buNone/>
              <a:defRPr>
                <a:solidFill>
                  <a:schemeClr val="tx1">
                    <a:tint val="75000"/>
                  </a:schemeClr>
                </a:solidFill>
              </a:defRPr>
            </a:lvl3pPr>
            <a:lvl4pPr marL="1115934" indent="0" algn="ctr">
              <a:buNone/>
              <a:defRPr>
                <a:solidFill>
                  <a:schemeClr val="tx1">
                    <a:tint val="75000"/>
                  </a:schemeClr>
                </a:solidFill>
              </a:defRPr>
            </a:lvl4pPr>
            <a:lvl5pPr marL="1487912" indent="0" algn="ctr">
              <a:buNone/>
              <a:defRPr>
                <a:solidFill>
                  <a:schemeClr val="tx1">
                    <a:tint val="75000"/>
                  </a:schemeClr>
                </a:solidFill>
              </a:defRPr>
            </a:lvl5pPr>
            <a:lvl6pPr marL="1859890" indent="0" algn="ctr">
              <a:buNone/>
              <a:defRPr>
                <a:solidFill>
                  <a:schemeClr val="tx1">
                    <a:tint val="75000"/>
                  </a:schemeClr>
                </a:solidFill>
              </a:defRPr>
            </a:lvl6pPr>
            <a:lvl7pPr marL="2231868" indent="0" algn="ctr">
              <a:buNone/>
              <a:defRPr>
                <a:solidFill>
                  <a:schemeClr val="tx1">
                    <a:tint val="75000"/>
                  </a:schemeClr>
                </a:solidFill>
              </a:defRPr>
            </a:lvl7pPr>
            <a:lvl8pPr marL="2603845" indent="0" algn="ctr">
              <a:buNone/>
              <a:defRPr>
                <a:solidFill>
                  <a:schemeClr val="tx1">
                    <a:tint val="75000"/>
                  </a:schemeClr>
                </a:solidFill>
              </a:defRPr>
            </a:lvl8pPr>
            <a:lvl9pPr marL="2975823"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98167" y="723658"/>
            <a:ext cx="4622237"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464"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98167"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sp>
        <p:nvSpPr>
          <p:cNvPr id="5" name="Freeform: Shape 4">
            <a:extLst>
              <a:ext uri="{FF2B5EF4-FFF2-40B4-BE49-F238E27FC236}">
                <a16:creationId xmlns:a16="http://schemas.microsoft.com/office/drawing/2014/main" id="{CAA95478-C099-485F-AD95-A617656C6C7C}"/>
              </a:ext>
            </a:extLst>
          </p:cNvPr>
          <p:cNvSpPr/>
          <p:nvPr/>
        </p:nvSpPr>
        <p:spPr>
          <a:xfrm>
            <a:off x="630324"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sp>
        <p:nvSpPr>
          <p:cNvPr id="6" name="Freeform: Shape 5">
            <a:extLst>
              <a:ext uri="{FF2B5EF4-FFF2-40B4-BE49-F238E27FC236}">
                <a16:creationId xmlns:a16="http://schemas.microsoft.com/office/drawing/2014/main" id="{D65680A1-86D1-44C2-AA38-0DF5735F1F26}"/>
              </a:ext>
            </a:extLst>
          </p:cNvPr>
          <p:cNvSpPr/>
          <p:nvPr/>
        </p:nvSpPr>
        <p:spPr>
          <a:xfrm>
            <a:off x="862384" y="4021756"/>
            <a:ext cx="12338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64"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8433193" y="4960938"/>
            <a:ext cx="997155"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87052" y="2851522"/>
            <a:ext cx="3618902" cy="1202318"/>
          </a:xfrm>
        </p:spPr>
        <p:txBody>
          <a:bodyPr vert="horz" lIns="0" tIns="0" rIns="0" bIns="0" rtlCol="0" anchor="ctr" anchorCtr="0">
            <a:noAutofit/>
          </a:bodyPr>
          <a:lstStyle>
            <a:lvl1pPr marL="0" indent="0">
              <a:buNone/>
              <a:defRPr kumimoji="0" lang="en-IN" sz="292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90143" marR="0" lvl="0" indent="-290143" defTabSz="82001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629436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87052" y="2851522"/>
            <a:ext cx="3618902" cy="1202318"/>
          </a:xfrm>
        </p:spPr>
        <p:txBody>
          <a:bodyPr vert="horz" lIns="0" tIns="0" rIns="0" bIns="0" rtlCol="0" anchor="ctr" anchorCtr="0">
            <a:noAutofit/>
          </a:bodyPr>
          <a:lstStyle>
            <a:lvl1pPr marL="0" indent="0">
              <a:buNone/>
              <a:defRPr kumimoji="0" lang="en-IN" sz="292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90143" marR="0" lvl="0" indent="-290143" defTabSz="82001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493119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88391" y="1488927"/>
            <a:ext cx="1902603"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9112"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417682" y="2526765"/>
            <a:ext cx="4305776" cy="1800000"/>
          </a:xfrm>
        </p:spPr>
        <p:txBody>
          <a:bodyPr lIns="90000" tIns="46800" rIns="90000" bIns="46800"/>
          <a:lstStyle>
            <a:lvl1pPr marL="0" indent="0">
              <a:buNone/>
              <a:defRPr lang="en-US" sz="2278" dirty="0" smtClean="0">
                <a:latin typeface="Georgia" panose="02040502050405020303" pitchFamily="18" charset="0"/>
              </a:defRPr>
            </a:lvl1pPr>
          </a:lstStyle>
          <a:p>
            <a:pPr marL="290143" lvl="0" indent="-290143">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417682" y="4632765"/>
            <a:ext cx="4305776" cy="316838"/>
          </a:xfrm>
        </p:spPr>
        <p:txBody>
          <a:bodyPr lIns="90000" tIns="46800" rIns="90000" bIns="46800"/>
          <a:lstStyle>
            <a:lvl1pPr marL="0" indent="0" algn="l" defTabSz="743956" rtl="0" eaLnBrk="1" latinLnBrk="0" hangingPunct="1">
              <a:spcBef>
                <a:spcPts val="0"/>
              </a:spcBef>
              <a:spcAft>
                <a:spcPts val="488"/>
              </a:spcAft>
              <a:buClr>
                <a:schemeClr val="tx2"/>
              </a:buClr>
              <a:buSzPct val="70000"/>
              <a:buFont typeface="Arial" pitchFamily="34" charset="0"/>
              <a:buNone/>
              <a:defRPr lang="en-US" sz="1302" kern="1200" dirty="0" smtClean="0">
                <a:solidFill>
                  <a:srgbClr val="2E2E38"/>
                </a:solidFill>
                <a:latin typeface="+mn-lt"/>
                <a:ea typeface="+mn-ea"/>
                <a:cs typeface="+mn-cs"/>
              </a:defRPr>
            </a:lvl1pPr>
            <a:lvl2pPr marL="290143" indent="0">
              <a:buNone/>
              <a:defRPr lang="en-US" sz="1627" smtClean="0">
                <a:latin typeface="+mn-lt"/>
              </a:defRPr>
            </a:lvl2pPr>
            <a:lvl3pPr>
              <a:defRPr lang="en-US" sz="1464" smtClean="0">
                <a:latin typeface="+mn-lt"/>
              </a:defRPr>
            </a:lvl3pPr>
            <a:lvl4pPr>
              <a:defRPr lang="en-US" sz="1302" smtClean="0">
                <a:latin typeface="+mn-lt"/>
              </a:defRPr>
            </a:lvl4pPr>
            <a:lvl5pPr>
              <a:defRPr lang="en-IN" sz="1302">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417682" y="4971442"/>
            <a:ext cx="4305776" cy="316838"/>
          </a:xfrm>
        </p:spPr>
        <p:txBody>
          <a:bodyPr lIns="90000" tIns="46800" rIns="90000" bIns="46800"/>
          <a:lstStyle>
            <a:lvl1pPr marL="0" indent="0" algn="l" defTabSz="743956" rtl="0" eaLnBrk="1" latinLnBrk="0" hangingPunct="1">
              <a:spcBef>
                <a:spcPts val="0"/>
              </a:spcBef>
              <a:spcAft>
                <a:spcPts val="488"/>
              </a:spcAft>
              <a:buClr>
                <a:schemeClr val="tx2"/>
              </a:buClr>
              <a:buSzPct val="70000"/>
              <a:buFont typeface="Arial" pitchFamily="34" charset="0"/>
              <a:buNone/>
              <a:defRPr lang="en-US" sz="1302" kern="1200" dirty="0" smtClean="0">
                <a:solidFill>
                  <a:srgbClr val="2E2E38"/>
                </a:solidFill>
                <a:latin typeface="+mn-lt"/>
                <a:ea typeface="+mn-ea"/>
                <a:cs typeface="+mn-cs"/>
              </a:defRPr>
            </a:lvl1pPr>
            <a:lvl2pPr marL="290143" indent="0">
              <a:buNone/>
              <a:defRPr lang="en-US" sz="1627" smtClean="0">
                <a:latin typeface="+mn-lt"/>
              </a:defRPr>
            </a:lvl2pPr>
            <a:lvl3pPr>
              <a:defRPr lang="en-US" sz="1464" smtClean="0">
                <a:latin typeface="+mn-lt"/>
              </a:defRPr>
            </a:lvl3pPr>
            <a:lvl4pPr>
              <a:defRPr lang="en-US" sz="1302" smtClean="0">
                <a:latin typeface="+mn-lt"/>
              </a:defRPr>
            </a:lvl4pPr>
            <a:lvl5pPr>
              <a:defRPr lang="en-IN" sz="1302">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809637" y="2060235"/>
            <a:ext cx="4305776" cy="3025522"/>
          </a:xfrm>
        </p:spPr>
        <p:txBody>
          <a:bodyPr lIns="0" tIns="0" rIns="0" bIns="0">
            <a:noAutofit/>
          </a:bodyPr>
          <a:lstStyle>
            <a:lvl1pPr marL="0" indent="0" algn="ctr">
              <a:buNone/>
              <a:defRPr lang="en-US" sz="2278" dirty="0" smtClean="0">
                <a:latin typeface="Georgia" panose="02040502050405020303" pitchFamily="18" charset="0"/>
              </a:defRPr>
            </a:lvl1pPr>
          </a:lstStyle>
          <a:p>
            <a:pPr marL="290143" lvl="0" indent="-290143"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809637" y="5506678"/>
            <a:ext cx="4305776" cy="316838"/>
          </a:xfrm>
        </p:spPr>
        <p:txBody>
          <a:bodyPr lIns="0" tIns="0" rIns="0" bIns="0">
            <a:noAutofit/>
          </a:bodyPr>
          <a:lstStyle>
            <a:lvl1pPr marL="0" indent="0" algn="ctr">
              <a:buNone/>
              <a:defRPr lang="en-US" sz="1302" dirty="0" smtClean="0">
                <a:solidFill>
                  <a:srgbClr val="2E2E38"/>
                </a:solidFill>
                <a:latin typeface="+mn-lt"/>
              </a:defRPr>
            </a:lvl1pPr>
          </a:lstStyle>
          <a:p>
            <a:pPr marL="290143" lvl="0" indent="-290143" algn="ctr">
              <a:spcBef>
                <a:spcPts val="0"/>
              </a:spcBef>
              <a:spcAft>
                <a:spcPts val="488"/>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809637" y="5818717"/>
            <a:ext cx="4305776" cy="316838"/>
          </a:xfrm>
        </p:spPr>
        <p:txBody>
          <a:bodyPr vert="horz" lIns="0" tIns="0" rIns="0" bIns="0" rtlCol="0" anchor="t" anchorCtr="0">
            <a:noAutofit/>
          </a:bodyPr>
          <a:lstStyle>
            <a:lvl1pPr marL="0" indent="0" algn="ctr">
              <a:buNone/>
              <a:defRPr lang="en-US" sz="1302" dirty="0" smtClean="0">
                <a:solidFill>
                  <a:srgbClr val="2E2E38"/>
                </a:solidFill>
                <a:latin typeface="+mn-lt"/>
              </a:defRPr>
            </a:lvl1pPr>
          </a:lstStyle>
          <a:p>
            <a:pPr marL="290143" lvl="0" indent="-290143" algn="ctr">
              <a:spcBef>
                <a:spcPts val="0"/>
              </a:spcBef>
              <a:spcAft>
                <a:spcPts val="488"/>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011224" y="979788"/>
            <a:ext cx="1902603"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9112"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5066675" y="0"/>
            <a:ext cx="4858375"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00807" y="2578743"/>
            <a:ext cx="3692259" cy="1055708"/>
          </a:xfrm>
        </p:spPr>
        <p:txBody>
          <a:bodyPr/>
          <a:lstStyle>
            <a:lvl1pPr marL="0" indent="0">
              <a:buNone/>
              <a:defRPr sz="2441"/>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00807" y="3840384"/>
            <a:ext cx="3692259" cy="1055708"/>
          </a:xfrm>
        </p:spPr>
        <p:txBody>
          <a:bodyPr/>
          <a:lstStyle>
            <a:lvl1pPr marL="0" indent="0">
              <a:buNone/>
              <a:defRPr sz="1302"/>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678627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96253" y="1137921"/>
            <a:ext cx="4033618"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804060" y="3813288"/>
            <a:ext cx="2513554" cy="180000"/>
          </a:xfrm>
        </p:spPr>
        <p:txBody>
          <a:bodyPr/>
          <a:lstStyle>
            <a:lvl1pPr marL="0" indent="0">
              <a:buNone/>
              <a:defRPr sz="976">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804060" y="4055931"/>
            <a:ext cx="2513554" cy="180000"/>
          </a:xfrm>
        </p:spPr>
        <p:txBody>
          <a:bodyPr/>
          <a:lstStyle>
            <a:lvl1pPr marL="0" indent="0">
              <a:buNone/>
              <a:defRPr sz="976">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981916" y="3578084"/>
            <a:ext cx="633791" cy="778959"/>
          </a:xfrm>
          <a:prstGeom prst="ellipse">
            <a:avLst/>
          </a:prstGeom>
        </p:spPr>
        <p:txBody>
          <a:bodyPr anchor="ctr"/>
          <a:lstStyle>
            <a:lvl1pPr marL="0" indent="0" algn="ctr">
              <a:buNone/>
              <a:defRPr sz="732">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981917" y="1137921"/>
            <a:ext cx="4446881"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981917" y="1635009"/>
            <a:ext cx="4446881" cy="1611554"/>
          </a:xfrm>
        </p:spPr>
        <p:txBody>
          <a:bodyPr/>
          <a:lstStyle>
            <a:lvl1pPr marL="0" indent="0">
              <a:buNone/>
              <a:defRPr sz="1302"/>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525441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162631" y="6471244"/>
            <a:ext cx="969254" cy="180000"/>
          </a:xfrm>
        </p:spPr>
        <p:txBody>
          <a:bodyPr/>
          <a:lstStyle>
            <a:lvl1pPr>
              <a:defRPr>
                <a:solidFill>
                  <a:schemeClr val="tx1"/>
                </a:solidFill>
              </a:defRPr>
            </a:lvl1pPr>
          </a:lstStyle>
          <a:p>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2635529" y="6471244"/>
            <a:ext cx="2510970" cy="180000"/>
          </a:xfrm>
        </p:spPr>
        <p:txBody>
          <a:bodyPr/>
          <a:lstStyle>
            <a:lvl1pPr>
              <a:defRPr>
                <a:solidFill>
                  <a:schemeClr val="tx1"/>
                </a:solidFill>
              </a:defRPr>
            </a:lvl1pPr>
          </a:lstStyle>
          <a:p>
            <a:r>
              <a:rPr lang="fr-FR"/>
              <a:t>Wifak Bank- Elaboration du plan stratégique groupe « Horizon 2027 »</a:t>
            </a:r>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502195" y="6471244"/>
            <a:ext cx="539496" cy="180000"/>
          </a:xfrm>
        </p:spPr>
        <p:txBody>
          <a:bodyPr/>
          <a:lstStyle>
            <a:lvl1pPr>
              <a:defRPr>
                <a:solidFill>
                  <a:schemeClr val="tx1"/>
                </a:solidFill>
              </a:defRPr>
            </a:lvl1p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89565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96253" y="1137920"/>
            <a:ext cx="6703361" cy="4834800"/>
          </a:xfrm>
        </p:spPr>
        <p:txBody>
          <a:bodyPr/>
          <a:lstStyle>
            <a:lvl1pPr marL="0" indent="0">
              <a:buNone/>
              <a:defRPr>
                <a:solidFill>
                  <a:schemeClr val="bg1"/>
                </a:solidFill>
              </a:defRPr>
            </a:lvl1pPr>
            <a:lvl2pPr marL="290143">
              <a:defRPr>
                <a:solidFill>
                  <a:schemeClr val="bg1"/>
                </a:solidFill>
              </a:defRPr>
            </a:lvl2pPr>
            <a:lvl3pPr marL="580286">
              <a:defRPr>
                <a:solidFill>
                  <a:schemeClr val="bg1"/>
                </a:solidFill>
              </a:defRPr>
            </a:lvl3pPr>
            <a:lvl4pPr marL="870428">
              <a:defRPr>
                <a:solidFill>
                  <a:schemeClr val="bg1"/>
                </a:solidFill>
              </a:defRPr>
            </a:lvl4pPr>
            <a:lvl5pPr marL="1160571">
              <a:defRPr sz="976">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6075811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576159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96253" y="1137919"/>
            <a:ext cx="4383564" cy="4834800"/>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045234" y="1137919"/>
            <a:ext cx="4383564" cy="4834800"/>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954644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sz="1953">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96253" y="1137920"/>
            <a:ext cx="893254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ooter Placeholder 3">
            <a:extLst>
              <a:ext uri="{FF2B5EF4-FFF2-40B4-BE49-F238E27FC236}">
                <a16:creationId xmlns:a16="http://schemas.microsoft.com/office/drawing/2014/main" id="{BB596896-7676-49CF-BD89-356753D88FBB}"/>
              </a:ext>
            </a:extLst>
          </p:cNvPr>
          <p:cNvSpPr>
            <a:spLocks noGrp="1"/>
          </p:cNvSpPr>
          <p:nvPr>
            <p:ph type="ftr" sz="quarter" idx="11"/>
          </p:nvPr>
        </p:nvSpPr>
        <p:spPr>
          <a:xfrm>
            <a:off x="854033" y="6471572"/>
            <a:ext cx="2892344" cy="180000"/>
          </a:xfrm>
        </p:spPr>
        <p:txBody>
          <a:bodyPr/>
          <a:lstStyle>
            <a:lvl1pPr>
              <a:defRPr/>
            </a:lvl1pPr>
          </a:lstStyle>
          <a:p>
            <a:r>
              <a:rPr lang="fr-FR"/>
              <a:t>Wifak Bank- Elaboration du plan stratégique groupe « Horizon 2027 »</a:t>
            </a:r>
            <a:endParaRPr lang="en-IN" dirty="0"/>
          </a:p>
        </p:txBody>
      </p:sp>
      <p:sp>
        <p:nvSpPr>
          <p:cNvPr id="10" name="Slide Number Placeholder 4">
            <a:extLst>
              <a:ext uri="{FF2B5EF4-FFF2-40B4-BE49-F238E27FC236}">
                <a16:creationId xmlns:a16="http://schemas.microsoft.com/office/drawing/2014/main" id="{96E6D216-5D55-40F5-8EF7-3048CBA4BE25}"/>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11" name="Rectangle 10">
            <a:extLst>
              <a:ext uri="{FF2B5EF4-FFF2-40B4-BE49-F238E27FC236}">
                <a16:creationId xmlns:a16="http://schemas.microsoft.com/office/drawing/2014/main" id="{83F3E5FE-715C-4519-9685-53885E423028}"/>
              </a:ext>
            </a:extLst>
          </p:cNvPr>
          <p:cNvSpPr>
            <a:spLocks/>
          </p:cNvSpPr>
          <p:nvPr userDrawn="1"/>
        </p:nvSpPr>
        <p:spPr>
          <a:xfrm>
            <a:off x="64654" y="55418"/>
            <a:ext cx="9799782" cy="6724072"/>
          </a:xfrm>
          <a:prstGeom prst="rect">
            <a:avLst/>
          </a:prstGeom>
          <a:noFill/>
          <a:ln w="1619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976" dirty="0">
                <a:solidFill>
                  <a:schemeClr val="tx1"/>
                </a:solidFill>
              </a:rPr>
              <a:t>c</a:t>
            </a:r>
          </a:p>
        </p:txBody>
      </p:sp>
      <p:grpSp>
        <p:nvGrpSpPr>
          <p:cNvPr id="13" name="Group 4">
            <a:extLst>
              <a:ext uri="{FF2B5EF4-FFF2-40B4-BE49-F238E27FC236}">
                <a16:creationId xmlns:a16="http://schemas.microsoft.com/office/drawing/2014/main" id="{44DD7208-E249-4CD8-AD06-B3B4C64B892C}"/>
              </a:ext>
            </a:extLst>
          </p:cNvPr>
          <p:cNvGrpSpPr>
            <a:grpSpLocks/>
          </p:cNvGrpSpPr>
          <p:nvPr userDrawn="1"/>
        </p:nvGrpSpPr>
        <p:grpSpPr bwMode="auto">
          <a:xfrm>
            <a:off x="9473750" y="6396957"/>
            <a:ext cx="246706" cy="252000"/>
            <a:chOff x="7110" y="4004"/>
            <a:chExt cx="191" cy="196"/>
          </a:xfrm>
        </p:grpSpPr>
        <p:sp>
          <p:nvSpPr>
            <p:cNvPr id="14" name="Freeform 5">
              <a:extLst>
                <a:ext uri="{FF2B5EF4-FFF2-40B4-BE49-F238E27FC236}">
                  <a16:creationId xmlns:a16="http://schemas.microsoft.com/office/drawing/2014/main" id="{4A6FEC2D-1B50-42B0-8447-C08DACAFBC5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 name="Freeform 6">
              <a:extLst>
                <a:ext uri="{FF2B5EF4-FFF2-40B4-BE49-F238E27FC236}">
                  <a16:creationId xmlns:a16="http://schemas.microsoft.com/office/drawing/2014/main" id="{23934AF4-C625-444E-8446-202FF25773B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6" name="Freeform 7">
              <a:extLst>
                <a:ext uri="{FF2B5EF4-FFF2-40B4-BE49-F238E27FC236}">
                  <a16:creationId xmlns:a16="http://schemas.microsoft.com/office/drawing/2014/main" id="{52CA351C-C5FE-4A4B-B976-53B3123AAC4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278323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8474" y="1869441"/>
            <a:ext cx="4388123" cy="4256075"/>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044261" y="1869441"/>
            <a:ext cx="4388123" cy="4256075"/>
          </a:xfrm>
        </p:spPr>
        <p:txBody>
          <a:bodyPr/>
          <a:lstStyle>
            <a:lvl1pPr>
              <a:defRPr sz="1627">
                <a:solidFill>
                  <a:schemeClr val="bg1"/>
                </a:solidFill>
              </a:defRPr>
            </a:lvl1pPr>
            <a:lvl2pPr>
              <a:defRPr sz="1464">
                <a:solidFill>
                  <a:schemeClr val="bg1"/>
                </a:solidFill>
              </a:defRPr>
            </a:lvl2pPr>
            <a:lvl3pPr>
              <a:defRPr sz="1302">
                <a:solidFill>
                  <a:schemeClr val="bg1"/>
                </a:solidFill>
              </a:defRPr>
            </a:lvl3pPr>
            <a:lvl4pPr>
              <a:defRPr sz="1139">
                <a:solidFill>
                  <a:schemeClr val="bg1"/>
                </a:solidFill>
              </a:defRPr>
            </a:lvl4pPr>
            <a:lvl5pPr>
              <a:defRPr sz="976">
                <a:solidFill>
                  <a:schemeClr val="bg1"/>
                </a:solidFill>
              </a:defRPr>
            </a:lvl5pPr>
            <a:lvl6pPr>
              <a:defRPr sz="1464"/>
            </a:lvl6pPr>
            <a:lvl7pPr>
              <a:defRPr sz="1464"/>
            </a:lvl7pPr>
            <a:lvl8pPr>
              <a:defRPr sz="1464"/>
            </a:lvl8pPr>
            <a:lvl9pPr>
              <a:defRPr sz="14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496253" y="1137920"/>
            <a:ext cx="4388123"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5044261" y="1137920"/>
            <a:ext cx="4388123"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496253" y="294200"/>
            <a:ext cx="893254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596641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0218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4040792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9250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3192157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84" y="0"/>
            <a:ext cx="9919883"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5" y="0"/>
            <a:ext cx="9919883"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 y="0"/>
            <a:ext cx="9919887" cy="6858000"/>
          </a:xfrm>
          <a:prstGeom prst="rect">
            <a:avLst/>
          </a:prstGeom>
        </p:spPr>
      </p:pic>
      <p:sp>
        <p:nvSpPr>
          <p:cNvPr id="8" name="Content Placeholder 2"/>
          <p:cNvSpPr>
            <a:spLocks noGrp="1"/>
          </p:cNvSpPr>
          <p:nvPr>
            <p:ph idx="1"/>
          </p:nvPr>
        </p:nvSpPr>
        <p:spPr>
          <a:xfrm>
            <a:off x="494529" y="719139"/>
            <a:ext cx="3805905" cy="5210062"/>
          </a:xfrm>
        </p:spPr>
        <p:txBody>
          <a:bodyPr/>
          <a:lstStyle>
            <a:lvl1pPr marL="0" indent="0" algn="l" defTabSz="809827" rtl="0" fontAlgn="base">
              <a:lnSpc>
                <a:spcPct val="100000"/>
              </a:lnSpc>
              <a:spcBef>
                <a:spcPct val="70000"/>
              </a:spcBef>
              <a:spcAft>
                <a:spcPct val="0"/>
              </a:spcAft>
              <a:buSzPct val="100000"/>
              <a:buNone/>
              <a:defRPr lang="en-US" sz="976" kern="1200" noProof="0" dirty="0" smtClean="0">
                <a:solidFill>
                  <a:schemeClr val="bg1"/>
                </a:solidFill>
                <a:latin typeface="EYInterstate Light" panose="02000506000000020004" pitchFamily="2" charset="0"/>
                <a:ea typeface="+mn-ea"/>
                <a:cs typeface="Arial" pitchFamily="34" charset="0"/>
              </a:defRPr>
            </a:lvl1pPr>
            <a:lvl2pPr marL="0" indent="0" algn="l" defTabSz="809827" rtl="0" fontAlgn="base">
              <a:lnSpc>
                <a:spcPct val="100000"/>
              </a:lnSpc>
              <a:spcBef>
                <a:spcPct val="0"/>
              </a:spcBef>
              <a:spcAft>
                <a:spcPct val="0"/>
              </a:spcAft>
              <a:buSzPct val="100000"/>
              <a:buNone/>
              <a:defRPr lang="en-US" sz="732" b="1" kern="1200" noProof="0" dirty="0" smtClean="0">
                <a:solidFill>
                  <a:schemeClr val="bg1"/>
                </a:solidFill>
                <a:latin typeface="EYInterstate Light" panose="02000506000000020004" pitchFamily="2" charset="0"/>
                <a:ea typeface="+mn-ea"/>
                <a:cs typeface="Arial" pitchFamily="34" charset="0"/>
              </a:defRPr>
            </a:lvl2pPr>
            <a:lvl3pPr marL="143367" indent="-143367" algn="l" defTabSz="809827" rtl="0" fontAlgn="base">
              <a:lnSpc>
                <a:spcPct val="100000"/>
              </a:lnSpc>
              <a:spcBef>
                <a:spcPct val="0"/>
              </a:spcBef>
              <a:spcAft>
                <a:spcPct val="0"/>
              </a:spcAft>
              <a:buClr>
                <a:schemeClr val="tx2"/>
              </a:buClr>
              <a:buSzPct val="70000"/>
              <a:buFont typeface="Arial" pitchFamily="34" charset="0"/>
              <a:buChar char="►"/>
              <a:defRPr lang="en-US" sz="732" b="1" kern="1200" noProof="0" dirty="0" smtClean="0">
                <a:solidFill>
                  <a:schemeClr val="bg1"/>
                </a:solidFill>
                <a:latin typeface="EYInterstate Light" panose="02000506000000020004" pitchFamily="2" charset="0"/>
                <a:ea typeface="+mn-ea"/>
                <a:cs typeface="Arial" pitchFamily="34" charset="0"/>
              </a:defRPr>
            </a:lvl3pPr>
            <a:lvl4pPr marL="0" indent="0" algn="l" defTabSz="809827" rtl="0" fontAlgn="base">
              <a:lnSpc>
                <a:spcPct val="100000"/>
              </a:lnSpc>
              <a:spcBef>
                <a:spcPct val="0"/>
              </a:spcBef>
              <a:spcAft>
                <a:spcPct val="0"/>
              </a:spcAft>
              <a:buSzPct val="100000"/>
              <a:buNone/>
              <a:defRPr lang="en-US" sz="651" kern="1200" noProof="0" dirty="0" smtClean="0">
                <a:solidFill>
                  <a:schemeClr val="bg1"/>
                </a:solidFill>
                <a:latin typeface="EYInterstate Light" panose="02000506000000020004" pitchFamily="2" charset="0"/>
                <a:ea typeface="+mn-ea"/>
                <a:cs typeface="Arial" pitchFamily="34" charset="0"/>
              </a:defRPr>
            </a:lvl4pPr>
            <a:lvl5pPr marL="153700" indent="-153700" algn="l" defTabSz="809827" rtl="0" fontAlgn="base">
              <a:lnSpc>
                <a:spcPct val="100000"/>
              </a:lnSpc>
              <a:spcBef>
                <a:spcPct val="0"/>
              </a:spcBef>
              <a:spcAft>
                <a:spcPct val="0"/>
              </a:spcAft>
              <a:buClr>
                <a:schemeClr val="tx2"/>
              </a:buClr>
              <a:buSzPct val="70000"/>
              <a:buFont typeface="Arial" pitchFamily="34" charset="0"/>
              <a:buChar char="►"/>
              <a:defRPr lang="en-US" sz="651"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253" y="294200"/>
            <a:ext cx="8932545" cy="590400"/>
          </a:xfrm>
        </p:spPr>
        <p:txBody>
          <a:bodyPr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12" name="Group 11">
            <a:extLst>
              <a:ext uri="{FF2B5EF4-FFF2-40B4-BE49-F238E27FC236}">
                <a16:creationId xmlns:a16="http://schemas.microsoft.com/office/drawing/2014/main" id="{EFA31B85-D286-4054-890E-775F14142E48}"/>
              </a:ext>
            </a:extLst>
          </p:cNvPr>
          <p:cNvGrpSpPr>
            <a:grpSpLocks noChangeAspect="1"/>
          </p:cNvGrpSpPr>
          <p:nvPr userDrawn="1"/>
        </p:nvGrpSpPr>
        <p:grpSpPr>
          <a:xfrm>
            <a:off x="104432" y="2062446"/>
            <a:ext cx="3958138" cy="3887805"/>
            <a:chOff x="7901068" y="1649248"/>
            <a:chExt cx="450462" cy="360000"/>
          </a:xfrm>
          <a:solidFill>
            <a:schemeClr val="tx1">
              <a:lumMod val="95000"/>
            </a:schemeClr>
          </a:solidFill>
        </p:grpSpPr>
        <p:sp>
          <p:nvSpPr>
            <p:cNvPr id="13" name="Freeform 61">
              <a:extLst>
                <a:ext uri="{FF2B5EF4-FFF2-40B4-BE49-F238E27FC236}">
                  <a16:creationId xmlns:a16="http://schemas.microsoft.com/office/drawing/2014/main" id="{637C4D38-49F4-4AF3-8F77-680B4F7EFD56}"/>
                </a:ext>
              </a:extLst>
            </p:cNvPr>
            <p:cNvSpPr>
              <a:spLocks/>
            </p:cNvSpPr>
            <p:nvPr/>
          </p:nvSpPr>
          <p:spPr bwMode="auto">
            <a:xfrm>
              <a:off x="8279529" y="1778479"/>
              <a:ext cx="72001" cy="171693"/>
            </a:xfrm>
            <a:custGeom>
              <a:avLst/>
              <a:gdLst>
                <a:gd name="T0" fmla="*/ 197 w 237"/>
                <a:gd name="T1" fmla="*/ 0 h 571"/>
                <a:gd name="T2" fmla="*/ 196 w 237"/>
                <a:gd name="T3" fmla="*/ 0 h 571"/>
                <a:gd name="T4" fmla="*/ 153 w 237"/>
                <a:gd name="T5" fmla="*/ 0 h 571"/>
                <a:gd name="T6" fmla="*/ 126 w 237"/>
                <a:gd name="T7" fmla="*/ 44 h 571"/>
                <a:gd name="T8" fmla="*/ 99 w 237"/>
                <a:gd name="T9" fmla="*/ 0 h 571"/>
                <a:gd name="T10" fmla="*/ 99 w 237"/>
                <a:gd name="T11" fmla="*/ 0 h 571"/>
                <a:gd name="T12" fmla="*/ 72 w 237"/>
                <a:gd name="T13" fmla="*/ 44 h 571"/>
                <a:gd name="T14" fmla="*/ 45 w 237"/>
                <a:gd name="T15" fmla="*/ 0 h 571"/>
                <a:gd name="T16" fmla="*/ 27 w 237"/>
                <a:gd name="T17" fmla="*/ 0 h 571"/>
                <a:gd name="T18" fmla="*/ 27 w 237"/>
                <a:gd name="T19" fmla="*/ 16 h 571"/>
                <a:gd name="T20" fmla="*/ 27 w 237"/>
                <a:gd name="T21" fmla="*/ 172 h 571"/>
                <a:gd name="T22" fmla="*/ 27 w 237"/>
                <a:gd name="T23" fmla="*/ 220 h 571"/>
                <a:gd name="T24" fmla="*/ 0 w 237"/>
                <a:gd name="T25" fmla="*/ 276 h 571"/>
                <a:gd name="T26" fmla="*/ 2 w 237"/>
                <a:gd name="T27" fmla="*/ 276 h 571"/>
                <a:gd name="T28" fmla="*/ 2 w 237"/>
                <a:gd name="T29" fmla="*/ 276 h 571"/>
                <a:gd name="T30" fmla="*/ 2 w 237"/>
                <a:gd name="T31" fmla="*/ 276 h 571"/>
                <a:gd name="T32" fmla="*/ 2 w 237"/>
                <a:gd name="T33" fmla="*/ 526 h 571"/>
                <a:gd name="T34" fmla="*/ 46 w 237"/>
                <a:gd name="T35" fmla="*/ 571 h 571"/>
                <a:gd name="T36" fmla="*/ 91 w 237"/>
                <a:gd name="T37" fmla="*/ 526 h 571"/>
                <a:gd name="T38" fmla="*/ 91 w 237"/>
                <a:gd name="T39" fmla="*/ 276 h 571"/>
                <a:gd name="T40" fmla="*/ 107 w 237"/>
                <a:gd name="T41" fmla="*/ 276 h 571"/>
                <a:gd name="T42" fmla="*/ 107 w 237"/>
                <a:gd name="T43" fmla="*/ 527 h 571"/>
                <a:gd name="T44" fmla="*/ 152 w 237"/>
                <a:gd name="T45" fmla="*/ 571 h 571"/>
                <a:gd name="T46" fmla="*/ 196 w 237"/>
                <a:gd name="T47" fmla="*/ 527 h 571"/>
                <a:gd name="T48" fmla="*/ 196 w 237"/>
                <a:gd name="T49" fmla="*/ 276 h 571"/>
                <a:gd name="T50" fmla="*/ 196 w 237"/>
                <a:gd name="T51" fmla="*/ 276 h 571"/>
                <a:gd name="T52" fmla="*/ 197 w 237"/>
                <a:gd name="T53" fmla="*/ 276 h 571"/>
                <a:gd name="T54" fmla="*/ 237 w 237"/>
                <a:gd name="T55" fmla="*/ 236 h 571"/>
                <a:gd name="T56" fmla="*/ 237 w 237"/>
                <a:gd name="T57" fmla="*/ 199 h 571"/>
                <a:gd name="T58" fmla="*/ 237 w 237"/>
                <a:gd name="T59" fmla="*/ 78 h 571"/>
                <a:gd name="T60" fmla="*/ 237 w 237"/>
                <a:gd name="T61" fmla="*/ 41 h 571"/>
                <a:gd name="T62" fmla="*/ 197 w 237"/>
                <a:gd name="T6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571">
                  <a:moveTo>
                    <a:pt x="197" y="0"/>
                  </a:moveTo>
                  <a:cubicBezTo>
                    <a:pt x="197" y="0"/>
                    <a:pt x="197" y="0"/>
                    <a:pt x="196" y="0"/>
                  </a:cubicBezTo>
                  <a:cubicBezTo>
                    <a:pt x="153" y="0"/>
                    <a:pt x="153" y="0"/>
                    <a:pt x="153" y="0"/>
                  </a:cubicBezTo>
                  <a:cubicBezTo>
                    <a:pt x="126" y="44"/>
                    <a:pt x="126" y="44"/>
                    <a:pt x="126" y="44"/>
                  </a:cubicBezTo>
                  <a:cubicBezTo>
                    <a:pt x="99" y="0"/>
                    <a:pt x="99" y="0"/>
                    <a:pt x="99" y="0"/>
                  </a:cubicBezTo>
                  <a:cubicBezTo>
                    <a:pt x="99" y="0"/>
                    <a:pt x="99" y="0"/>
                    <a:pt x="99" y="0"/>
                  </a:cubicBezTo>
                  <a:cubicBezTo>
                    <a:pt x="72" y="44"/>
                    <a:pt x="72" y="44"/>
                    <a:pt x="72" y="44"/>
                  </a:cubicBezTo>
                  <a:cubicBezTo>
                    <a:pt x="45" y="0"/>
                    <a:pt x="45" y="0"/>
                    <a:pt x="45" y="0"/>
                  </a:cubicBezTo>
                  <a:cubicBezTo>
                    <a:pt x="27" y="0"/>
                    <a:pt x="27" y="0"/>
                    <a:pt x="27" y="0"/>
                  </a:cubicBezTo>
                  <a:cubicBezTo>
                    <a:pt x="27" y="16"/>
                    <a:pt x="27" y="16"/>
                    <a:pt x="27" y="16"/>
                  </a:cubicBezTo>
                  <a:cubicBezTo>
                    <a:pt x="27" y="172"/>
                    <a:pt x="27" y="172"/>
                    <a:pt x="27" y="172"/>
                  </a:cubicBezTo>
                  <a:cubicBezTo>
                    <a:pt x="27" y="220"/>
                    <a:pt x="27" y="220"/>
                    <a:pt x="27" y="220"/>
                  </a:cubicBezTo>
                  <a:cubicBezTo>
                    <a:pt x="27" y="243"/>
                    <a:pt x="16" y="263"/>
                    <a:pt x="0" y="276"/>
                  </a:cubicBezTo>
                  <a:cubicBezTo>
                    <a:pt x="0" y="276"/>
                    <a:pt x="1" y="276"/>
                    <a:pt x="2" y="276"/>
                  </a:cubicBezTo>
                  <a:cubicBezTo>
                    <a:pt x="2" y="276"/>
                    <a:pt x="2" y="276"/>
                    <a:pt x="2" y="276"/>
                  </a:cubicBezTo>
                  <a:cubicBezTo>
                    <a:pt x="2" y="276"/>
                    <a:pt x="2" y="276"/>
                    <a:pt x="2" y="276"/>
                  </a:cubicBezTo>
                  <a:cubicBezTo>
                    <a:pt x="2" y="526"/>
                    <a:pt x="2" y="526"/>
                    <a:pt x="2" y="526"/>
                  </a:cubicBezTo>
                  <a:cubicBezTo>
                    <a:pt x="2" y="551"/>
                    <a:pt x="22" y="571"/>
                    <a:pt x="46" y="571"/>
                  </a:cubicBezTo>
                  <a:cubicBezTo>
                    <a:pt x="71" y="571"/>
                    <a:pt x="91" y="551"/>
                    <a:pt x="91" y="526"/>
                  </a:cubicBezTo>
                  <a:cubicBezTo>
                    <a:pt x="91" y="276"/>
                    <a:pt x="91" y="276"/>
                    <a:pt x="91" y="276"/>
                  </a:cubicBezTo>
                  <a:cubicBezTo>
                    <a:pt x="107" y="276"/>
                    <a:pt x="107" y="276"/>
                    <a:pt x="107" y="276"/>
                  </a:cubicBezTo>
                  <a:cubicBezTo>
                    <a:pt x="107" y="527"/>
                    <a:pt x="107" y="527"/>
                    <a:pt x="107" y="527"/>
                  </a:cubicBezTo>
                  <a:cubicBezTo>
                    <a:pt x="107" y="551"/>
                    <a:pt x="127" y="571"/>
                    <a:pt x="152" y="571"/>
                  </a:cubicBezTo>
                  <a:cubicBezTo>
                    <a:pt x="177" y="571"/>
                    <a:pt x="196" y="551"/>
                    <a:pt x="196" y="527"/>
                  </a:cubicBezTo>
                  <a:cubicBezTo>
                    <a:pt x="196" y="276"/>
                    <a:pt x="196" y="276"/>
                    <a:pt x="196" y="276"/>
                  </a:cubicBezTo>
                  <a:cubicBezTo>
                    <a:pt x="196" y="276"/>
                    <a:pt x="196" y="276"/>
                    <a:pt x="196" y="276"/>
                  </a:cubicBezTo>
                  <a:cubicBezTo>
                    <a:pt x="197" y="276"/>
                    <a:pt x="197" y="276"/>
                    <a:pt x="197" y="276"/>
                  </a:cubicBezTo>
                  <a:cubicBezTo>
                    <a:pt x="219" y="276"/>
                    <a:pt x="237" y="258"/>
                    <a:pt x="237" y="236"/>
                  </a:cubicBezTo>
                  <a:cubicBezTo>
                    <a:pt x="237" y="199"/>
                    <a:pt x="237" y="199"/>
                    <a:pt x="237" y="199"/>
                  </a:cubicBezTo>
                  <a:cubicBezTo>
                    <a:pt x="237" y="78"/>
                    <a:pt x="237" y="78"/>
                    <a:pt x="237" y="78"/>
                  </a:cubicBezTo>
                  <a:cubicBezTo>
                    <a:pt x="237" y="41"/>
                    <a:pt x="237" y="41"/>
                    <a:pt x="237" y="41"/>
                  </a:cubicBezTo>
                  <a:cubicBezTo>
                    <a:pt x="237" y="18"/>
                    <a:pt x="219" y="0"/>
                    <a:pt x="19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4" name="Freeform 62">
              <a:extLst>
                <a:ext uri="{FF2B5EF4-FFF2-40B4-BE49-F238E27FC236}">
                  <a16:creationId xmlns:a16="http://schemas.microsoft.com/office/drawing/2014/main" id="{71B03097-E82B-4549-977A-0C5860E20ECA}"/>
                </a:ext>
              </a:extLst>
            </p:cNvPr>
            <p:cNvSpPr>
              <a:spLocks/>
            </p:cNvSpPr>
            <p:nvPr/>
          </p:nvSpPr>
          <p:spPr bwMode="auto">
            <a:xfrm>
              <a:off x="8288760" y="1732324"/>
              <a:ext cx="42462" cy="44308"/>
            </a:xfrm>
            <a:custGeom>
              <a:avLst/>
              <a:gdLst>
                <a:gd name="T0" fmla="*/ 59 w 143"/>
                <a:gd name="T1" fmla="*/ 142 h 143"/>
                <a:gd name="T2" fmla="*/ 71 w 143"/>
                <a:gd name="T3" fmla="*/ 143 h 143"/>
                <a:gd name="T4" fmla="*/ 83 w 143"/>
                <a:gd name="T5" fmla="*/ 142 h 143"/>
                <a:gd name="T6" fmla="*/ 143 w 143"/>
                <a:gd name="T7" fmla="*/ 72 h 143"/>
                <a:gd name="T8" fmla="*/ 71 w 143"/>
                <a:gd name="T9" fmla="*/ 0 h 143"/>
                <a:gd name="T10" fmla="*/ 0 w 143"/>
                <a:gd name="T11" fmla="*/ 72 h 143"/>
                <a:gd name="T12" fmla="*/ 59 w 143"/>
                <a:gd name="T13" fmla="*/ 142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59" y="142"/>
                  </a:moveTo>
                  <a:cubicBezTo>
                    <a:pt x="63" y="143"/>
                    <a:pt x="67" y="143"/>
                    <a:pt x="71" y="143"/>
                  </a:cubicBezTo>
                  <a:cubicBezTo>
                    <a:pt x="75" y="143"/>
                    <a:pt x="79" y="143"/>
                    <a:pt x="83" y="142"/>
                  </a:cubicBezTo>
                  <a:cubicBezTo>
                    <a:pt x="117" y="137"/>
                    <a:pt x="143" y="107"/>
                    <a:pt x="143" y="72"/>
                  </a:cubicBezTo>
                  <a:cubicBezTo>
                    <a:pt x="143" y="32"/>
                    <a:pt x="111" y="0"/>
                    <a:pt x="71" y="0"/>
                  </a:cubicBezTo>
                  <a:cubicBezTo>
                    <a:pt x="32" y="0"/>
                    <a:pt x="0" y="32"/>
                    <a:pt x="0" y="72"/>
                  </a:cubicBezTo>
                  <a:cubicBezTo>
                    <a:pt x="0" y="107"/>
                    <a:pt x="25" y="136"/>
                    <a:pt x="59"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5" name="Freeform 63">
              <a:extLst>
                <a:ext uri="{FF2B5EF4-FFF2-40B4-BE49-F238E27FC236}">
                  <a16:creationId xmlns:a16="http://schemas.microsoft.com/office/drawing/2014/main" id="{85EEA7C8-6D83-47B7-BCBB-9C425522721F}"/>
                </a:ext>
              </a:extLst>
            </p:cNvPr>
            <p:cNvSpPr>
              <a:spLocks/>
            </p:cNvSpPr>
            <p:nvPr/>
          </p:nvSpPr>
          <p:spPr bwMode="auto">
            <a:xfrm>
              <a:off x="8190913" y="1752632"/>
              <a:ext cx="92308" cy="221538"/>
            </a:xfrm>
            <a:custGeom>
              <a:avLst/>
              <a:gdLst>
                <a:gd name="T0" fmla="*/ 305 w 305"/>
                <a:gd name="T1" fmla="*/ 257 h 740"/>
                <a:gd name="T2" fmla="*/ 305 w 305"/>
                <a:gd name="T3" fmla="*/ 101 h 740"/>
                <a:gd name="T4" fmla="*/ 305 w 305"/>
                <a:gd name="T5" fmla="*/ 52 h 740"/>
                <a:gd name="T6" fmla="*/ 252 w 305"/>
                <a:gd name="T7" fmla="*/ 0 h 740"/>
                <a:gd name="T8" fmla="*/ 252 w 305"/>
                <a:gd name="T9" fmla="*/ 0 h 740"/>
                <a:gd name="T10" fmla="*/ 252 w 305"/>
                <a:gd name="T11" fmla="*/ 0 h 740"/>
                <a:gd name="T12" fmla="*/ 196 w 305"/>
                <a:gd name="T13" fmla="*/ 0 h 740"/>
                <a:gd name="T14" fmla="*/ 161 w 305"/>
                <a:gd name="T15" fmla="*/ 57 h 740"/>
                <a:gd name="T16" fmla="*/ 126 w 305"/>
                <a:gd name="T17" fmla="*/ 0 h 740"/>
                <a:gd name="T18" fmla="*/ 126 w 305"/>
                <a:gd name="T19" fmla="*/ 0 h 740"/>
                <a:gd name="T20" fmla="*/ 91 w 305"/>
                <a:gd name="T21" fmla="*/ 57 h 740"/>
                <a:gd name="T22" fmla="*/ 56 w 305"/>
                <a:gd name="T23" fmla="*/ 0 h 740"/>
                <a:gd name="T24" fmla="*/ 36 w 305"/>
                <a:gd name="T25" fmla="*/ 0 h 740"/>
                <a:gd name="T26" fmla="*/ 36 w 305"/>
                <a:gd name="T27" fmla="*/ 33 h 740"/>
                <a:gd name="T28" fmla="*/ 36 w 305"/>
                <a:gd name="T29" fmla="*/ 234 h 740"/>
                <a:gd name="T30" fmla="*/ 36 w 305"/>
                <a:gd name="T31" fmla="*/ 296 h 740"/>
                <a:gd name="T32" fmla="*/ 0 w 305"/>
                <a:gd name="T33" fmla="*/ 367 h 740"/>
                <a:gd name="T34" fmla="*/ 0 w 305"/>
                <a:gd name="T35" fmla="*/ 682 h 740"/>
                <a:gd name="T36" fmla="*/ 58 w 305"/>
                <a:gd name="T37" fmla="*/ 740 h 740"/>
                <a:gd name="T38" fmla="*/ 116 w 305"/>
                <a:gd name="T39" fmla="*/ 682 h 740"/>
                <a:gd name="T40" fmla="*/ 116 w 305"/>
                <a:gd name="T41" fmla="*/ 357 h 740"/>
                <a:gd name="T42" fmla="*/ 137 w 305"/>
                <a:gd name="T43" fmla="*/ 357 h 740"/>
                <a:gd name="T44" fmla="*/ 137 w 305"/>
                <a:gd name="T45" fmla="*/ 682 h 740"/>
                <a:gd name="T46" fmla="*/ 195 w 305"/>
                <a:gd name="T47" fmla="*/ 740 h 740"/>
                <a:gd name="T48" fmla="*/ 252 w 305"/>
                <a:gd name="T49" fmla="*/ 682 h 740"/>
                <a:gd name="T50" fmla="*/ 252 w 305"/>
                <a:gd name="T51" fmla="*/ 357 h 740"/>
                <a:gd name="T52" fmla="*/ 252 w 305"/>
                <a:gd name="T53" fmla="*/ 357 h 740"/>
                <a:gd name="T54" fmla="*/ 252 w 305"/>
                <a:gd name="T55" fmla="*/ 357 h 740"/>
                <a:gd name="T56" fmla="*/ 305 w 305"/>
                <a:gd name="T57" fmla="*/ 305 h 740"/>
                <a:gd name="T58" fmla="*/ 305 w 305"/>
                <a:gd name="T59" fmla="*/ 257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5" h="740">
                  <a:moveTo>
                    <a:pt x="305" y="257"/>
                  </a:moveTo>
                  <a:cubicBezTo>
                    <a:pt x="305" y="101"/>
                    <a:pt x="305" y="101"/>
                    <a:pt x="305" y="101"/>
                  </a:cubicBezTo>
                  <a:cubicBezTo>
                    <a:pt x="305" y="52"/>
                    <a:pt x="305" y="52"/>
                    <a:pt x="305" y="52"/>
                  </a:cubicBezTo>
                  <a:cubicBezTo>
                    <a:pt x="305" y="24"/>
                    <a:pt x="281" y="0"/>
                    <a:pt x="252" y="0"/>
                  </a:cubicBezTo>
                  <a:cubicBezTo>
                    <a:pt x="252" y="0"/>
                    <a:pt x="252" y="0"/>
                    <a:pt x="252" y="0"/>
                  </a:cubicBezTo>
                  <a:cubicBezTo>
                    <a:pt x="252" y="0"/>
                    <a:pt x="252" y="0"/>
                    <a:pt x="252" y="0"/>
                  </a:cubicBezTo>
                  <a:cubicBezTo>
                    <a:pt x="196" y="0"/>
                    <a:pt x="196" y="0"/>
                    <a:pt x="196" y="0"/>
                  </a:cubicBezTo>
                  <a:cubicBezTo>
                    <a:pt x="161" y="57"/>
                    <a:pt x="161" y="57"/>
                    <a:pt x="161" y="57"/>
                  </a:cubicBezTo>
                  <a:cubicBezTo>
                    <a:pt x="126" y="0"/>
                    <a:pt x="126" y="0"/>
                    <a:pt x="126" y="0"/>
                  </a:cubicBezTo>
                  <a:cubicBezTo>
                    <a:pt x="126" y="0"/>
                    <a:pt x="126" y="0"/>
                    <a:pt x="126" y="0"/>
                  </a:cubicBezTo>
                  <a:cubicBezTo>
                    <a:pt x="91" y="57"/>
                    <a:pt x="91" y="57"/>
                    <a:pt x="91" y="57"/>
                  </a:cubicBezTo>
                  <a:cubicBezTo>
                    <a:pt x="56" y="0"/>
                    <a:pt x="56" y="0"/>
                    <a:pt x="56" y="0"/>
                  </a:cubicBezTo>
                  <a:cubicBezTo>
                    <a:pt x="36" y="0"/>
                    <a:pt x="36" y="0"/>
                    <a:pt x="36" y="0"/>
                  </a:cubicBezTo>
                  <a:cubicBezTo>
                    <a:pt x="36" y="33"/>
                    <a:pt x="36" y="33"/>
                    <a:pt x="36" y="33"/>
                  </a:cubicBezTo>
                  <a:cubicBezTo>
                    <a:pt x="36" y="234"/>
                    <a:pt x="36" y="234"/>
                    <a:pt x="36" y="234"/>
                  </a:cubicBezTo>
                  <a:cubicBezTo>
                    <a:pt x="36" y="296"/>
                    <a:pt x="36" y="296"/>
                    <a:pt x="36" y="296"/>
                  </a:cubicBezTo>
                  <a:cubicBezTo>
                    <a:pt x="36" y="325"/>
                    <a:pt x="22" y="351"/>
                    <a:pt x="0" y="367"/>
                  </a:cubicBezTo>
                  <a:cubicBezTo>
                    <a:pt x="0" y="682"/>
                    <a:pt x="0" y="682"/>
                    <a:pt x="0" y="682"/>
                  </a:cubicBezTo>
                  <a:cubicBezTo>
                    <a:pt x="0" y="714"/>
                    <a:pt x="26" y="740"/>
                    <a:pt x="58" y="740"/>
                  </a:cubicBezTo>
                  <a:cubicBezTo>
                    <a:pt x="90" y="740"/>
                    <a:pt x="116" y="714"/>
                    <a:pt x="116" y="682"/>
                  </a:cubicBezTo>
                  <a:cubicBezTo>
                    <a:pt x="116" y="357"/>
                    <a:pt x="116" y="357"/>
                    <a:pt x="116" y="357"/>
                  </a:cubicBezTo>
                  <a:cubicBezTo>
                    <a:pt x="137" y="357"/>
                    <a:pt x="137" y="357"/>
                    <a:pt x="137" y="357"/>
                  </a:cubicBezTo>
                  <a:cubicBezTo>
                    <a:pt x="137" y="682"/>
                    <a:pt x="137" y="682"/>
                    <a:pt x="137" y="682"/>
                  </a:cubicBezTo>
                  <a:cubicBezTo>
                    <a:pt x="137" y="714"/>
                    <a:pt x="163" y="740"/>
                    <a:pt x="195" y="740"/>
                  </a:cubicBezTo>
                  <a:cubicBezTo>
                    <a:pt x="226" y="740"/>
                    <a:pt x="252" y="714"/>
                    <a:pt x="252" y="682"/>
                  </a:cubicBezTo>
                  <a:cubicBezTo>
                    <a:pt x="252" y="357"/>
                    <a:pt x="252" y="357"/>
                    <a:pt x="252" y="357"/>
                  </a:cubicBezTo>
                  <a:cubicBezTo>
                    <a:pt x="252" y="357"/>
                    <a:pt x="252" y="357"/>
                    <a:pt x="252" y="357"/>
                  </a:cubicBezTo>
                  <a:cubicBezTo>
                    <a:pt x="252" y="357"/>
                    <a:pt x="252" y="357"/>
                    <a:pt x="252" y="357"/>
                  </a:cubicBezTo>
                  <a:cubicBezTo>
                    <a:pt x="281" y="357"/>
                    <a:pt x="305" y="334"/>
                    <a:pt x="305" y="305"/>
                  </a:cubicBezTo>
                  <a:lnTo>
                    <a:pt x="30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6" name="Freeform 64">
              <a:extLst>
                <a:ext uri="{FF2B5EF4-FFF2-40B4-BE49-F238E27FC236}">
                  <a16:creationId xmlns:a16="http://schemas.microsoft.com/office/drawing/2014/main" id="{9369C6A9-D512-445D-B6DF-AD33A149C796}"/>
                </a:ext>
              </a:extLst>
            </p:cNvPr>
            <p:cNvSpPr>
              <a:spLocks/>
            </p:cNvSpPr>
            <p:nvPr/>
          </p:nvSpPr>
          <p:spPr bwMode="auto">
            <a:xfrm>
              <a:off x="8201990" y="1693556"/>
              <a:ext cx="55385" cy="55385"/>
            </a:xfrm>
            <a:custGeom>
              <a:avLst/>
              <a:gdLst>
                <a:gd name="T0" fmla="*/ 77 w 185"/>
                <a:gd name="T1" fmla="*/ 184 h 185"/>
                <a:gd name="T2" fmla="*/ 92 w 185"/>
                <a:gd name="T3" fmla="*/ 185 h 185"/>
                <a:gd name="T4" fmla="*/ 107 w 185"/>
                <a:gd name="T5" fmla="*/ 184 h 185"/>
                <a:gd name="T6" fmla="*/ 185 w 185"/>
                <a:gd name="T7" fmla="*/ 93 h 185"/>
                <a:gd name="T8" fmla="*/ 92 w 185"/>
                <a:gd name="T9" fmla="*/ 0 h 185"/>
                <a:gd name="T10" fmla="*/ 0 w 185"/>
                <a:gd name="T11" fmla="*/ 93 h 185"/>
                <a:gd name="T12" fmla="*/ 77 w 185"/>
                <a:gd name="T13" fmla="*/ 184 h 185"/>
              </a:gdLst>
              <a:ahLst/>
              <a:cxnLst>
                <a:cxn ang="0">
                  <a:pos x="T0" y="T1"/>
                </a:cxn>
                <a:cxn ang="0">
                  <a:pos x="T2" y="T3"/>
                </a:cxn>
                <a:cxn ang="0">
                  <a:pos x="T4" y="T5"/>
                </a:cxn>
                <a:cxn ang="0">
                  <a:pos x="T6" y="T7"/>
                </a:cxn>
                <a:cxn ang="0">
                  <a:pos x="T8" y="T9"/>
                </a:cxn>
                <a:cxn ang="0">
                  <a:pos x="T10" y="T11"/>
                </a:cxn>
                <a:cxn ang="0">
                  <a:pos x="T12" y="T13"/>
                </a:cxn>
              </a:cxnLst>
              <a:rect l="0" t="0" r="r" b="b"/>
              <a:pathLst>
                <a:path w="185" h="185">
                  <a:moveTo>
                    <a:pt x="77" y="184"/>
                  </a:moveTo>
                  <a:cubicBezTo>
                    <a:pt x="82" y="185"/>
                    <a:pt x="87" y="185"/>
                    <a:pt x="92" y="185"/>
                  </a:cubicBezTo>
                  <a:cubicBezTo>
                    <a:pt x="97" y="185"/>
                    <a:pt x="102" y="185"/>
                    <a:pt x="107" y="184"/>
                  </a:cubicBezTo>
                  <a:cubicBezTo>
                    <a:pt x="151" y="177"/>
                    <a:pt x="185" y="139"/>
                    <a:pt x="185" y="93"/>
                  </a:cubicBezTo>
                  <a:cubicBezTo>
                    <a:pt x="185" y="42"/>
                    <a:pt x="143" y="0"/>
                    <a:pt x="92" y="0"/>
                  </a:cubicBezTo>
                  <a:cubicBezTo>
                    <a:pt x="41" y="0"/>
                    <a:pt x="0" y="42"/>
                    <a:pt x="0" y="93"/>
                  </a:cubicBezTo>
                  <a:cubicBezTo>
                    <a:pt x="0" y="139"/>
                    <a:pt x="33" y="177"/>
                    <a:pt x="77"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7" name="Freeform 65">
              <a:extLst>
                <a:ext uri="{FF2B5EF4-FFF2-40B4-BE49-F238E27FC236}">
                  <a16:creationId xmlns:a16="http://schemas.microsoft.com/office/drawing/2014/main" id="{951CD532-5E85-4B6E-966E-D8164C67A087}"/>
                </a:ext>
              </a:extLst>
            </p:cNvPr>
            <p:cNvSpPr>
              <a:spLocks/>
            </p:cNvSpPr>
            <p:nvPr/>
          </p:nvSpPr>
          <p:spPr bwMode="auto">
            <a:xfrm>
              <a:off x="7901068" y="1778479"/>
              <a:ext cx="70154" cy="171693"/>
            </a:xfrm>
            <a:custGeom>
              <a:avLst/>
              <a:gdLst>
                <a:gd name="T0" fmla="*/ 209 w 237"/>
                <a:gd name="T1" fmla="*/ 220 h 571"/>
                <a:gd name="T2" fmla="*/ 209 w 237"/>
                <a:gd name="T3" fmla="*/ 172 h 571"/>
                <a:gd name="T4" fmla="*/ 209 w 237"/>
                <a:gd name="T5" fmla="*/ 16 h 571"/>
                <a:gd name="T6" fmla="*/ 209 w 237"/>
                <a:gd name="T7" fmla="*/ 0 h 571"/>
                <a:gd name="T8" fmla="*/ 192 w 237"/>
                <a:gd name="T9" fmla="*/ 0 h 571"/>
                <a:gd name="T10" fmla="*/ 165 w 237"/>
                <a:gd name="T11" fmla="*/ 44 h 571"/>
                <a:gd name="T12" fmla="*/ 138 w 237"/>
                <a:gd name="T13" fmla="*/ 0 h 571"/>
                <a:gd name="T14" fmla="*/ 138 w 237"/>
                <a:gd name="T15" fmla="*/ 0 h 571"/>
                <a:gd name="T16" fmla="*/ 111 w 237"/>
                <a:gd name="T17" fmla="*/ 44 h 571"/>
                <a:gd name="T18" fmla="*/ 84 w 237"/>
                <a:gd name="T19" fmla="*/ 0 h 571"/>
                <a:gd name="T20" fmla="*/ 40 w 237"/>
                <a:gd name="T21" fmla="*/ 0 h 571"/>
                <a:gd name="T22" fmla="*/ 40 w 237"/>
                <a:gd name="T23" fmla="*/ 0 h 571"/>
                <a:gd name="T24" fmla="*/ 0 w 237"/>
                <a:gd name="T25" fmla="*/ 41 h 571"/>
                <a:gd name="T26" fmla="*/ 0 w 237"/>
                <a:gd name="T27" fmla="*/ 78 h 571"/>
                <a:gd name="T28" fmla="*/ 0 w 237"/>
                <a:gd name="T29" fmla="*/ 199 h 571"/>
                <a:gd name="T30" fmla="*/ 0 w 237"/>
                <a:gd name="T31" fmla="*/ 236 h 571"/>
                <a:gd name="T32" fmla="*/ 40 w 237"/>
                <a:gd name="T33" fmla="*/ 276 h 571"/>
                <a:gd name="T34" fmla="*/ 40 w 237"/>
                <a:gd name="T35" fmla="*/ 276 h 571"/>
                <a:gd name="T36" fmla="*/ 40 w 237"/>
                <a:gd name="T37" fmla="*/ 276 h 571"/>
                <a:gd name="T38" fmla="*/ 40 w 237"/>
                <a:gd name="T39" fmla="*/ 527 h 571"/>
                <a:gd name="T40" fmla="*/ 85 w 237"/>
                <a:gd name="T41" fmla="*/ 571 h 571"/>
                <a:gd name="T42" fmla="*/ 129 w 237"/>
                <a:gd name="T43" fmla="*/ 527 h 571"/>
                <a:gd name="T44" fmla="*/ 129 w 237"/>
                <a:gd name="T45" fmla="*/ 276 h 571"/>
                <a:gd name="T46" fmla="*/ 146 w 237"/>
                <a:gd name="T47" fmla="*/ 276 h 571"/>
                <a:gd name="T48" fmla="*/ 146 w 237"/>
                <a:gd name="T49" fmla="*/ 526 h 571"/>
                <a:gd name="T50" fmla="*/ 190 w 237"/>
                <a:gd name="T51" fmla="*/ 571 h 571"/>
                <a:gd name="T52" fmla="*/ 235 w 237"/>
                <a:gd name="T53" fmla="*/ 526 h 571"/>
                <a:gd name="T54" fmla="*/ 235 w 237"/>
                <a:gd name="T55" fmla="*/ 276 h 571"/>
                <a:gd name="T56" fmla="*/ 235 w 237"/>
                <a:gd name="T57" fmla="*/ 276 h 571"/>
                <a:gd name="T58" fmla="*/ 235 w 237"/>
                <a:gd name="T59" fmla="*/ 276 h 571"/>
                <a:gd name="T60" fmla="*/ 237 w 237"/>
                <a:gd name="T61" fmla="*/ 276 h 571"/>
                <a:gd name="T62" fmla="*/ 209 w 237"/>
                <a:gd name="T63" fmla="*/ 22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571">
                  <a:moveTo>
                    <a:pt x="209" y="220"/>
                  </a:moveTo>
                  <a:cubicBezTo>
                    <a:pt x="209" y="172"/>
                    <a:pt x="209" y="172"/>
                    <a:pt x="209" y="172"/>
                  </a:cubicBezTo>
                  <a:cubicBezTo>
                    <a:pt x="209" y="16"/>
                    <a:pt x="209" y="16"/>
                    <a:pt x="209" y="16"/>
                  </a:cubicBezTo>
                  <a:cubicBezTo>
                    <a:pt x="209" y="0"/>
                    <a:pt x="209" y="0"/>
                    <a:pt x="209" y="0"/>
                  </a:cubicBezTo>
                  <a:cubicBezTo>
                    <a:pt x="192" y="0"/>
                    <a:pt x="192" y="0"/>
                    <a:pt x="192" y="0"/>
                  </a:cubicBezTo>
                  <a:cubicBezTo>
                    <a:pt x="165" y="44"/>
                    <a:pt x="165" y="44"/>
                    <a:pt x="165" y="44"/>
                  </a:cubicBezTo>
                  <a:cubicBezTo>
                    <a:pt x="138" y="0"/>
                    <a:pt x="138" y="0"/>
                    <a:pt x="138" y="0"/>
                  </a:cubicBezTo>
                  <a:cubicBezTo>
                    <a:pt x="138" y="0"/>
                    <a:pt x="138" y="0"/>
                    <a:pt x="138" y="0"/>
                  </a:cubicBezTo>
                  <a:cubicBezTo>
                    <a:pt x="111" y="44"/>
                    <a:pt x="111" y="44"/>
                    <a:pt x="111" y="44"/>
                  </a:cubicBezTo>
                  <a:cubicBezTo>
                    <a:pt x="84" y="0"/>
                    <a:pt x="84" y="0"/>
                    <a:pt x="84" y="0"/>
                  </a:cubicBezTo>
                  <a:cubicBezTo>
                    <a:pt x="40" y="0"/>
                    <a:pt x="40" y="0"/>
                    <a:pt x="40" y="0"/>
                  </a:cubicBezTo>
                  <a:cubicBezTo>
                    <a:pt x="40" y="0"/>
                    <a:pt x="40" y="0"/>
                    <a:pt x="40" y="0"/>
                  </a:cubicBezTo>
                  <a:cubicBezTo>
                    <a:pt x="18" y="0"/>
                    <a:pt x="0" y="18"/>
                    <a:pt x="0" y="41"/>
                  </a:cubicBezTo>
                  <a:cubicBezTo>
                    <a:pt x="0" y="78"/>
                    <a:pt x="0" y="78"/>
                    <a:pt x="0" y="78"/>
                  </a:cubicBezTo>
                  <a:cubicBezTo>
                    <a:pt x="0" y="199"/>
                    <a:pt x="0" y="199"/>
                    <a:pt x="0" y="199"/>
                  </a:cubicBezTo>
                  <a:cubicBezTo>
                    <a:pt x="0" y="236"/>
                    <a:pt x="0" y="236"/>
                    <a:pt x="0" y="236"/>
                  </a:cubicBezTo>
                  <a:cubicBezTo>
                    <a:pt x="0" y="258"/>
                    <a:pt x="18" y="276"/>
                    <a:pt x="40" y="276"/>
                  </a:cubicBezTo>
                  <a:cubicBezTo>
                    <a:pt x="40" y="276"/>
                    <a:pt x="40" y="276"/>
                    <a:pt x="40" y="276"/>
                  </a:cubicBezTo>
                  <a:cubicBezTo>
                    <a:pt x="40" y="276"/>
                    <a:pt x="40" y="276"/>
                    <a:pt x="40" y="276"/>
                  </a:cubicBezTo>
                  <a:cubicBezTo>
                    <a:pt x="40" y="527"/>
                    <a:pt x="40" y="527"/>
                    <a:pt x="40" y="527"/>
                  </a:cubicBezTo>
                  <a:cubicBezTo>
                    <a:pt x="40" y="551"/>
                    <a:pt x="60" y="571"/>
                    <a:pt x="85" y="571"/>
                  </a:cubicBezTo>
                  <a:cubicBezTo>
                    <a:pt x="109" y="571"/>
                    <a:pt x="129" y="551"/>
                    <a:pt x="129" y="527"/>
                  </a:cubicBezTo>
                  <a:cubicBezTo>
                    <a:pt x="129" y="276"/>
                    <a:pt x="129" y="276"/>
                    <a:pt x="129" y="276"/>
                  </a:cubicBezTo>
                  <a:cubicBezTo>
                    <a:pt x="146" y="276"/>
                    <a:pt x="146" y="276"/>
                    <a:pt x="146" y="276"/>
                  </a:cubicBezTo>
                  <a:cubicBezTo>
                    <a:pt x="146" y="526"/>
                    <a:pt x="146" y="526"/>
                    <a:pt x="146" y="526"/>
                  </a:cubicBezTo>
                  <a:cubicBezTo>
                    <a:pt x="146" y="551"/>
                    <a:pt x="166" y="571"/>
                    <a:pt x="190" y="571"/>
                  </a:cubicBezTo>
                  <a:cubicBezTo>
                    <a:pt x="215" y="571"/>
                    <a:pt x="235" y="551"/>
                    <a:pt x="235" y="526"/>
                  </a:cubicBezTo>
                  <a:cubicBezTo>
                    <a:pt x="235" y="276"/>
                    <a:pt x="235" y="276"/>
                    <a:pt x="235" y="276"/>
                  </a:cubicBezTo>
                  <a:cubicBezTo>
                    <a:pt x="235" y="276"/>
                    <a:pt x="235" y="276"/>
                    <a:pt x="235" y="276"/>
                  </a:cubicBezTo>
                  <a:cubicBezTo>
                    <a:pt x="235" y="276"/>
                    <a:pt x="235" y="276"/>
                    <a:pt x="235" y="276"/>
                  </a:cubicBezTo>
                  <a:cubicBezTo>
                    <a:pt x="236" y="276"/>
                    <a:pt x="236" y="276"/>
                    <a:pt x="237" y="276"/>
                  </a:cubicBezTo>
                  <a:cubicBezTo>
                    <a:pt x="220" y="263"/>
                    <a:pt x="209" y="243"/>
                    <a:pt x="209"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8" name="Freeform 66">
              <a:extLst>
                <a:ext uri="{FF2B5EF4-FFF2-40B4-BE49-F238E27FC236}">
                  <a16:creationId xmlns:a16="http://schemas.microsoft.com/office/drawing/2014/main" id="{44BC029F-0B4D-4BA2-A7D0-CFBB66FE9B79}"/>
                </a:ext>
              </a:extLst>
            </p:cNvPr>
            <p:cNvSpPr>
              <a:spLocks/>
            </p:cNvSpPr>
            <p:nvPr/>
          </p:nvSpPr>
          <p:spPr bwMode="auto">
            <a:xfrm>
              <a:off x="7921375" y="1732324"/>
              <a:ext cx="42462" cy="44308"/>
            </a:xfrm>
            <a:custGeom>
              <a:avLst/>
              <a:gdLst>
                <a:gd name="T0" fmla="*/ 60 w 143"/>
                <a:gd name="T1" fmla="*/ 142 h 143"/>
                <a:gd name="T2" fmla="*/ 71 w 143"/>
                <a:gd name="T3" fmla="*/ 143 h 143"/>
                <a:gd name="T4" fmla="*/ 83 w 143"/>
                <a:gd name="T5" fmla="*/ 142 h 143"/>
                <a:gd name="T6" fmla="*/ 143 w 143"/>
                <a:gd name="T7" fmla="*/ 72 h 143"/>
                <a:gd name="T8" fmla="*/ 71 w 143"/>
                <a:gd name="T9" fmla="*/ 0 h 143"/>
                <a:gd name="T10" fmla="*/ 0 w 143"/>
                <a:gd name="T11" fmla="*/ 72 h 143"/>
                <a:gd name="T12" fmla="*/ 60 w 143"/>
                <a:gd name="T13" fmla="*/ 142 h 143"/>
              </a:gdLst>
              <a:ahLst/>
              <a:cxnLst>
                <a:cxn ang="0">
                  <a:pos x="T0" y="T1"/>
                </a:cxn>
                <a:cxn ang="0">
                  <a:pos x="T2" y="T3"/>
                </a:cxn>
                <a:cxn ang="0">
                  <a:pos x="T4" y="T5"/>
                </a:cxn>
                <a:cxn ang="0">
                  <a:pos x="T6" y="T7"/>
                </a:cxn>
                <a:cxn ang="0">
                  <a:pos x="T8" y="T9"/>
                </a:cxn>
                <a:cxn ang="0">
                  <a:pos x="T10" y="T11"/>
                </a:cxn>
                <a:cxn ang="0">
                  <a:pos x="T12" y="T13"/>
                </a:cxn>
              </a:cxnLst>
              <a:rect l="0" t="0" r="r" b="b"/>
              <a:pathLst>
                <a:path w="143" h="143">
                  <a:moveTo>
                    <a:pt x="60" y="142"/>
                  </a:moveTo>
                  <a:cubicBezTo>
                    <a:pt x="64" y="143"/>
                    <a:pt x="68" y="143"/>
                    <a:pt x="71" y="143"/>
                  </a:cubicBezTo>
                  <a:cubicBezTo>
                    <a:pt x="76" y="143"/>
                    <a:pt x="80" y="143"/>
                    <a:pt x="83" y="142"/>
                  </a:cubicBezTo>
                  <a:cubicBezTo>
                    <a:pt x="117" y="136"/>
                    <a:pt x="143" y="107"/>
                    <a:pt x="143" y="72"/>
                  </a:cubicBezTo>
                  <a:cubicBezTo>
                    <a:pt x="143" y="32"/>
                    <a:pt x="111" y="0"/>
                    <a:pt x="71" y="0"/>
                  </a:cubicBezTo>
                  <a:cubicBezTo>
                    <a:pt x="32" y="0"/>
                    <a:pt x="0" y="32"/>
                    <a:pt x="0" y="72"/>
                  </a:cubicBezTo>
                  <a:cubicBezTo>
                    <a:pt x="0" y="107"/>
                    <a:pt x="26" y="137"/>
                    <a:pt x="60"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19" name="Freeform 67">
              <a:extLst>
                <a:ext uri="{FF2B5EF4-FFF2-40B4-BE49-F238E27FC236}">
                  <a16:creationId xmlns:a16="http://schemas.microsoft.com/office/drawing/2014/main" id="{88004482-66F0-4F87-9BAC-37CC84408BA9}"/>
                </a:ext>
              </a:extLst>
            </p:cNvPr>
            <p:cNvSpPr>
              <a:spLocks/>
            </p:cNvSpPr>
            <p:nvPr/>
          </p:nvSpPr>
          <p:spPr bwMode="auto">
            <a:xfrm>
              <a:off x="7969375" y="1752632"/>
              <a:ext cx="90462" cy="221538"/>
            </a:xfrm>
            <a:custGeom>
              <a:avLst/>
              <a:gdLst>
                <a:gd name="T0" fmla="*/ 270 w 304"/>
                <a:gd name="T1" fmla="*/ 296 h 740"/>
                <a:gd name="T2" fmla="*/ 270 w 304"/>
                <a:gd name="T3" fmla="*/ 234 h 740"/>
                <a:gd name="T4" fmla="*/ 270 w 304"/>
                <a:gd name="T5" fmla="*/ 33 h 740"/>
                <a:gd name="T6" fmla="*/ 270 w 304"/>
                <a:gd name="T7" fmla="*/ 0 h 740"/>
                <a:gd name="T8" fmla="*/ 249 w 304"/>
                <a:gd name="T9" fmla="*/ 0 h 740"/>
                <a:gd name="T10" fmla="*/ 214 w 304"/>
                <a:gd name="T11" fmla="*/ 57 h 740"/>
                <a:gd name="T12" fmla="*/ 179 w 304"/>
                <a:gd name="T13" fmla="*/ 0 h 740"/>
                <a:gd name="T14" fmla="*/ 179 w 304"/>
                <a:gd name="T15" fmla="*/ 0 h 740"/>
                <a:gd name="T16" fmla="*/ 144 w 304"/>
                <a:gd name="T17" fmla="*/ 57 h 740"/>
                <a:gd name="T18" fmla="*/ 109 w 304"/>
                <a:gd name="T19" fmla="*/ 0 h 740"/>
                <a:gd name="T20" fmla="*/ 52 w 304"/>
                <a:gd name="T21" fmla="*/ 0 h 740"/>
                <a:gd name="T22" fmla="*/ 52 w 304"/>
                <a:gd name="T23" fmla="*/ 0 h 740"/>
                <a:gd name="T24" fmla="*/ 52 w 304"/>
                <a:gd name="T25" fmla="*/ 0 h 740"/>
                <a:gd name="T26" fmla="*/ 0 w 304"/>
                <a:gd name="T27" fmla="*/ 52 h 740"/>
                <a:gd name="T28" fmla="*/ 0 w 304"/>
                <a:gd name="T29" fmla="*/ 101 h 740"/>
                <a:gd name="T30" fmla="*/ 0 w 304"/>
                <a:gd name="T31" fmla="*/ 257 h 740"/>
                <a:gd name="T32" fmla="*/ 0 w 304"/>
                <a:gd name="T33" fmla="*/ 305 h 740"/>
                <a:gd name="T34" fmla="*/ 52 w 304"/>
                <a:gd name="T35" fmla="*/ 357 h 740"/>
                <a:gd name="T36" fmla="*/ 52 w 304"/>
                <a:gd name="T37" fmla="*/ 357 h 740"/>
                <a:gd name="T38" fmla="*/ 52 w 304"/>
                <a:gd name="T39" fmla="*/ 357 h 740"/>
                <a:gd name="T40" fmla="*/ 52 w 304"/>
                <a:gd name="T41" fmla="*/ 682 h 740"/>
                <a:gd name="T42" fmla="*/ 110 w 304"/>
                <a:gd name="T43" fmla="*/ 740 h 740"/>
                <a:gd name="T44" fmla="*/ 168 w 304"/>
                <a:gd name="T45" fmla="*/ 682 h 740"/>
                <a:gd name="T46" fmla="*/ 168 w 304"/>
                <a:gd name="T47" fmla="*/ 357 h 740"/>
                <a:gd name="T48" fmla="*/ 189 w 304"/>
                <a:gd name="T49" fmla="*/ 357 h 740"/>
                <a:gd name="T50" fmla="*/ 189 w 304"/>
                <a:gd name="T51" fmla="*/ 682 h 740"/>
                <a:gd name="T52" fmla="*/ 247 w 304"/>
                <a:gd name="T53" fmla="*/ 740 h 740"/>
                <a:gd name="T54" fmla="*/ 304 w 304"/>
                <a:gd name="T55" fmla="*/ 682 h 740"/>
                <a:gd name="T56" fmla="*/ 304 w 304"/>
                <a:gd name="T57" fmla="*/ 367 h 740"/>
                <a:gd name="T58" fmla="*/ 270 w 304"/>
                <a:gd name="T59" fmla="*/ 29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740">
                  <a:moveTo>
                    <a:pt x="270" y="296"/>
                  </a:moveTo>
                  <a:cubicBezTo>
                    <a:pt x="270" y="234"/>
                    <a:pt x="270" y="234"/>
                    <a:pt x="270" y="234"/>
                  </a:cubicBezTo>
                  <a:cubicBezTo>
                    <a:pt x="270" y="33"/>
                    <a:pt x="270" y="33"/>
                    <a:pt x="270" y="33"/>
                  </a:cubicBezTo>
                  <a:cubicBezTo>
                    <a:pt x="270" y="0"/>
                    <a:pt x="270" y="0"/>
                    <a:pt x="270" y="0"/>
                  </a:cubicBezTo>
                  <a:cubicBezTo>
                    <a:pt x="249" y="0"/>
                    <a:pt x="249" y="0"/>
                    <a:pt x="249" y="0"/>
                  </a:cubicBezTo>
                  <a:cubicBezTo>
                    <a:pt x="214" y="57"/>
                    <a:pt x="214" y="57"/>
                    <a:pt x="214" y="57"/>
                  </a:cubicBezTo>
                  <a:cubicBezTo>
                    <a:pt x="179" y="0"/>
                    <a:pt x="179" y="0"/>
                    <a:pt x="179" y="0"/>
                  </a:cubicBezTo>
                  <a:cubicBezTo>
                    <a:pt x="179" y="0"/>
                    <a:pt x="179" y="0"/>
                    <a:pt x="179" y="0"/>
                  </a:cubicBezTo>
                  <a:cubicBezTo>
                    <a:pt x="144" y="57"/>
                    <a:pt x="144" y="57"/>
                    <a:pt x="144" y="57"/>
                  </a:cubicBezTo>
                  <a:cubicBezTo>
                    <a:pt x="109" y="0"/>
                    <a:pt x="109" y="0"/>
                    <a:pt x="109" y="0"/>
                  </a:cubicBezTo>
                  <a:cubicBezTo>
                    <a:pt x="52" y="0"/>
                    <a:pt x="52" y="0"/>
                    <a:pt x="52" y="0"/>
                  </a:cubicBezTo>
                  <a:cubicBezTo>
                    <a:pt x="52" y="0"/>
                    <a:pt x="52" y="0"/>
                    <a:pt x="52" y="0"/>
                  </a:cubicBezTo>
                  <a:cubicBezTo>
                    <a:pt x="52" y="0"/>
                    <a:pt x="52" y="0"/>
                    <a:pt x="52" y="0"/>
                  </a:cubicBezTo>
                  <a:cubicBezTo>
                    <a:pt x="23" y="0"/>
                    <a:pt x="0" y="24"/>
                    <a:pt x="0" y="52"/>
                  </a:cubicBezTo>
                  <a:cubicBezTo>
                    <a:pt x="0" y="101"/>
                    <a:pt x="0" y="101"/>
                    <a:pt x="0" y="101"/>
                  </a:cubicBezTo>
                  <a:cubicBezTo>
                    <a:pt x="0" y="257"/>
                    <a:pt x="0" y="257"/>
                    <a:pt x="0" y="257"/>
                  </a:cubicBezTo>
                  <a:cubicBezTo>
                    <a:pt x="0" y="305"/>
                    <a:pt x="0" y="305"/>
                    <a:pt x="0" y="305"/>
                  </a:cubicBezTo>
                  <a:cubicBezTo>
                    <a:pt x="0" y="334"/>
                    <a:pt x="23" y="357"/>
                    <a:pt x="52" y="357"/>
                  </a:cubicBezTo>
                  <a:cubicBezTo>
                    <a:pt x="52" y="357"/>
                    <a:pt x="52" y="357"/>
                    <a:pt x="52" y="357"/>
                  </a:cubicBezTo>
                  <a:cubicBezTo>
                    <a:pt x="52" y="357"/>
                    <a:pt x="52" y="357"/>
                    <a:pt x="52" y="357"/>
                  </a:cubicBezTo>
                  <a:cubicBezTo>
                    <a:pt x="52" y="682"/>
                    <a:pt x="52" y="682"/>
                    <a:pt x="52" y="682"/>
                  </a:cubicBezTo>
                  <a:cubicBezTo>
                    <a:pt x="52" y="714"/>
                    <a:pt x="78" y="740"/>
                    <a:pt x="110" y="740"/>
                  </a:cubicBezTo>
                  <a:cubicBezTo>
                    <a:pt x="142" y="740"/>
                    <a:pt x="168" y="714"/>
                    <a:pt x="168" y="682"/>
                  </a:cubicBezTo>
                  <a:cubicBezTo>
                    <a:pt x="168" y="357"/>
                    <a:pt x="168" y="357"/>
                    <a:pt x="168" y="357"/>
                  </a:cubicBezTo>
                  <a:cubicBezTo>
                    <a:pt x="189" y="357"/>
                    <a:pt x="189" y="357"/>
                    <a:pt x="189" y="357"/>
                  </a:cubicBezTo>
                  <a:cubicBezTo>
                    <a:pt x="189" y="682"/>
                    <a:pt x="189" y="682"/>
                    <a:pt x="189" y="682"/>
                  </a:cubicBezTo>
                  <a:cubicBezTo>
                    <a:pt x="189" y="714"/>
                    <a:pt x="215" y="740"/>
                    <a:pt x="247" y="740"/>
                  </a:cubicBezTo>
                  <a:cubicBezTo>
                    <a:pt x="279" y="740"/>
                    <a:pt x="304" y="714"/>
                    <a:pt x="304" y="682"/>
                  </a:cubicBezTo>
                  <a:cubicBezTo>
                    <a:pt x="304" y="367"/>
                    <a:pt x="304" y="367"/>
                    <a:pt x="304" y="367"/>
                  </a:cubicBezTo>
                  <a:cubicBezTo>
                    <a:pt x="283" y="350"/>
                    <a:pt x="270" y="324"/>
                    <a:pt x="270" y="2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0" name="Freeform 68">
              <a:extLst>
                <a:ext uri="{FF2B5EF4-FFF2-40B4-BE49-F238E27FC236}">
                  <a16:creationId xmlns:a16="http://schemas.microsoft.com/office/drawing/2014/main" id="{E47BB447-0505-4275-A923-3D58F32681DD}"/>
                </a:ext>
              </a:extLst>
            </p:cNvPr>
            <p:cNvSpPr>
              <a:spLocks/>
            </p:cNvSpPr>
            <p:nvPr/>
          </p:nvSpPr>
          <p:spPr bwMode="auto">
            <a:xfrm>
              <a:off x="7995221" y="1693556"/>
              <a:ext cx="55385" cy="55385"/>
            </a:xfrm>
            <a:custGeom>
              <a:avLst/>
              <a:gdLst>
                <a:gd name="T0" fmla="*/ 77 w 185"/>
                <a:gd name="T1" fmla="*/ 184 h 185"/>
                <a:gd name="T2" fmla="*/ 92 w 185"/>
                <a:gd name="T3" fmla="*/ 185 h 185"/>
                <a:gd name="T4" fmla="*/ 108 w 185"/>
                <a:gd name="T5" fmla="*/ 184 h 185"/>
                <a:gd name="T6" fmla="*/ 185 w 185"/>
                <a:gd name="T7" fmla="*/ 93 h 185"/>
                <a:gd name="T8" fmla="*/ 92 w 185"/>
                <a:gd name="T9" fmla="*/ 0 h 185"/>
                <a:gd name="T10" fmla="*/ 0 w 185"/>
                <a:gd name="T11" fmla="*/ 93 h 185"/>
                <a:gd name="T12" fmla="*/ 77 w 185"/>
                <a:gd name="T13" fmla="*/ 184 h 185"/>
              </a:gdLst>
              <a:ahLst/>
              <a:cxnLst>
                <a:cxn ang="0">
                  <a:pos x="T0" y="T1"/>
                </a:cxn>
                <a:cxn ang="0">
                  <a:pos x="T2" y="T3"/>
                </a:cxn>
                <a:cxn ang="0">
                  <a:pos x="T4" y="T5"/>
                </a:cxn>
                <a:cxn ang="0">
                  <a:pos x="T6" y="T7"/>
                </a:cxn>
                <a:cxn ang="0">
                  <a:pos x="T8" y="T9"/>
                </a:cxn>
                <a:cxn ang="0">
                  <a:pos x="T10" y="T11"/>
                </a:cxn>
                <a:cxn ang="0">
                  <a:pos x="T12" y="T13"/>
                </a:cxn>
              </a:cxnLst>
              <a:rect l="0" t="0" r="r" b="b"/>
              <a:pathLst>
                <a:path w="185" h="185">
                  <a:moveTo>
                    <a:pt x="77" y="184"/>
                  </a:moveTo>
                  <a:cubicBezTo>
                    <a:pt x="82" y="185"/>
                    <a:pt x="87" y="185"/>
                    <a:pt x="92" y="185"/>
                  </a:cubicBezTo>
                  <a:cubicBezTo>
                    <a:pt x="98" y="185"/>
                    <a:pt x="103" y="185"/>
                    <a:pt x="108" y="184"/>
                  </a:cubicBezTo>
                  <a:cubicBezTo>
                    <a:pt x="152" y="177"/>
                    <a:pt x="185" y="139"/>
                    <a:pt x="185" y="93"/>
                  </a:cubicBezTo>
                  <a:cubicBezTo>
                    <a:pt x="185" y="42"/>
                    <a:pt x="143" y="0"/>
                    <a:pt x="92" y="0"/>
                  </a:cubicBezTo>
                  <a:cubicBezTo>
                    <a:pt x="41" y="0"/>
                    <a:pt x="0" y="42"/>
                    <a:pt x="0" y="93"/>
                  </a:cubicBezTo>
                  <a:cubicBezTo>
                    <a:pt x="0" y="139"/>
                    <a:pt x="33" y="177"/>
                    <a:pt x="77"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1" name="Freeform 69">
              <a:extLst>
                <a:ext uri="{FF2B5EF4-FFF2-40B4-BE49-F238E27FC236}">
                  <a16:creationId xmlns:a16="http://schemas.microsoft.com/office/drawing/2014/main" id="{93C4F222-BDF5-40AA-9798-A7CAAB17044A}"/>
                </a:ext>
              </a:extLst>
            </p:cNvPr>
            <p:cNvSpPr>
              <a:spLocks/>
            </p:cNvSpPr>
            <p:nvPr/>
          </p:nvSpPr>
          <p:spPr bwMode="auto">
            <a:xfrm>
              <a:off x="8057990" y="1723094"/>
              <a:ext cx="136615" cy="286154"/>
            </a:xfrm>
            <a:custGeom>
              <a:avLst/>
              <a:gdLst>
                <a:gd name="T0" fmla="*/ 458 w 458"/>
                <a:gd name="T1" fmla="*/ 330 h 950"/>
                <a:gd name="T2" fmla="*/ 458 w 458"/>
                <a:gd name="T3" fmla="*/ 129 h 950"/>
                <a:gd name="T4" fmla="*/ 458 w 458"/>
                <a:gd name="T5" fmla="*/ 67 h 950"/>
                <a:gd name="T6" fmla="*/ 391 w 458"/>
                <a:gd name="T7" fmla="*/ 0 h 950"/>
                <a:gd name="T8" fmla="*/ 391 w 458"/>
                <a:gd name="T9" fmla="*/ 0 h 950"/>
                <a:gd name="T10" fmla="*/ 391 w 458"/>
                <a:gd name="T11" fmla="*/ 0 h 950"/>
                <a:gd name="T12" fmla="*/ 319 w 458"/>
                <a:gd name="T13" fmla="*/ 0 h 950"/>
                <a:gd name="T14" fmla="*/ 274 w 458"/>
                <a:gd name="T15" fmla="*/ 72 h 950"/>
                <a:gd name="T16" fmla="*/ 229 w 458"/>
                <a:gd name="T17" fmla="*/ 0 h 950"/>
                <a:gd name="T18" fmla="*/ 228 w 458"/>
                <a:gd name="T19" fmla="*/ 0 h 950"/>
                <a:gd name="T20" fmla="*/ 183 w 458"/>
                <a:gd name="T21" fmla="*/ 72 h 950"/>
                <a:gd name="T22" fmla="*/ 138 w 458"/>
                <a:gd name="T23" fmla="*/ 0 h 950"/>
                <a:gd name="T24" fmla="*/ 67 w 458"/>
                <a:gd name="T25" fmla="*/ 0 h 950"/>
                <a:gd name="T26" fmla="*/ 67 w 458"/>
                <a:gd name="T27" fmla="*/ 0 h 950"/>
                <a:gd name="T28" fmla="*/ 66 w 458"/>
                <a:gd name="T29" fmla="*/ 0 h 950"/>
                <a:gd name="T30" fmla="*/ 0 w 458"/>
                <a:gd name="T31" fmla="*/ 67 h 950"/>
                <a:gd name="T32" fmla="*/ 0 w 458"/>
                <a:gd name="T33" fmla="*/ 129 h 950"/>
                <a:gd name="T34" fmla="*/ 0 w 458"/>
                <a:gd name="T35" fmla="*/ 330 h 950"/>
                <a:gd name="T36" fmla="*/ 0 w 458"/>
                <a:gd name="T37" fmla="*/ 392 h 950"/>
                <a:gd name="T38" fmla="*/ 66 w 458"/>
                <a:gd name="T39" fmla="*/ 458 h 950"/>
                <a:gd name="T40" fmla="*/ 67 w 458"/>
                <a:gd name="T41" fmla="*/ 458 h 950"/>
                <a:gd name="T42" fmla="*/ 67 w 458"/>
                <a:gd name="T43" fmla="*/ 458 h 950"/>
                <a:gd name="T44" fmla="*/ 67 w 458"/>
                <a:gd name="T45" fmla="*/ 875 h 950"/>
                <a:gd name="T46" fmla="*/ 141 w 458"/>
                <a:gd name="T47" fmla="*/ 949 h 950"/>
                <a:gd name="T48" fmla="*/ 215 w 458"/>
                <a:gd name="T49" fmla="*/ 875 h 950"/>
                <a:gd name="T50" fmla="*/ 215 w 458"/>
                <a:gd name="T51" fmla="*/ 458 h 950"/>
                <a:gd name="T52" fmla="*/ 242 w 458"/>
                <a:gd name="T53" fmla="*/ 458 h 950"/>
                <a:gd name="T54" fmla="*/ 242 w 458"/>
                <a:gd name="T55" fmla="*/ 875 h 950"/>
                <a:gd name="T56" fmla="*/ 317 w 458"/>
                <a:gd name="T57" fmla="*/ 950 h 950"/>
                <a:gd name="T58" fmla="*/ 391 w 458"/>
                <a:gd name="T59" fmla="*/ 875 h 950"/>
                <a:gd name="T60" fmla="*/ 391 w 458"/>
                <a:gd name="T61" fmla="*/ 458 h 950"/>
                <a:gd name="T62" fmla="*/ 391 w 458"/>
                <a:gd name="T63" fmla="*/ 458 h 950"/>
                <a:gd name="T64" fmla="*/ 391 w 458"/>
                <a:gd name="T65" fmla="*/ 458 h 950"/>
                <a:gd name="T66" fmla="*/ 458 w 458"/>
                <a:gd name="T67" fmla="*/ 392 h 950"/>
                <a:gd name="T68" fmla="*/ 458 w 458"/>
                <a:gd name="T69" fmla="*/ 33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8" h="950">
                  <a:moveTo>
                    <a:pt x="458" y="330"/>
                  </a:moveTo>
                  <a:cubicBezTo>
                    <a:pt x="458" y="129"/>
                    <a:pt x="458" y="129"/>
                    <a:pt x="458" y="129"/>
                  </a:cubicBezTo>
                  <a:cubicBezTo>
                    <a:pt x="458" y="67"/>
                    <a:pt x="458" y="67"/>
                    <a:pt x="458" y="67"/>
                  </a:cubicBezTo>
                  <a:cubicBezTo>
                    <a:pt x="458" y="30"/>
                    <a:pt x="428" y="0"/>
                    <a:pt x="391" y="0"/>
                  </a:cubicBezTo>
                  <a:cubicBezTo>
                    <a:pt x="391" y="0"/>
                    <a:pt x="391" y="0"/>
                    <a:pt x="391" y="0"/>
                  </a:cubicBezTo>
                  <a:cubicBezTo>
                    <a:pt x="391" y="0"/>
                    <a:pt x="391" y="0"/>
                    <a:pt x="391" y="0"/>
                  </a:cubicBezTo>
                  <a:cubicBezTo>
                    <a:pt x="319" y="0"/>
                    <a:pt x="319" y="0"/>
                    <a:pt x="319" y="0"/>
                  </a:cubicBezTo>
                  <a:cubicBezTo>
                    <a:pt x="274" y="72"/>
                    <a:pt x="274" y="72"/>
                    <a:pt x="274" y="72"/>
                  </a:cubicBezTo>
                  <a:cubicBezTo>
                    <a:pt x="229" y="0"/>
                    <a:pt x="229" y="0"/>
                    <a:pt x="229" y="0"/>
                  </a:cubicBezTo>
                  <a:cubicBezTo>
                    <a:pt x="228" y="0"/>
                    <a:pt x="228" y="0"/>
                    <a:pt x="228" y="0"/>
                  </a:cubicBezTo>
                  <a:cubicBezTo>
                    <a:pt x="183" y="72"/>
                    <a:pt x="183" y="72"/>
                    <a:pt x="183" y="72"/>
                  </a:cubicBezTo>
                  <a:cubicBezTo>
                    <a:pt x="138" y="0"/>
                    <a:pt x="138" y="0"/>
                    <a:pt x="138" y="0"/>
                  </a:cubicBezTo>
                  <a:cubicBezTo>
                    <a:pt x="67" y="0"/>
                    <a:pt x="67" y="0"/>
                    <a:pt x="67" y="0"/>
                  </a:cubicBezTo>
                  <a:cubicBezTo>
                    <a:pt x="67" y="0"/>
                    <a:pt x="67" y="0"/>
                    <a:pt x="67" y="0"/>
                  </a:cubicBezTo>
                  <a:cubicBezTo>
                    <a:pt x="67" y="0"/>
                    <a:pt x="67" y="0"/>
                    <a:pt x="66" y="0"/>
                  </a:cubicBezTo>
                  <a:cubicBezTo>
                    <a:pt x="30" y="0"/>
                    <a:pt x="0" y="30"/>
                    <a:pt x="0" y="67"/>
                  </a:cubicBezTo>
                  <a:cubicBezTo>
                    <a:pt x="0" y="129"/>
                    <a:pt x="0" y="129"/>
                    <a:pt x="0" y="129"/>
                  </a:cubicBezTo>
                  <a:cubicBezTo>
                    <a:pt x="0" y="330"/>
                    <a:pt x="0" y="330"/>
                    <a:pt x="0" y="330"/>
                  </a:cubicBezTo>
                  <a:cubicBezTo>
                    <a:pt x="0" y="392"/>
                    <a:pt x="0" y="392"/>
                    <a:pt x="0" y="392"/>
                  </a:cubicBezTo>
                  <a:cubicBezTo>
                    <a:pt x="0" y="429"/>
                    <a:pt x="30" y="458"/>
                    <a:pt x="66" y="458"/>
                  </a:cubicBezTo>
                  <a:cubicBezTo>
                    <a:pt x="67" y="458"/>
                    <a:pt x="67" y="458"/>
                    <a:pt x="67" y="458"/>
                  </a:cubicBezTo>
                  <a:cubicBezTo>
                    <a:pt x="67" y="458"/>
                    <a:pt x="67" y="458"/>
                    <a:pt x="67" y="458"/>
                  </a:cubicBezTo>
                  <a:cubicBezTo>
                    <a:pt x="67" y="875"/>
                    <a:pt x="67" y="875"/>
                    <a:pt x="67" y="875"/>
                  </a:cubicBezTo>
                  <a:cubicBezTo>
                    <a:pt x="67" y="916"/>
                    <a:pt x="100" y="949"/>
                    <a:pt x="141" y="949"/>
                  </a:cubicBezTo>
                  <a:cubicBezTo>
                    <a:pt x="182" y="949"/>
                    <a:pt x="215" y="916"/>
                    <a:pt x="215" y="875"/>
                  </a:cubicBezTo>
                  <a:cubicBezTo>
                    <a:pt x="215" y="458"/>
                    <a:pt x="215" y="458"/>
                    <a:pt x="215" y="458"/>
                  </a:cubicBezTo>
                  <a:cubicBezTo>
                    <a:pt x="242" y="458"/>
                    <a:pt x="242" y="458"/>
                    <a:pt x="242" y="458"/>
                  </a:cubicBezTo>
                  <a:cubicBezTo>
                    <a:pt x="242" y="875"/>
                    <a:pt x="242" y="875"/>
                    <a:pt x="242" y="875"/>
                  </a:cubicBezTo>
                  <a:cubicBezTo>
                    <a:pt x="242" y="916"/>
                    <a:pt x="276" y="950"/>
                    <a:pt x="317" y="950"/>
                  </a:cubicBezTo>
                  <a:cubicBezTo>
                    <a:pt x="358" y="950"/>
                    <a:pt x="391" y="916"/>
                    <a:pt x="391" y="875"/>
                  </a:cubicBezTo>
                  <a:cubicBezTo>
                    <a:pt x="391" y="458"/>
                    <a:pt x="391" y="458"/>
                    <a:pt x="391" y="458"/>
                  </a:cubicBezTo>
                  <a:cubicBezTo>
                    <a:pt x="391" y="458"/>
                    <a:pt x="391" y="458"/>
                    <a:pt x="391" y="458"/>
                  </a:cubicBezTo>
                  <a:cubicBezTo>
                    <a:pt x="391" y="458"/>
                    <a:pt x="391" y="458"/>
                    <a:pt x="391" y="458"/>
                  </a:cubicBezTo>
                  <a:cubicBezTo>
                    <a:pt x="428" y="458"/>
                    <a:pt x="458" y="429"/>
                    <a:pt x="458" y="392"/>
                  </a:cubicBezTo>
                  <a:lnTo>
                    <a:pt x="458"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sp>
          <p:nvSpPr>
            <p:cNvPr id="22" name="Freeform 70">
              <a:extLst>
                <a:ext uri="{FF2B5EF4-FFF2-40B4-BE49-F238E27FC236}">
                  <a16:creationId xmlns:a16="http://schemas.microsoft.com/office/drawing/2014/main" id="{AD5E49C9-C841-4A78-83B1-053C9B88EA70}"/>
                </a:ext>
              </a:extLst>
            </p:cNvPr>
            <p:cNvSpPr>
              <a:spLocks/>
            </p:cNvSpPr>
            <p:nvPr/>
          </p:nvSpPr>
          <p:spPr bwMode="auto">
            <a:xfrm>
              <a:off x="8091221" y="1649248"/>
              <a:ext cx="70154" cy="70154"/>
            </a:xfrm>
            <a:custGeom>
              <a:avLst/>
              <a:gdLst>
                <a:gd name="T0" fmla="*/ 99 w 238"/>
                <a:gd name="T1" fmla="*/ 236 h 238"/>
                <a:gd name="T2" fmla="*/ 119 w 238"/>
                <a:gd name="T3" fmla="*/ 238 h 238"/>
                <a:gd name="T4" fmla="*/ 138 w 238"/>
                <a:gd name="T5" fmla="*/ 236 h 238"/>
                <a:gd name="T6" fmla="*/ 238 w 238"/>
                <a:gd name="T7" fmla="*/ 119 h 238"/>
                <a:gd name="T8" fmla="*/ 119 w 238"/>
                <a:gd name="T9" fmla="*/ 0 h 238"/>
                <a:gd name="T10" fmla="*/ 0 w 238"/>
                <a:gd name="T11" fmla="*/ 119 h 238"/>
                <a:gd name="T12" fmla="*/ 99 w 238"/>
                <a:gd name="T13" fmla="*/ 236 h 238"/>
              </a:gdLst>
              <a:ahLst/>
              <a:cxnLst>
                <a:cxn ang="0">
                  <a:pos x="T0" y="T1"/>
                </a:cxn>
                <a:cxn ang="0">
                  <a:pos x="T2" y="T3"/>
                </a:cxn>
                <a:cxn ang="0">
                  <a:pos x="T4" y="T5"/>
                </a:cxn>
                <a:cxn ang="0">
                  <a:pos x="T6" y="T7"/>
                </a:cxn>
                <a:cxn ang="0">
                  <a:pos x="T8" y="T9"/>
                </a:cxn>
                <a:cxn ang="0">
                  <a:pos x="T10" y="T11"/>
                </a:cxn>
                <a:cxn ang="0">
                  <a:pos x="T12" y="T13"/>
                </a:cxn>
              </a:cxnLst>
              <a:rect l="0" t="0" r="r" b="b"/>
              <a:pathLst>
                <a:path w="238" h="238">
                  <a:moveTo>
                    <a:pt x="99" y="236"/>
                  </a:moveTo>
                  <a:cubicBezTo>
                    <a:pt x="105" y="237"/>
                    <a:pt x="112" y="238"/>
                    <a:pt x="119" y="238"/>
                  </a:cubicBezTo>
                  <a:cubicBezTo>
                    <a:pt x="125" y="238"/>
                    <a:pt x="132" y="237"/>
                    <a:pt x="138" y="236"/>
                  </a:cubicBezTo>
                  <a:cubicBezTo>
                    <a:pt x="195" y="227"/>
                    <a:pt x="238" y="178"/>
                    <a:pt x="238" y="119"/>
                  </a:cubicBezTo>
                  <a:cubicBezTo>
                    <a:pt x="238" y="54"/>
                    <a:pt x="185" y="0"/>
                    <a:pt x="119" y="0"/>
                  </a:cubicBezTo>
                  <a:cubicBezTo>
                    <a:pt x="53" y="0"/>
                    <a:pt x="0" y="54"/>
                    <a:pt x="0" y="119"/>
                  </a:cubicBezTo>
                  <a:cubicBezTo>
                    <a:pt x="0" y="178"/>
                    <a:pt x="43" y="227"/>
                    <a:pt x="99" y="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113">
                <a:solidFill>
                  <a:srgbClr val="646464"/>
                </a:solidFill>
              </a:endParaRPr>
            </a:p>
          </p:txBody>
        </p:sp>
      </p:grpSp>
      <p:grpSp>
        <p:nvGrpSpPr>
          <p:cNvPr id="23" name="Group 4">
            <a:extLst>
              <a:ext uri="{FF2B5EF4-FFF2-40B4-BE49-F238E27FC236}">
                <a16:creationId xmlns:a16="http://schemas.microsoft.com/office/drawing/2014/main" id="{A4671B31-8BCA-4739-BBE1-1BA359F7F375}"/>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3AF76272-DB4C-4FAD-A891-462D340A9AF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6EA1C360-C800-45AF-887C-BF81902BD91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D6620D85-9A7E-44DB-8C85-5C9C10BBB0E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35457041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05286" y="795662"/>
            <a:ext cx="401157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4" dirty="0"/>
          </a:p>
        </p:txBody>
      </p:sp>
      <p:sp>
        <p:nvSpPr>
          <p:cNvPr id="11" name="Title 1"/>
          <p:cNvSpPr>
            <a:spLocks noGrp="1"/>
          </p:cNvSpPr>
          <p:nvPr>
            <p:ph type="ctrTitle"/>
          </p:nvPr>
        </p:nvSpPr>
        <p:spPr>
          <a:xfrm>
            <a:off x="630980" y="1954221"/>
            <a:ext cx="3522187" cy="979702"/>
          </a:xfrm>
        </p:spPr>
        <p:txBody>
          <a:bodyPr/>
          <a:lstStyle>
            <a:lvl1pPr>
              <a:defRPr sz="2441"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630980" y="3046159"/>
            <a:ext cx="3522187" cy="1046323"/>
          </a:xfrm>
        </p:spPr>
        <p:txBody>
          <a:bodyPr/>
          <a:lstStyle>
            <a:lvl1pPr marL="0" indent="0" algn="l">
              <a:spcAft>
                <a:spcPts val="976"/>
              </a:spcAft>
              <a:buNone/>
              <a:defRPr sz="1627">
                <a:solidFill>
                  <a:schemeClr val="bg1"/>
                </a:solidFill>
                <a:latin typeface="EYInterstate Light" panose="02000506000000020004" pitchFamily="2" charset="0"/>
                <a:cs typeface="Arial" pitchFamily="34" charset="0"/>
              </a:defRPr>
            </a:lvl1pPr>
            <a:lvl2pPr marL="0" indent="0" algn="l">
              <a:buNone/>
              <a:defRPr sz="1302" b="1">
                <a:solidFill>
                  <a:srgbClr val="404040"/>
                </a:solidFill>
              </a:defRPr>
            </a:lvl2pPr>
            <a:lvl3pPr marL="743956" indent="0" algn="ctr">
              <a:buNone/>
              <a:defRPr>
                <a:solidFill>
                  <a:schemeClr val="tx1">
                    <a:tint val="75000"/>
                  </a:schemeClr>
                </a:solidFill>
              </a:defRPr>
            </a:lvl3pPr>
            <a:lvl4pPr marL="1115934" indent="0" algn="ctr">
              <a:buNone/>
              <a:defRPr>
                <a:solidFill>
                  <a:schemeClr val="tx1">
                    <a:tint val="75000"/>
                  </a:schemeClr>
                </a:solidFill>
              </a:defRPr>
            </a:lvl4pPr>
            <a:lvl5pPr marL="1487912" indent="0" algn="ctr">
              <a:buNone/>
              <a:defRPr>
                <a:solidFill>
                  <a:schemeClr val="tx1">
                    <a:tint val="75000"/>
                  </a:schemeClr>
                </a:solidFill>
              </a:defRPr>
            </a:lvl5pPr>
            <a:lvl6pPr marL="1859890" indent="0" algn="ctr">
              <a:buNone/>
              <a:defRPr>
                <a:solidFill>
                  <a:schemeClr val="tx1">
                    <a:tint val="75000"/>
                  </a:schemeClr>
                </a:solidFill>
              </a:defRPr>
            </a:lvl6pPr>
            <a:lvl7pPr marL="2231868" indent="0" algn="ctr">
              <a:buNone/>
              <a:defRPr>
                <a:solidFill>
                  <a:schemeClr val="tx1">
                    <a:tint val="75000"/>
                  </a:schemeClr>
                </a:solidFill>
              </a:defRPr>
            </a:lvl7pPr>
            <a:lvl8pPr marL="2603845" indent="0" algn="ctr">
              <a:buNone/>
              <a:defRPr>
                <a:solidFill>
                  <a:schemeClr val="tx1">
                    <a:tint val="75000"/>
                  </a:schemeClr>
                </a:solidFill>
              </a:defRPr>
            </a:lvl8pPr>
            <a:lvl9pPr marL="2975823"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8433193" y="4960938"/>
            <a:ext cx="997155"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253" y="294200"/>
            <a:ext cx="8932545" cy="590400"/>
          </a:xfrm>
        </p:spPr>
        <p:txBody>
          <a:bodyPr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23" name="Group 4">
            <a:extLst>
              <a:ext uri="{FF2B5EF4-FFF2-40B4-BE49-F238E27FC236}">
                <a16:creationId xmlns:a16="http://schemas.microsoft.com/office/drawing/2014/main" id="{85F74637-FC60-4DBC-A440-AEE4EA0AE8A8}"/>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C3BA7887-7A0F-49EE-92C8-C72DBEA78B3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40935CE8-0245-47A1-BE67-388FB247FE8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7D48A5F6-6C6E-4DFC-9C75-AF91A0A2475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2796416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216E48-C78E-449A-8220-D7167A7CB4B3}"/>
              </a:ext>
            </a:extLst>
          </p:cNvPr>
          <p:cNvGraphicFramePr>
            <a:graphicFrameLocks noChangeAspect="1"/>
          </p:cNvGraphicFramePr>
          <p:nvPr userDrawn="1">
            <p:custDataLst>
              <p:tags r:id="rId1"/>
            </p:custDataLst>
            <p:extLst>
              <p:ext uri="{D42A27DB-BD31-4B8C-83A1-F6EECF244321}">
                <p14:modId xmlns:p14="http://schemas.microsoft.com/office/powerpoint/2010/main" val="263087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247" imgH="248" progId="TCLayout.ActiveDocument.1">
                  <p:embed/>
                </p:oleObj>
              </mc:Choice>
              <mc:Fallback>
                <p:oleObj name="Diapositive think-cell" r:id="rId3" imgW="247" imgH="248" progId="TCLayout.ActiveDocument.1">
                  <p:embed/>
                  <p:pic>
                    <p:nvPicPr>
                      <p:cNvPr id="6" name="Object 5" hidden="1">
                        <a:extLst>
                          <a:ext uri="{FF2B5EF4-FFF2-40B4-BE49-F238E27FC236}">
                            <a16:creationId xmlns:a16="http://schemas.microsoft.com/office/drawing/2014/main" id="{BA216E48-C78E-449A-8220-D7167A7CB4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96253" y="141796"/>
            <a:ext cx="8932545" cy="590400"/>
          </a:xfrm>
        </p:spPr>
        <p:txBody>
          <a:bodyPr vert="horz" anchor="ctr"/>
          <a:lstStyle>
            <a:lvl1pPr>
              <a:defRPr sz="1302" b="1">
                <a:solidFill>
                  <a:schemeClr val="bg1"/>
                </a:solidFill>
                <a:latin typeface="EYInterstate Light" panose="02000506000000020004" pitchFamily="2" charset="0"/>
              </a:defRPr>
            </a:lvl1pPr>
          </a:lstStyle>
          <a:p>
            <a:r>
              <a:rPr lang="en-US" dirty="0"/>
              <a:t>Standard slide</a:t>
            </a:r>
            <a:endParaRPr lang="en-GB"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23" name="Group 4">
            <a:extLst>
              <a:ext uri="{FF2B5EF4-FFF2-40B4-BE49-F238E27FC236}">
                <a16:creationId xmlns:a16="http://schemas.microsoft.com/office/drawing/2014/main" id="{85F74637-FC60-4DBC-A440-AEE4EA0AE8A8}"/>
              </a:ext>
            </a:extLst>
          </p:cNvPr>
          <p:cNvGrpSpPr>
            <a:grpSpLocks/>
          </p:cNvGrpSpPr>
          <p:nvPr userDrawn="1"/>
        </p:nvGrpSpPr>
        <p:grpSpPr bwMode="auto">
          <a:xfrm>
            <a:off x="9473750" y="6396957"/>
            <a:ext cx="246706" cy="252000"/>
            <a:chOff x="7110" y="4004"/>
            <a:chExt cx="191" cy="196"/>
          </a:xfrm>
        </p:grpSpPr>
        <p:sp>
          <p:nvSpPr>
            <p:cNvPr id="24" name="Freeform 5">
              <a:extLst>
                <a:ext uri="{FF2B5EF4-FFF2-40B4-BE49-F238E27FC236}">
                  <a16:creationId xmlns:a16="http://schemas.microsoft.com/office/drawing/2014/main" id="{C3BA7887-7A0F-49EE-92C8-C72DBEA78B3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5" name="Freeform 6">
              <a:extLst>
                <a:ext uri="{FF2B5EF4-FFF2-40B4-BE49-F238E27FC236}">
                  <a16:creationId xmlns:a16="http://schemas.microsoft.com/office/drawing/2014/main" id="{40935CE8-0245-47A1-BE67-388FB247FE8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26" name="Freeform 7">
              <a:extLst>
                <a:ext uri="{FF2B5EF4-FFF2-40B4-BE49-F238E27FC236}">
                  <a16:creationId xmlns:a16="http://schemas.microsoft.com/office/drawing/2014/main" id="{7D48A5F6-6C6E-4DFC-9C75-AF91A0A2475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684442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06B2029-0420-4035-9201-DF65D3957A83}"/>
              </a:ext>
            </a:extLst>
          </p:cNvPr>
          <p:cNvGrpSpPr>
            <a:grpSpLocks noChangeAspect="1"/>
          </p:cNvGrpSpPr>
          <p:nvPr userDrawn="1"/>
        </p:nvGrpSpPr>
        <p:grpSpPr>
          <a:xfrm>
            <a:off x="-524503" y="1041208"/>
            <a:ext cx="4985994" cy="6141437"/>
            <a:chOff x="2210266" y="1633044"/>
            <a:chExt cx="4890398" cy="4901106"/>
          </a:xfrm>
          <a:solidFill>
            <a:schemeClr val="tx1">
              <a:lumMod val="95000"/>
            </a:schemeClr>
          </a:solidFill>
        </p:grpSpPr>
        <p:sp>
          <p:nvSpPr>
            <p:cNvPr id="13" name="Freeform 7">
              <a:extLst>
                <a:ext uri="{FF2B5EF4-FFF2-40B4-BE49-F238E27FC236}">
                  <a16:creationId xmlns:a16="http://schemas.microsoft.com/office/drawing/2014/main" id="{5DA449D4-C46B-4098-B266-A8ACDDBBC737}"/>
                </a:ext>
              </a:extLst>
            </p:cNvPr>
            <p:cNvSpPr>
              <a:spLocks/>
            </p:cNvSpPr>
            <p:nvPr/>
          </p:nvSpPr>
          <p:spPr bwMode="auto">
            <a:xfrm>
              <a:off x="4028730" y="1633044"/>
              <a:ext cx="237346" cy="474692"/>
            </a:xfrm>
            <a:custGeom>
              <a:avLst/>
              <a:gdLst/>
              <a:ahLst/>
              <a:cxnLst>
                <a:cxn ang="0">
                  <a:pos x="18" y="35"/>
                </a:cxn>
                <a:cxn ang="0">
                  <a:pos x="46" y="11"/>
                </a:cxn>
                <a:cxn ang="0">
                  <a:pos x="87" y="2"/>
                </a:cxn>
                <a:cxn ang="0">
                  <a:pos x="131" y="4"/>
                </a:cxn>
                <a:cxn ang="0">
                  <a:pos x="141" y="14"/>
                </a:cxn>
                <a:cxn ang="0">
                  <a:pos x="147" y="41"/>
                </a:cxn>
                <a:cxn ang="0">
                  <a:pos x="154" y="44"/>
                </a:cxn>
                <a:cxn ang="0">
                  <a:pos x="164" y="34"/>
                </a:cxn>
                <a:cxn ang="0">
                  <a:pos x="171" y="21"/>
                </a:cxn>
                <a:cxn ang="0">
                  <a:pos x="192" y="14"/>
                </a:cxn>
                <a:cxn ang="0">
                  <a:pos x="199" y="20"/>
                </a:cxn>
                <a:cxn ang="0">
                  <a:pos x="189" y="43"/>
                </a:cxn>
                <a:cxn ang="0">
                  <a:pos x="166" y="83"/>
                </a:cxn>
                <a:cxn ang="0">
                  <a:pos x="166" y="101"/>
                </a:cxn>
                <a:cxn ang="0">
                  <a:pos x="178" y="125"/>
                </a:cxn>
                <a:cxn ang="0">
                  <a:pos x="192" y="136"/>
                </a:cxn>
                <a:cxn ang="0">
                  <a:pos x="210" y="148"/>
                </a:cxn>
                <a:cxn ang="0">
                  <a:pos x="212" y="164"/>
                </a:cxn>
                <a:cxn ang="0">
                  <a:pos x="208" y="190"/>
                </a:cxn>
                <a:cxn ang="0">
                  <a:pos x="205" y="213"/>
                </a:cxn>
                <a:cxn ang="0">
                  <a:pos x="184" y="222"/>
                </a:cxn>
                <a:cxn ang="0">
                  <a:pos x="168" y="235"/>
                </a:cxn>
                <a:cxn ang="0">
                  <a:pos x="164" y="252"/>
                </a:cxn>
                <a:cxn ang="0">
                  <a:pos x="171" y="266"/>
                </a:cxn>
                <a:cxn ang="0">
                  <a:pos x="261" y="324"/>
                </a:cxn>
                <a:cxn ang="0">
                  <a:pos x="266" y="333"/>
                </a:cxn>
                <a:cxn ang="0">
                  <a:pos x="259" y="344"/>
                </a:cxn>
                <a:cxn ang="0">
                  <a:pos x="233" y="381"/>
                </a:cxn>
                <a:cxn ang="0">
                  <a:pos x="203" y="418"/>
                </a:cxn>
                <a:cxn ang="0">
                  <a:pos x="178" y="434"/>
                </a:cxn>
                <a:cxn ang="0">
                  <a:pos x="166" y="451"/>
                </a:cxn>
                <a:cxn ang="0">
                  <a:pos x="170" y="495"/>
                </a:cxn>
                <a:cxn ang="0">
                  <a:pos x="166" y="506"/>
                </a:cxn>
                <a:cxn ang="0">
                  <a:pos x="127" y="534"/>
                </a:cxn>
                <a:cxn ang="0">
                  <a:pos x="122" y="495"/>
                </a:cxn>
                <a:cxn ang="0">
                  <a:pos x="99" y="434"/>
                </a:cxn>
                <a:cxn ang="0">
                  <a:pos x="71" y="386"/>
                </a:cxn>
                <a:cxn ang="0">
                  <a:pos x="13" y="307"/>
                </a:cxn>
                <a:cxn ang="0">
                  <a:pos x="7" y="293"/>
                </a:cxn>
                <a:cxn ang="0">
                  <a:pos x="0" y="242"/>
                </a:cxn>
                <a:cxn ang="0">
                  <a:pos x="6" y="231"/>
                </a:cxn>
                <a:cxn ang="0">
                  <a:pos x="20" y="224"/>
                </a:cxn>
                <a:cxn ang="0">
                  <a:pos x="43" y="161"/>
                </a:cxn>
                <a:cxn ang="0">
                  <a:pos x="34" y="132"/>
                </a:cxn>
                <a:cxn ang="0">
                  <a:pos x="18" y="97"/>
                </a:cxn>
                <a:cxn ang="0">
                  <a:pos x="2" y="55"/>
                </a:cxn>
              </a:cxnLst>
              <a:rect l="0" t="0" r="r" b="b"/>
              <a:pathLst>
                <a:path w="266" h="534">
                  <a:moveTo>
                    <a:pt x="2" y="55"/>
                  </a:moveTo>
                  <a:lnTo>
                    <a:pt x="2" y="55"/>
                  </a:lnTo>
                  <a:lnTo>
                    <a:pt x="18" y="35"/>
                  </a:lnTo>
                  <a:lnTo>
                    <a:pt x="32" y="20"/>
                  </a:lnTo>
                  <a:lnTo>
                    <a:pt x="39" y="14"/>
                  </a:lnTo>
                  <a:lnTo>
                    <a:pt x="46" y="11"/>
                  </a:lnTo>
                  <a:lnTo>
                    <a:pt x="46" y="11"/>
                  </a:lnTo>
                  <a:lnTo>
                    <a:pt x="62" y="6"/>
                  </a:lnTo>
                  <a:lnTo>
                    <a:pt x="87" y="2"/>
                  </a:lnTo>
                  <a:lnTo>
                    <a:pt x="110" y="0"/>
                  </a:lnTo>
                  <a:lnTo>
                    <a:pt x="122" y="2"/>
                  </a:lnTo>
                  <a:lnTo>
                    <a:pt x="131" y="4"/>
                  </a:lnTo>
                  <a:lnTo>
                    <a:pt x="131" y="4"/>
                  </a:lnTo>
                  <a:lnTo>
                    <a:pt x="138" y="9"/>
                  </a:lnTo>
                  <a:lnTo>
                    <a:pt x="141" y="14"/>
                  </a:lnTo>
                  <a:lnTo>
                    <a:pt x="145" y="21"/>
                  </a:lnTo>
                  <a:lnTo>
                    <a:pt x="145" y="28"/>
                  </a:lnTo>
                  <a:lnTo>
                    <a:pt x="147" y="41"/>
                  </a:lnTo>
                  <a:lnTo>
                    <a:pt x="150" y="44"/>
                  </a:lnTo>
                  <a:lnTo>
                    <a:pt x="154" y="44"/>
                  </a:lnTo>
                  <a:lnTo>
                    <a:pt x="154" y="44"/>
                  </a:lnTo>
                  <a:lnTo>
                    <a:pt x="157" y="43"/>
                  </a:lnTo>
                  <a:lnTo>
                    <a:pt x="161" y="41"/>
                  </a:lnTo>
                  <a:lnTo>
                    <a:pt x="164" y="34"/>
                  </a:lnTo>
                  <a:lnTo>
                    <a:pt x="166" y="27"/>
                  </a:lnTo>
                  <a:lnTo>
                    <a:pt x="168" y="23"/>
                  </a:lnTo>
                  <a:lnTo>
                    <a:pt x="171" y="21"/>
                  </a:lnTo>
                  <a:lnTo>
                    <a:pt x="171" y="21"/>
                  </a:lnTo>
                  <a:lnTo>
                    <a:pt x="182" y="18"/>
                  </a:lnTo>
                  <a:lnTo>
                    <a:pt x="192" y="14"/>
                  </a:lnTo>
                  <a:lnTo>
                    <a:pt x="196" y="14"/>
                  </a:lnTo>
                  <a:lnTo>
                    <a:pt x="199" y="16"/>
                  </a:lnTo>
                  <a:lnTo>
                    <a:pt x="199" y="20"/>
                  </a:lnTo>
                  <a:lnTo>
                    <a:pt x="198" y="27"/>
                  </a:lnTo>
                  <a:lnTo>
                    <a:pt x="198" y="27"/>
                  </a:lnTo>
                  <a:lnTo>
                    <a:pt x="189" y="43"/>
                  </a:lnTo>
                  <a:lnTo>
                    <a:pt x="178" y="60"/>
                  </a:lnTo>
                  <a:lnTo>
                    <a:pt x="168" y="76"/>
                  </a:lnTo>
                  <a:lnTo>
                    <a:pt x="166" y="83"/>
                  </a:lnTo>
                  <a:lnTo>
                    <a:pt x="164" y="88"/>
                  </a:lnTo>
                  <a:lnTo>
                    <a:pt x="164" y="88"/>
                  </a:lnTo>
                  <a:lnTo>
                    <a:pt x="166" y="101"/>
                  </a:lnTo>
                  <a:lnTo>
                    <a:pt x="170" y="113"/>
                  </a:lnTo>
                  <a:lnTo>
                    <a:pt x="173" y="120"/>
                  </a:lnTo>
                  <a:lnTo>
                    <a:pt x="178" y="125"/>
                  </a:lnTo>
                  <a:lnTo>
                    <a:pt x="184" y="131"/>
                  </a:lnTo>
                  <a:lnTo>
                    <a:pt x="192" y="136"/>
                  </a:lnTo>
                  <a:lnTo>
                    <a:pt x="192" y="136"/>
                  </a:lnTo>
                  <a:lnTo>
                    <a:pt x="201" y="139"/>
                  </a:lnTo>
                  <a:lnTo>
                    <a:pt x="206" y="145"/>
                  </a:lnTo>
                  <a:lnTo>
                    <a:pt x="210" y="148"/>
                  </a:lnTo>
                  <a:lnTo>
                    <a:pt x="212" y="154"/>
                  </a:lnTo>
                  <a:lnTo>
                    <a:pt x="212" y="159"/>
                  </a:lnTo>
                  <a:lnTo>
                    <a:pt x="212" y="164"/>
                  </a:lnTo>
                  <a:lnTo>
                    <a:pt x="210" y="176"/>
                  </a:lnTo>
                  <a:lnTo>
                    <a:pt x="210" y="176"/>
                  </a:lnTo>
                  <a:lnTo>
                    <a:pt x="208" y="190"/>
                  </a:lnTo>
                  <a:lnTo>
                    <a:pt x="206" y="201"/>
                  </a:lnTo>
                  <a:lnTo>
                    <a:pt x="206" y="212"/>
                  </a:lnTo>
                  <a:lnTo>
                    <a:pt x="205" y="213"/>
                  </a:lnTo>
                  <a:lnTo>
                    <a:pt x="203" y="215"/>
                  </a:lnTo>
                  <a:lnTo>
                    <a:pt x="203" y="215"/>
                  </a:lnTo>
                  <a:lnTo>
                    <a:pt x="184" y="222"/>
                  </a:lnTo>
                  <a:lnTo>
                    <a:pt x="173" y="227"/>
                  </a:lnTo>
                  <a:lnTo>
                    <a:pt x="170" y="231"/>
                  </a:lnTo>
                  <a:lnTo>
                    <a:pt x="168" y="235"/>
                  </a:lnTo>
                  <a:lnTo>
                    <a:pt x="168" y="235"/>
                  </a:lnTo>
                  <a:lnTo>
                    <a:pt x="166" y="243"/>
                  </a:lnTo>
                  <a:lnTo>
                    <a:pt x="164" y="252"/>
                  </a:lnTo>
                  <a:lnTo>
                    <a:pt x="164" y="257"/>
                  </a:lnTo>
                  <a:lnTo>
                    <a:pt x="166" y="263"/>
                  </a:lnTo>
                  <a:lnTo>
                    <a:pt x="171" y="266"/>
                  </a:lnTo>
                  <a:lnTo>
                    <a:pt x="177" y="272"/>
                  </a:lnTo>
                  <a:lnTo>
                    <a:pt x="177" y="272"/>
                  </a:lnTo>
                  <a:lnTo>
                    <a:pt x="261" y="324"/>
                  </a:lnTo>
                  <a:lnTo>
                    <a:pt x="261" y="324"/>
                  </a:lnTo>
                  <a:lnTo>
                    <a:pt x="265" y="328"/>
                  </a:lnTo>
                  <a:lnTo>
                    <a:pt x="266" y="333"/>
                  </a:lnTo>
                  <a:lnTo>
                    <a:pt x="265" y="338"/>
                  </a:lnTo>
                  <a:lnTo>
                    <a:pt x="259" y="344"/>
                  </a:lnTo>
                  <a:lnTo>
                    <a:pt x="259" y="344"/>
                  </a:lnTo>
                  <a:lnTo>
                    <a:pt x="254" y="349"/>
                  </a:lnTo>
                  <a:lnTo>
                    <a:pt x="249" y="358"/>
                  </a:lnTo>
                  <a:lnTo>
                    <a:pt x="233" y="381"/>
                  </a:lnTo>
                  <a:lnTo>
                    <a:pt x="217" y="404"/>
                  </a:lnTo>
                  <a:lnTo>
                    <a:pt x="210" y="412"/>
                  </a:lnTo>
                  <a:lnTo>
                    <a:pt x="203" y="418"/>
                  </a:lnTo>
                  <a:lnTo>
                    <a:pt x="203" y="418"/>
                  </a:lnTo>
                  <a:lnTo>
                    <a:pt x="191" y="425"/>
                  </a:lnTo>
                  <a:lnTo>
                    <a:pt x="178" y="434"/>
                  </a:lnTo>
                  <a:lnTo>
                    <a:pt x="170" y="442"/>
                  </a:lnTo>
                  <a:lnTo>
                    <a:pt x="168" y="448"/>
                  </a:lnTo>
                  <a:lnTo>
                    <a:pt x="166" y="451"/>
                  </a:lnTo>
                  <a:lnTo>
                    <a:pt x="166" y="451"/>
                  </a:lnTo>
                  <a:lnTo>
                    <a:pt x="170" y="479"/>
                  </a:lnTo>
                  <a:lnTo>
                    <a:pt x="170" y="495"/>
                  </a:lnTo>
                  <a:lnTo>
                    <a:pt x="168" y="502"/>
                  </a:lnTo>
                  <a:lnTo>
                    <a:pt x="166" y="506"/>
                  </a:lnTo>
                  <a:lnTo>
                    <a:pt x="166" y="506"/>
                  </a:lnTo>
                  <a:lnTo>
                    <a:pt x="145" y="522"/>
                  </a:lnTo>
                  <a:lnTo>
                    <a:pt x="127" y="534"/>
                  </a:lnTo>
                  <a:lnTo>
                    <a:pt x="127" y="534"/>
                  </a:lnTo>
                  <a:lnTo>
                    <a:pt x="125" y="522"/>
                  </a:lnTo>
                  <a:lnTo>
                    <a:pt x="122" y="495"/>
                  </a:lnTo>
                  <a:lnTo>
                    <a:pt x="122" y="495"/>
                  </a:lnTo>
                  <a:lnTo>
                    <a:pt x="117" y="478"/>
                  </a:lnTo>
                  <a:lnTo>
                    <a:pt x="110" y="455"/>
                  </a:lnTo>
                  <a:lnTo>
                    <a:pt x="99" y="434"/>
                  </a:lnTo>
                  <a:lnTo>
                    <a:pt x="92" y="418"/>
                  </a:lnTo>
                  <a:lnTo>
                    <a:pt x="92" y="418"/>
                  </a:lnTo>
                  <a:lnTo>
                    <a:pt x="71" y="386"/>
                  </a:lnTo>
                  <a:lnTo>
                    <a:pt x="46" y="353"/>
                  </a:lnTo>
                  <a:lnTo>
                    <a:pt x="46" y="353"/>
                  </a:lnTo>
                  <a:lnTo>
                    <a:pt x="13" y="307"/>
                  </a:lnTo>
                  <a:lnTo>
                    <a:pt x="13" y="307"/>
                  </a:lnTo>
                  <a:lnTo>
                    <a:pt x="9" y="301"/>
                  </a:lnTo>
                  <a:lnTo>
                    <a:pt x="7" y="293"/>
                  </a:lnTo>
                  <a:lnTo>
                    <a:pt x="2" y="272"/>
                  </a:lnTo>
                  <a:lnTo>
                    <a:pt x="0" y="250"/>
                  </a:lnTo>
                  <a:lnTo>
                    <a:pt x="0" y="242"/>
                  </a:lnTo>
                  <a:lnTo>
                    <a:pt x="0" y="236"/>
                  </a:lnTo>
                  <a:lnTo>
                    <a:pt x="0" y="236"/>
                  </a:lnTo>
                  <a:lnTo>
                    <a:pt x="6" y="231"/>
                  </a:lnTo>
                  <a:lnTo>
                    <a:pt x="11" y="227"/>
                  </a:lnTo>
                  <a:lnTo>
                    <a:pt x="20" y="224"/>
                  </a:lnTo>
                  <a:lnTo>
                    <a:pt x="20" y="224"/>
                  </a:lnTo>
                  <a:lnTo>
                    <a:pt x="32" y="194"/>
                  </a:lnTo>
                  <a:lnTo>
                    <a:pt x="39" y="173"/>
                  </a:lnTo>
                  <a:lnTo>
                    <a:pt x="43" y="161"/>
                  </a:lnTo>
                  <a:lnTo>
                    <a:pt x="43" y="161"/>
                  </a:lnTo>
                  <a:lnTo>
                    <a:pt x="41" y="150"/>
                  </a:lnTo>
                  <a:lnTo>
                    <a:pt x="34" y="132"/>
                  </a:lnTo>
                  <a:lnTo>
                    <a:pt x="27" y="113"/>
                  </a:lnTo>
                  <a:lnTo>
                    <a:pt x="18" y="97"/>
                  </a:lnTo>
                  <a:lnTo>
                    <a:pt x="18" y="97"/>
                  </a:lnTo>
                  <a:lnTo>
                    <a:pt x="11" y="83"/>
                  </a:lnTo>
                  <a:lnTo>
                    <a:pt x="6" y="71"/>
                  </a:lnTo>
                  <a:lnTo>
                    <a:pt x="2" y="55"/>
                  </a:lnTo>
                  <a:lnTo>
                    <a:pt x="2" y="5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 name="Freeform 8">
              <a:extLst>
                <a:ext uri="{FF2B5EF4-FFF2-40B4-BE49-F238E27FC236}">
                  <a16:creationId xmlns:a16="http://schemas.microsoft.com/office/drawing/2014/main" id="{9F4E48E5-0E8C-462A-84E7-B398F220A4BB}"/>
                </a:ext>
              </a:extLst>
            </p:cNvPr>
            <p:cNvSpPr>
              <a:spLocks/>
            </p:cNvSpPr>
            <p:nvPr/>
          </p:nvSpPr>
          <p:spPr bwMode="auto">
            <a:xfrm>
              <a:off x="4141157" y="1922142"/>
              <a:ext cx="947599" cy="883356"/>
            </a:xfrm>
            <a:custGeom>
              <a:avLst/>
              <a:gdLst/>
              <a:ahLst/>
              <a:cxnLst>
                <a:cxn ang="0">
                  <a:pos x="1027" y="94"/>
                </a:cxn>
                <a:cxn ang="0">
                  <a:pos x="985" y="69"/>
                </a:cxn>
                <a:cxn ang="0">
                  <a:pos x="941" y="73"/>
                </a:cxn>
                <a:cxn ang="0">
                  <a:pos x="898" y="73"/>
                </a:cxn>
                <a:cxn ang="0">
                  <a:pos x="891" y="57"/>
                </a:cxn>
                <a:cxn ang="0">
                  <a:pos x="881" y="29"/>
                </a:cxn>
                <a:cxn ang="0">
                  <a:pos x="846" y="11"/>
                </a:cxn>
                <a:cxn ang="0">
                  <a:pos x="789" y="14"/>
                </a:cxn>
                <a:cxn ang="0">
                  <a:pos x="708" y="34"/>
                </a:cxn>
                <a:cxn ang="0">
                  <a:pos x="698" y="44"/>
                </a:cxn>
                <a:cxn ang="0">
                  <a:pos x="675" y="97"/>
                </a:cxn>
                <a:cxn ang="0">
                  <a:pos x="671" y="134"/>
                </a:cxn>
                <a:cxn ang="0">
                  <a:pos x="655" y="169"/>
                </a:cxn>
                <a:cxn ang="0">
                  <a:pos x="627" y="201"/>
                </a:cxn>
                <a:cxn ang="0">
                  <a:pos x="610" y="212"/>
                </a:cxn>
                <a:cxn ang="0">
                  <a:pos x="558" y="176"/>
                </a:cxn>
                <a:cxn ang="0">
                  <a:pos x="506" y="155"/>
                </a:cxn>
                <a:cxn ang="0">
                  <a:pos x="411" y="140"/>
                </a:cxn>
                <a:cxn ang="0">
                  <a:pos x="389" y="118"/>
                </a:cxn>
                <a:cxn ang="0">
                  <a:pos x="379" y="73"/>
                </a:cxn>
                <a:cxn ang="0">
                  <a:pos x="363" y="50"/>
                </a:cxn>
                <a:cxn ang="0">
                  <a:pos x="287" y="25"/>
                </a:cxn>
                <a:cxn ang="0">
                  <a:pos x="134" y="0"/>
                </a:cxn>
                <a:cxn ang="0">
                  <a:pos x="139" y="11"/>
                </a:cxn>
                <a:cxn ang="0">
                  <a:pos x="125" y="25"/>
                </a:cxn>
                <a:cxn ang="0">
                  <a:pos x="104" y="60"/>
                </a:cxn>
                <a:cxn ang="0">
                  <a:pos x="83" y="90"/>
                </a:cxn>
                <a:cxn ang="0">
                  <a:pos x="67" y="97"/>
                </a:cxn>
                <a:cxn ang="0">
                  <a:pos x="43" y="118"/>
                </a:cxn>
                <a:cxn ang="0">
                  <a:pos x="43" y="168"/>
                </a:cxn>
                <a:cxn ang="0">
                  <a:pos x="18" y="198"/>
                </a:cxn>
                <a:cxn ang="0">
                  <a:pos x="14" y="316"/>
                </a:cxn>
                <a:cxn ang="0">
                  <a:pos x="18" y="388"/>
                </a:cxn>
                <a:cxn ang="0">
                  <a:pos x="23" y="478"/>
                </a:cxn>
                <a:cxn ang="0">
                  <a:pos x="21" y="516"/>
                </a:cxn>
                <a:cxn ang="0">
                  <a:pos x="20" y="545"/>
                </a:cxn>
                <a:cxn ang="0">
                  <a:pos x="46" y="587"/>
                </a:cxn>
                <a:cxn ang="0">
                  <a:pos x="64" y="634"/>
                </a:cxn>
                <a:cxn ang="0">
                  <a:pos x="87" y="652"/>
                </a:cxn>
                <a:cxn ang="0">
                  <a:pos x="141" y="678"/>
                </a:cxn>
                <a:cxn ang="0">
                  <a:pos x="157" y="698"/>
                </a:cxn>
                <a:cxn ang="0">
                  <a:pos x="169" y="723"/>
                </a:cxn>
                <a:cxn ang="0">
                  <a:pos x="206" y="726"/>
                </a:cxn>
                <a:cxn ang="0">
                  <a:pos x="280" y="735"/>
                </a:cxn>
                <a:cxn ang="0">
                  <a:pos x="301" y="756"/>
                </a:cxn>
                <a:cxn ang="0">
                  <a:pos x="330" y="796"/>
                </a:cxn>
                <a:cxn ang="0">
                  <a:pos x="374" y="789"/>
                </a:cxn>
                <a:cxn ang="0">
                  <a:pos x="411" y="770"/>
                </a:cxn>
                <a:cxn ang="0">
                  <a:pos x="455" y="745"/>
                </a:cxn>
                <a:cxn ang="0">
                  <a:pos x="488" y="751"/>
                </a:cxn>
                <a:cxn ang="0">
                  <a:pos x="839" y="923"/>
                </a:cxn>
                <a:cxn ang="0">
                  <a:pos x="986" y="988"/>
                </a:cxn>
                <a:cxn ang="0">
                  <a:pos x="1016" y="983"/>
                </a:cxn>
                <a:cxn ang="0">
                  <a:pos x="1050" y="976"/>
                </a:cxn>
                <a:cxn ang="0">
                  <a:pos x="1062" y="959"/>
                </a:cxn>
                <a:cxn ang="0">
                  <a:pos x="1027" y="99"/>
                </a:cxn>
              </a:cxnLst>
              <a:rect l="0" t="0" r="r" b="b"/>
              <a:pathLst>
                <a:path w="1062" h="990">
                  <a:moveTo>
                    <a:pt x="1027" y="99"/>
                  </a:moveTo>
                  <a:lnTo>
                    <a:pt x="1027" y="99"/>
                  </a:lnTo>
                  <a:lnTo>
                    <a:pt x="1029" y="99"/>
                  </a:lnTo>
                  <a:lnTo>
                    <a:pt x="1027" y="94"/>
                  </a:lnTo>
                  <a:lnTo>
                    <a:pt x="1018" y="85"/>
                  </a:lnTo>
                  <a:lnTo>
                    <a:pt x="997" y="74"/>
                  </a:lnTo>
                  <a:lnTo>
                    <a:pt x="997" y="74"/>
                  </a:lnTo>
                  <a:lnTo>
                    <a:pt x="985" y="69"/>
                  </a:lnTo>
                  <a:lnTo>
                    <a:pt x="974" y="66"/>
                  </a:lnTo>
                  <a:lnTo>
                    <a:pt x="965" y="66"/>
                  </a:lnTo>
                  <a:lnTo>
                    <a:pt x="956" y="67"/>
                  </a:lnTo>
                  <a:lnTo>
                    <a:pt x="941" y="73"/>
                  </a:lnTo>
                  <a:lnTo>
                    <a:pt x="930" y="74"/>
                  </a:lnTo>
                  <a:lnTo>
                    <a:pt x="918" y="74"/>
                  </a:lnTo>
                  <a:lnTo>
                    <a:pt x="918" y="74"/>
                  </a:lnTo>
                  <a:lnTo>
                    <a:pt x="898" y="73"/>
                  </a:lnTo>
                  <a:lnTo>
                    <a:pt x="893" y="71"/>
                  </a:lnTo>
                  <a:lnTo>
                    <a:pt x="891" y="69"/>
                  </a:lnTo>
                  <a:lnTo>
                    <a:pt x="891" y="62"/>
                  </a:lnTo>
                  <a:lnTo>
                    <a:pt x="891" y="57"/>
                  </a:lnTo>
                  <a:lnTo>
                    <a:pt x="890" y="50"/>
                  </a:lnTo>
                  <a:lnTo>
                    <a:pt x="890" y="50"/>
                  </a:lnTo>
                  <a:lnTo>
                    <a:pt x="884" y="36"/>
                  </a:lnTo>
                  <a:lnTo>
                    <a:pt x="881" y="29"/>
                  </a:lnTo>
                  <a:lnTo>
                    <a:pt x="875" y="23"/>
                  </a:lnTo>
                  <a:lnTo>
                    <a:pt x="868" y="16"/>
                  </a:lnTo>
                  <a:lnTo>
                    <a:pt x="858" y="13"/>
                  </a:lnTo>
                  <a:lnTo>
                    <a:pt x="846" y="11"/>
                  </a:lnTo>
                  <a:lnTo>
                    <a:pt x="828" y="11"/>
                  </a:lnTo>
                  <a:lnTo>
                    <a:pt x="828" y="11"/>
                  </a:lnTo>
                  <a:lnTo>
                    <a:pt x="809" y="13"/>
                  </a:lnTo>
                  <a:lnTo>
                    <a:pt x="789" y="14"/>
                  </a:lnTo>
                  <a:lnTo>
                    <a:pt x="752" y="21"/>
                  </a:lnTo>
                  <a:lnTo>
                    <a:pt x="722" y="29"/>
                  </a:lnTo>
                  <a:lnTo>
                    <a:pt x="708" y="34"/>
                  </a:lnTo>
                  <a:lnTo>
                    <a:pt x="708" y="34"/>
                  </a:lnTo>
                  <a:lnTo>
                    <a:pt x="701" y="39"/>
                  </a:lnTo>
                  <a:lnTo>
                    <a:pt x="701" y="39"/>
                  </a:lnTo>
                  <a:lnTo>
                    <a:pt x="701" y="39"/>
                  </a:lnTo>
                  <a:lnTo>
                    <a:pt x="698" y="44"/>
                  </a:lnTo>
                  <a:lnTo>
                    <a:pt x="687" y="62"/>
                  </a:lnTo>
                  <a:lnTo>
                    <a:pt x="682" y="73"/>
                  </a:lnTo>
                  <a:lnTo>
                    <a:pt x="678" y="85"/>
                  </a:lnTo>
                  <a:lnTo>
                    <a:pt x="675" y="97"/>
                  </a:lnTo>
                  <a:lnTo>
                    <a:pt x="673" y="111"/>
                  </a:lnTo>
                  <a:lnTo>
                    <a:pt x="673" y="111"/>
                  </a:lnTo>
                  <a:lnTo>
                    <a:pt x="673" y="124"/>
                  </a:lnTo>
                  <a:lnTo>
                    <a:pt x="671" y="134"/>
                  </a:lnTo>
                  <a:lnTo>
                    <a:pt x="669" y="145"/>
                  </a:lnTo>
                  <a:lnTo>
                    <a:pt x="666" y="154"/>
                  </a:lnTo>
                  <a:lnTo>
                    <a:pt x="661" y="162"/>
                  </a:lnTo>
                  <a:lnTo>
                    <a:pt x="655" y="169"/>
                  </a:lnTo>
                  <a:lnTo>
                    <a:pt x="640" y="187"/>
                  </a:lnTo>
                  <a:lnTo>
                    <a:pt x="640" y="187"/>
                  </a:lnTo>
                  <a:lnTo>
                    <a:pt x="632" y="194"/>
                  </a:lnTo>
                  <a:lnTo>
                    <a:pt x="627" y="201"/>
                  </a:lnTo>
                  <a:lnTo>
                    <a:pt x="620" y="212"/>
                  </a:lnTo>
                  <a:lnTo>
                    <a:pt x="618" y="213"/>
                  </a:lnTo>
                  <a:lnTo>
                    <a:pt x="615" y="215"/>
                  </a:lnTo>
                  <a:lnTo>
                    <a:pt x="610" y="212"/>
                  </a:lnTo>
                  <a:lnTo>
                    <a:pt x="603" y="208"/>
                  </a:lnTo>
                  <a:lnTo>
                    <a:pt x="603" y="208"/>
                  </a:lnTo>
                  <a:lnTo>
                    <a:pt x="574" y="187"/>
                  </a:lnTo>
                  <a:lnTo>
                    <a:pt x="558" y="176"/>
                  </a:lnTo>
                  <a:lnTo>
                    <a:pt x="537" y="166"/>
                  </a:lnTo>
                  <a:lnTo>
                    <a:pt x="537" y="166"/>
                  </a:lnTo>
                  <a:lnTo>
                    <a:pt x="522" y="159"/>
                  </a:lnTo>
                  <a:lnTo>
                    <a:pt x="506" y="155"/>
                  </a:lnTo>
                  <a:lnTo>
                    <a:pt x="470" y="148"/>
                  </a:lnTo>
                  <a:lnTo>
                    <a:pt x="419" y="141"/>
                  </a:lnTo>
                  <a:lnTo>
                    <a:pt x="419" y="141"/>
                  </a:lnTo>
                  <a:lnTo>
                    <a:pt x="411" y="140"/>
                  </a:lnTo>
                  <a:lnTo>
                    <a:pt x="402" y="134"/>
                  </a:lnTo>
                  <a:lnTo>
                    <a:pt x="396" y="127"/>
                  </a:lnTo>
                  <a:lnTo>
                    <a:pt x="389" y="118"/>
                  </a:lnTo>
                  <a:lnTo>
                    <a:pt x="389" y="118"/>
                  </a:lnTo>
                  <a:lnTo>
                    <a:pt x="386" y="111"/>
                  </a:lnTo>
                  <a:lnTo>
                    <a:pt x="384" y="104"/>
                  </a:lnTo>
                  <a:lnTo>
                    <a:pt x="381" y="83"/>
                  </a:lnTo>
                  <a:lnTo>
                    <a:pt x="379" y="73"/>
                  </a:lnTo>
                  <a:lnTo>
                    <a:pt x="375" y="64"/>
                  </a:lnTo>
                  <a:lnTo>
                    <a:pt x="370" y="57"/>
                  </a:lnTo>
                  <a:lnTo>
                    <a:pt x="363" y="50"/>
                  </a:lnTo>
                  <a:lnTo>
                    <a:pt x="363" y="50"/>
                  </a:lnTo>
                  <a:lnTo>
                    <a:pt x="347" y="41"/>
                  </a:lnTo>
                  <a:lnTo>
                    <a:pt x="330" y="34"/>
                  </a:lnTo>
                  <a:lnTo>
                    <a:pt x="310" y="29"/>
                  </a:lnTo>
                  <a:lnTo>
                    <a:pt x="287" y="25"/>
                  </a:lnTo>
                  <a:lnTo>
                    <a:pt x="287" y="25"/>
                  </a:lnTo>
                  <a:lnTo>
                    <a:pt x="192" y="18"/>
                  </a:lnTo>
                  <a:lnTo>
                    <a:pt x="171" y="18"/>
                  </a:lnTo>
                  <a:lnTo>
                    <a:pt x="134" y="0"/>
                  </a:lnTo>
                  <a:lnTo>
                    <a:pt x="134" y="0"/>
                  </a:lnTo>
                  <a:lnTo>
                    <a:pt x="138" y="4"/>
                  </a:lnTo>
                  <a:lnTo>
                    <a:pt x="141" y="7"/>
                  </a:lnTo>
                  <a:lnTo>
                    <a:pt x="139" y="11"/>
                  </a:lnTo>
                  <a:lnTo>
                    <a:pt x="139" y="11"/>
                  </a:lnTo>
                  <a:lnTo>
                    <a:pt x="136" y="16"/>
                  </a:lnTo>
                  <a:lnTo>
                    <a:pt x="132" y="20"/>
                  </a:lnTo>
                  <a:lnTo>
                    <a:pt x="125" y="25"/>
                  </a:lnTo>
                  <a:lnTo>
                    <a:pt x="122" y="34"/>
                  </a:lnTo>
                  <a:lnTo>
                    <a:pt x="122" y="34"/>
                  </a:lnTo>
                  <a:lnTo>
                    <a:pt x="115" y="46"/>
                  </a:lnTo>
                  <a:lnTo>
                    <a:pt x="104" y="60"/>
                  </a:lnTo>
                  <a:lnTo>
                    <a:pt x="94" y="76"/>
                  </a:lnTo>
                  <a:lnTo>
                    <a:pt x="94" y="76"/>
                  </a:lnTo>
                  <a:lnTo>
                    <a:pt x="88" y="85"/>
                  </a:lnTo>
                  <a:lnTo>
                    <a:pt x="83" y="90"/>
                  </a:lnTo>
                  <a:lnTo>
                    <a:pt x="79" y="92"/>
                  </a:lnTo>
                  <a:lnTo>
                    <a:pt x="76" y="94"/>
                  </a:lnTo>
                  <a:lnTo>
                    <a:pt x="76" y="94"/>
                  </a:lnTo>
                  <a:lnTo>
                    <a:pt x="67" y="97"/>
                  </a:lnTo>
                  <a:lnTo>
                    <a:pt x="58" y="103"/>
                  </a:lnTo>
                  <a:lnTo>
                    <a:pt x="44" y="115"/>
                  </a:lnTo>
                  <a:lnTo>
                    <a:pt x="44" y="115"/>
                  </a:lnTo>
                  <a:lnTo>
                    <a:pt x="43" y="118"/>
                  </a:lnTo>
                  <a:lnTo>
                    <a:pt x="41" y="122"/>
                  </a:lnTo>
                  <a:lnTo>
                    <a:pt x="41" y="141"/>
                  </a:lnTo>
                  <a:lnTo>
                    <a:pt x="41" y="141"/>
                  </a:lnTo>
                  <a:lnTo>
                    <a:pt x="43" y="168"/>
                  </a:lnTo>
                  <a:lnTo>
                    <a:pt x="41" y="176"/>
                  </a:lnTo>
                  <a:lnTo>
                    <a:pt x="39" y="182"/>
                  </a:lnTo>
                  <a:lnTo>
                    <a:pt x="39" y="182"/>
                  </a:lnTo>
                  <a:lnTo>
                    <a:pt x="18" y="198"/>
                  </a:lnTo>
                  <a:lnTo>
                    <a:pt x="0" y="210"/>
                  </a:lnTo>
                  <a:lnTo>
                    <a:pt x="0" y="210"/>
                  </a:lnTo>
                  <a:lnTo>
                    <a:pt x="9" y="268"/>
                  </a:lnTo>
                  <a:lnTo>
                    <a:pt x="14" y="316"/>
                  </a:lnTo>
                  <a:lnTo>
                    <a:pt x="16" y="337"/>
                  </a:lnTo>
                  <a:lnTo>
                    <a:pt x="16" y="356"/>
                  </a:lnTo>
                  <a:lnTo>
                    <a:pt x="16" y="356"/>
                  </a:lnTo>
                  <a:lnTo>
                    <a:pt x="18" y="388"/>
                  </a:lnTo>
                  <a:lnTo>
                    <a:pt x="21" y="423"/>
                  </a:lnTo>
                  <a:lnTo>
                    <a:pt x="23" y="455"/>
                  </a:lnTo>
                  <a:lnTo>
                    <a:pt x="25" y="467"/>
                  </a:lnTo>
                  <a:lnTo>
                    <a:pt x="23" y="478"/>
                  </a:lnTo>
                  <a:lnTo>
                    <a:pt x="23" y="478"/>
                  </a:lnTo>
                  <a:lnTo>
                    <a:pt x="23" y="494"/>
                  </a:lnTo>
                  <a:lnTo>
                    <a:pt x="23" y="506"/>
                  </a:lnTo>
                  <a:lnTo>
                    <a:pt x="21" y="516"/>
                  </a:lnTo>
                  <a:lnTo>
                    <a:pt x="20" y="531"/>
                  </a:lnTo>
                  <a:lnTo>
                    <a:pt x="20" y="531"/>
                  </a:lnTo>
                  <a:lnTo>
                    <a:pt x="18" y="538"/>
                  </a:lnTo>
                  <a:lnTo>
                    <a:pt x="20" y="545"/>
                  </a:lnTo>
                  <a:lnTo>
                    <a:pt x="23" y="552"/>
                  </a:lnTo>
                  <a:lnTo>
                    <a:pt x="27" y="560"/>
                  </a:lnTo>
                  <a:lnTo>
                    <a:pt x="39" y="578"/>
                  </a:lnTo>
                  <a:lnTo>
                    <a:pt x="46" y="587"/>
                  </a:lnTo>
                  <a:lnTo>
                    <a:pt x="51" y="599"/>
                  </a:lnTo>
                  <a:lnTo>
                    <a:pt x="51" y="599"/>
                  </a:lnTo>
                  <a:lnTo>
                    <a:pt x="58" y="619"/>
                  </a:lnTo>
                  <a:lnTo>
                    <a:pt x="64" y="634"/>
                  </a:lnTo>
                  <a:lnTo>
                    <a:pt x="67" y="641"/>
                  </a:lnTo>
                  <a:lnTo>
                    <a:pt x="71" y="645"/>
                  </a:lnTo>
                  <a:lnTo>
                    <a:pt x="78" y="650"/>
                  </a:lnTo>
                  <a:lnTo>
                    <a:pt x="87" y="652"/>
                  </a:lnTo>
                  <a:lnTo>
                    <a:pt x="87" y="652"/>
                  </a:lnTo>
                  <a:lnTo>
                    <a:pt x="108" y="661"/>
                  </a:lnTo>
                  <a:lnTo>
                    <a:pt x="131" y="671"/>
                  </a:lnTo>
                  <a:lnTo>
                    <a:pt x="141" y="678"/>
                  </a:lnTo>
                  <a:lnTo>
                    <a:pt x="148" y="684"/>
                  </a:lnTo>
                  <a:lnTo>
                    <a:pt x="155" y="691"/>
                  </a:lnTo>
                  <a:lnTo>
                    <a:pt x="157" y="698"/>
                  </a:lnTo>
                  <a:lnTo>
                    <a:pt x="157" y="698"/>
                  </a:lnTo>
                  <a:lnTo>
                    <a:pt x="159" y="708"/>
                  </a:lnTo>
                  <a:lnTo>
                    <a:pt x="162" y="717"/>
                  </a:lnTo>
                  <a:lnTo>
                    <a:pt x="166" y="721"/>
                  </a:lnTo>
                  <a:lnTo>
                    <a:pt x="169" y="723"/>
                  </a:lnTo>
                  <a:lnTo>
                    <a:pt x="176" y="724"/>
                  </a:lnTo>
                  <a:lnTo>
                    <a:pt x="183" y="726"/>
                  </a:lnTo>
                  <a:lnTo>
                    <a:pt x="183" y="726"/>
                  </a:lnTo>
                  <a:lnTo>
                    <a:pt x="206" y="726"/>
                  </a:lnTo>
                  <a:lnTo>
                    <a:pt x="238" y="728"/>
                  </a:lnTo>
                  <a:lnTo>
                    <a:pt x="254" y="728"/>
                  </a:lnTo>
                  <a:lnTo>
                    <a:pt x="268" y="731"/>
                  </a:lnTo>
                  <a:lnTo>
                    <a:pt x="280" y="735"/>
                  </a:lnTo>
                  <a:lnTo>
                    <a:pt x="289" y="740"/>
                  </a:lnTo>
                  <a:lnTo>
                    <a:pt x="289" y="740"/>
                  </a:lnTo>
                  <a:lnTo>
                    <a:pt x="296" y="747"/>
                  </a:lnTo>
                  <a:lnTo>
                    <a:pt x="301" y="756"/>
                  </a:lnTo>
                  <a:lnTo>
                    <a:pt x="310" y="774"/>
                  </a:lnTo>
                  <a:lnTo>
                    <a:pt x="319" y="789"/>
                  </a:lnTo>
                  <a:lnTo>
                    <a:pt x="324" y="795"/>
                  </a:lnTo>
                  <a:lnTo>
                    <a:pt x="330" y="796"/>
                  </a:lnTo>
                  <a:lnTo>
                    <a:pt x="330" y="796"/>
                  </a:lnTo>
                  <a:lnTo>
                    <a:pt x="342" y="798"/>
                  </a:lnTo>
                  <a:lnTo>
                    <a:pt x="356" y="795"/>
                  </a:lnTo>
                  <a:lnTo>
                    <a:pt x="374" y="789"/>
                  </a:lnTo>
                  <a:lnTo>
                    <a:pt x="391" y="782"/>
                  </a:lnTo>
                  <a:lnTo>
                    <a:pt x="391" y="782"/>
                  </a:lnTo>
                  <a:lnTo>
                    <a:pt x="400" y="777"/>
                  </a:lnTo>
                  <a:lnTo>
                    <a:pt x="411" y="770"/>
                  </a:lnTo>
                  <a:lnTo>
                    <a:pt x="419" y="761"/>
                  </a:lnTo>
                  <a:lnTo>
                    <a:pt x="430" y="754"/>
                  </a:lnTo>
                  <a:lnTo>
                    <a:pt x="442" y="749"/>
                  </a:lnTo>
                  <a:lnTo>
                    <a:pt x="455" y="745"/>
                  </a:lnTo>
                  <a:lnTo>
                    <a:pt x="462" y="744"/>
                  </a:lnTo>
                  <a:lnTo>
                    <a:pt x="470" y="745"/>
                  </a:lnTo>
                  <a:lnTo>
                    <a:pt x="477" y="747"/>
                  </a:lnTo>
                  <a:lnTo>
                    <a:pt x="488" y="751"/>
                  </a:lnTo>
                  <a:lnTo>
                    <a:pt x="488" y="751"/>
                  </a:lnTo>
                  <a:lnTo>
                    <a:pt x="564" y="786"/>
                  </a:lnTo>
                  <a:lnTo>
                    <a:pt x="682" y="844"/>
                  </a:lnTo>
                  <a:lnTo>
                    <a:pt x="839" y="923"/>
                  </a:lnTo>
                  <a:lnTo>
                    <a:pt x="839" y="923"/>
                  </a:lnTo>
                  <a:lnTo>
                    <a:pt x="912" y="959"/>
                  </a:lnTo>
                  <a:lnTo>
                    <a:pt x="967" y="981"/>
                  </a:lnTo>
                  <a:lnTo>
                    <a:pt x="986" y="988"/>
                  </a:lnTo>
                  <a:lnTo>
                    <a:pt x="993" y="990"/>
                  </a:lnTo>
                  <a:lnTo>
                    <a:pt x="997" y="990"/>
                  </a:lnTo>
                  <a:lnTo>
                    <a:pt x="997" y="990"/>
                  </a:lnTo>
                  <a:lnTo>
                    <a:pt x="1016" y="983"/>
                  </a:lnTo>
                  <a:lnTo>
                    <a:pt x="1030" y="980"/>
                  </a:lnTo>
                  <a:lnTo>
                    <a:pt x="1030" y="980"/>
                  </a:lnTo>
                  <a:lnTo>
                    <a:pt x="1039" y="980"/>
                  </a:lnTo>
                  <a:lnTo>
                    <a:pt x="1050" y="976"/>
                  </a:lnTo>
                  <a:lnTo>
                    <a:pt x="1055" y="973"/>
                  </a:lnTo>
                  <a:lnTo>
                    <a:pt x="1059" y="969"/>
                  </a:lnTo>
                  <a:lnTo>
                    <a:pt x="1060" y="964"/>
                  </a:lnTo>
                  <a:lnTo>
                    <a:pt x="1062" y="959"/>
                  </a:lnTo>
                  <a:lnTo>
                    <a:pt x="1062" y="959"/>
                  </a:lnTo>
                  <a:lnTo>
                    <a:pt x="1046" y="592"/>
                  </a:lnTo>
                  <a:lnTo>
                    <a:pt x="1032" y="242"/>
                  </a:lnTo>
                  <a:lnTo>
                    <a:pt x="1027" y="9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5" name="Freeform 9">
              <a:extLst>
                <a:ext uri="{FF2B5EF4-FFF2-40B4-BE49-F238E27FC236}">
                  <a16:creationId xmlns:a16="http://schemas.microsoft.com/office/drawing/2014/main" id="{64EAAC21-9B3B-4145-BC4C-B246C9040E14}"/>
                </a:ext>
              </a:extLst>
            </p:cNvPr>
            <p:cNvSpPr>
              <a:spLocks/>
            </p:cNvSpPr>
            <p:nvPr/>
          </p:nvSpPr>
          <p:spPr bwMode="auto">
            <a:xfrm>
              <a:off x="3068638" y="1658028"/>
              <a:ext cx="1220637" cy="1209929"/>
            </a:xfrm>
            <a:custGeom>
              <a:avLst/>
              <a:gdLst/>
              <a:ahLst/>
              <a:cxnLst>
                <a:cxn ang="0">
                  <a:pos x="1054" y="11"/>
                </a:cxn>
                <a:cxn ang="0">
                  <a:pos x="955" y="0"/>
                </a:cxn>
                <a:cxn ang="0">
                  <a:pos x="927" y="22"/>
                </a:cxn>
                <a:cxn ang="0">
                  <a:pos x="907" y="18"/>
                </a:cxn>
                <a:cxn ang="0">
                  <a:pos x="886" y="7"/>
                </a:cxn>
                <a:cxn ang="0">
                  <a:pos x="814" y="4"/>
                </a:cxn>
                <a:cxn ang="0">
                  <a:pos x="782" y="22"/>
                </a:cxn>
                <a:cxn ang="0">
                  <a:pos x="634" y="23"/>
                </a:cxn>
                <a:cxn ang="0">
                  <a:pos x="543" y="69"/>
                </a:cxn>
                <a:cxn ang="0">
                  <a:pos x="518" y="81"/>
                </a:cxn>
                <a:cxn ang="0">
                  <a:pos x="502" y="81"/>
                </a:cxn>
                <a:cxn ang="0">
                  <a:pos x="474" y="110"/>
                </a:cxn>
                <a:cxn ang="0">
                  <a:pos x="450" y="134"/>
                </a:cxn>
                <a:cxn ang="0">
                  <a:pos x="444" y="171"/>
                </a:cxn>
                <a:cxn ang="0">
                  <a:pos x="457" y="235"/>
                </a:cxn>
                <a:cxn ang="0">
                  <a:pos x="476" y="303"/>
                </a:cxn>
                <a:cxn ang="0">
                  <a:pos x="487" y="358"/>
                </a:cxn>
                <a:cxn ang="0">
                  <a:pos x="478" y="390"/>
                </a:cxn>
                <a:cxn ang="0">
                  <a:pos x="444" y="395"/>
                </a:cxn>
                <a:cxn ang="0">
                  <a:pos x="391" y="393"/>
                </a:cxn>
                <a:cxn ang="0">
                  <a:pos x="360" y="409"/>
                </a:cxn>
                <a:cxn ang="0">
                  <a:pos x="340" y="443"/>
                </a:cxn>
                <a:cxn ang="0">
                  <a:pos x="326" y="485"/>
                </a:cxn>
                <a:cxn ang="0">
                  <a:pos x="293" y="490"/>
                </a:cxn>
                <a:cxn ang="0">
                  <a:pos x="266" y="513"/>
                </a:cxn>
                <a:cxn ang="0">
                  <a:pos x="231" y="555"/>
                </a:cxn>
                <a:cxn ang="0">
                  <a:pos x="205" y="566"/>
                </a:cxn>
                <a:cxn ang="0">
                  <a:pos x="117" y="585"/>
                </a:cxn>
                <a:cxn ang="0">
                  <a:pos x="55" y="610"/>
                </a:cxn>
                <a:cxn ang="0">
                  <a:pos x="27" y="626"/>
                </a:cxn>
                <a:cxn ang="0">
                  <a:pos x="0" y="670"/>
                </a:cxn>
                <a:cxn ang="0">
                  <a:pos x="9" y="730"/>
                </a:cxn>
                <a:cxn ang="0">
                  <a:pos x="59" y="786"/>
                </a:cxn>
                <a:cxn ang="0">
                  <a:pos x="145" y="835"/>
                </a:cxn>
                <a:cxn ang="0">
                  <a:pos x="256" y="927"/>
                </a:cxn>
                <a:cxn ang="0">
                  <a:pos x="671" y="1233"/>
                </a:cxn>
                <a:cxn ang="0">
                  <a:pos x="680" y="1249"/>
                </a:cxn>
                <a:cxn ang="0">
                  <a:pos x="758" y="1279"/>
                </a:cxn>
                <a:cxn ang="0">
                  <a:pos x="779" y="1290"/>
                </a:cxn>
                <a:cxn ang="0">
                  <a:pos x="793" y="1339"/>
                </a:cxn>
                <a:cxn ang="0">
                  <a:pos x="814" y="1357"/>
                </a:cxn>
                <a:cxn ang="0">
                  <a:pos x="904" y="1343"/>
                </a:cxn>
                <a:cxn ang="0">
                  <a:pos x="1025" y="1279"/>
                </a:cxn>
                <a:cxn ang="0">
                  <a:pos x="1365" y="1013"/>
                </a:cxn>
                <a:cxn ang="0">
                  <a:pos x="1356" y="985"/>
                </a:cxn>
                <a:cxn ang="0">
                  <a:pos x="1307" y="955"/>
                </a:cxn>
                <a:cxn ang="0">
                  <a:pos x="1279" y="945"/>
                </a:cxn>
                <a:cxn ang="0">
                  <a:pos x="1258" y="904"/>
                </a:cxn>
                <a:cxn ang="0">
                  <a:pos x="1231" y="858"/>
                </a:cxn>
                <a:cxn ang="0">
                  <a:pos x="1224" y="825"/>
                </a:cxn>
                <a:cxn ang="0">
                  <a:pos x="1228" y="770"/>
                </a:cxn>
                <a:cxn ang="0">
                  <a:pos x="1223" y="698"/>
                </a:cxn>
                <a:cxn ang="0">
                  <a:pos x="1210" y="561"/>
                </a:cxn>
                <a:cxn ang="0">
                  <a:pos x="1194" y="451"/>
                </a:cxn>
                <a:cxn ang="0">
                  <a:pos x="1175" y="404"/>
                </a:cxn>
                <a:cxn ang="0">
                  <a:pos x="1152" y="365"/>
                </a:cxn>
                <a:cxn ang="0">
                  <a:pos x="1091" y="282"/>
                </a:cxn>
                <a:cxn ang="0">
                  <a:pos x="1075" y="228"/>
                </a:cxn>
                <a:cxn ang="0">
                  <a:pos x="1078" y="203"/>
                </a:cxn>
                <a:cxn ang="0">
                  <a:pos x="1119" y="133"/>
                </a:cxn>
                <a:cxn ang="0">
                  <a:pos x="1094" y="67"/>
                </a:cxn>
                <a:cxn ang="0">
                  <a:pos x="1080" y="43"/>
                </a:cxn>
              </a:cxnLst>
              <a:rect l="0" t="0" r="r" b="b"/>
              <a:pathLst>
                <a:path w="1369" h="1357">
                  <a:moveTo>
                    <a:pt x="1076" y="32"/>
                  </a:moveTo>
                  <a:lnTo>
                    <a:pt x="1076" y="32"/>
                  </a:lnTo>
                  <a:lnTo>
                    <a:pt x="1054" y="11"/>
                  </a:lnTo>
                  <a:lnTo>
                    <a:pt x="1054" y="11"/>
                  </a:lnTo>
                  <a:lnTo>
                    <a:pt x="1047" y="7"/>
                  </a:lnTo>
                  <a:lnTo>
                    <a:pt x="1034" y="4"/>
                  </a:lnTo>
                  <a:lnTo>
                    <a:pt x="1001" y="2"/>
                  </a:lnTo>
                  <a:lnTo>
                    <a:pt x="955" y="0"/>
                  </a:lnTo>
                  <a:lnTo>
                    <a:pt x="955" y="0"/>
                  </a:lnTo>
                  <a:lnTo>
                    <a:pt x="944" y="9"/>
                  </a:lnTo>
                  <a:lnTo>
                    <a:pt x="927" y="22"/>
                  </a:lnTo>
                  <a:lnTo>
                    <a:pt x="927" y="22"/>
                  </a:lnTo>
                  <a:lnTo>
                    <a:pt x="920" y="25"/>
                  </a:lnTo>
                  <a:lnTo>
                    <a:pt x="920" y="25"/>
                  </a:lnTo>
                  <a:lnTo>
                    <a:pt x="916" y="25"/>
                  </a:lnTo>
                  <a:lnTo>
                    <a:pt x="907" y="18"/>
                  </a:lnTo>
                  <a:lnTo>
                    <a:pt x="907" y="18"/>
                  </a:lnTo>
                  <a:lnTo>
                    <a:pt x="902" y="15"/>
                  </a:lnTo>
                  <a:lnTo>
                    <a:pt x="895" y="9"/>
                  </a:lnTo>
                  <a:lnTo>
                    <a:pt x="886" y="7"/>
                  </a:lnTo>
                  <a:lnTo>
                    <a:pt x="877" y="7"/>
                  </a:lnTo>
                  <a:lnTo>
                    <a:pt x="877" y="7"/>
                  </a:lnTo>
                  <a:lnTo>
                    <a:pt x="842" y="6"/>
                  </a:lnTo>
                  <a:lnTo>
                    <a:pt x="814" y="4"/>
                  </a:lnTo>
                  <a:lnTo>
                    <a:pt x="814" y="4"/>
                  </a:lnTo>
                  <a:lnTo>
                    <a:pt x="803" y="13"/>
                  </a:lnTo>
                  <a:lnTo>
                    <a:pt x="793" y="18"/>
                  </a:lnTo>
                  <a:lnTo>
                    <a:pt x="782" y="22"/>
                  </a:lnTo>
                  <a:lnTo>
                    <a:pt x="782" y="22"/>
                  </a:lnTo>
                  <a:lnTo>
                    <a:pt x="703" y="23"/>
                  </a:lnTo>
                  <a:lnTo>
                    <a:pt x="634" y="23"/>
                  </a:lnTo>
                  <a:lnTo>
                    <a:pt x="634" y="23"/>
                  </a:lnTo>
                  <a:lnTo>
                    <a:pt x="562" y="55"/>
                  </a:lnTo>
                  <a:lnTo>
                    <a:pt x="562" y="55"/>
                  </a:lnTo>
                  <a:lnTo>
                    <a:pt x="553" y="60"/>
                  </a:lnTo>
                  <a:lnTo>
                    <a:pt x="543" y="69"/>
                  </a:lnTo>
                  <a:lnTo>
                    <a:pt x="534" y="76"/>
                  </a:lnTo>
                  <a:lnTo>
                    <a:pt x="525" y="81"/>
                  </a:lnTo>
                  <a:lnTo>
                    <a:pt x="525" y="81"/>
                  </a:lnTo>
                  <a:lnTo>
                    <a:pt x="518" y="81"/>
                  </a:lnTo>
                  <a:lnTo>
                    <a:pt x="513" y="81"/>
                  </a:lnTo>
                  <a:lnTo>
                    <a:pt x="506" y="81"/>
                  </a:lnTo>
                  <a:lnTo>
                    <a:pt x="502" y="81"/>
                  </a:lnTo>
                  <a:lnTo>
                    <a:pt x="502" y="81"/>
                  </a:lnTo>
                  <a:lnTo>
                    <a:pt x="488" y="94"/>
                  </a:lnTo>
                  <a:lnTo>
                    <a:pt x="481" y="103"/>
                  </a:lnTo>
                  <a:lnTo>
                    <a:pt x="474" y="110"/>
                  </a:lnTo>
                  <a:lnTo>
                    <a:pt x="474" y="110"/>
                  </a:lnTo>
                  <a:lnTo>
                    <a:pt x="462" y="126"/>
                  </a:lnTo>
                  <a:lnTo>
                    <a:pt x="455" y="133"/>
                  </a:lnTo>
                  <a:lnTo>
                    <a:pt x="450" y="134"/>
                  </a:lnTo>
                  <a:lnTo>
                    <a:pt x="450" y="134"/>
                  </a:lnTo>
                  <a:lnTo>
                    <a:pt x="444" y="136"/>
                  </a:lnTo>
                  <a:lnTo>
                    <a:pt x="441" y="138"/>
                  </a:lnTo>
                  <a:lnTo>
                    <a:pt x="441" y="138"/>
                  </a:lnTo>
                  <a:lnTo>
                    <a:pt x="444" y="171"/>
                  </a:lnTo>
                  <a:lnTo>
                    <a:pt x="448" y="198"/>
                  </a:lnTo>
                  <a:lnTo>
                    <a:pt x="451" y="217"/>
                  </a:lnTo>
                  <a:lnTo>
                    <a:pt x="451" y="217"/>
                  </a:lnTo>
                  <a:lnTo>
                    <a:pt x="457" y="235"/>
                  </a:lnTo>
                  <a:lnTo>
                    <a:pt x="465" y="258"/>
                  </a:lnTo>
                  <a:lnTo>
                    <a:pt x="472" y="281"/>
                  </a:lnTo>
                  <a:lnTo>
                    <a:pt x="476" y="293"/>
                  </a:lnTo>
                  <a:lnTo>
                    <a:pt x="476" y="303"/>
                  </a:lnTo>
                  <a:lnTo>
                    <a:pt x="476" y="303"/>
                  </a:lnTo>
                  <a:lnTo>
                    <a:pt x="478" y="321"/>
                  </a:lnTo>
                  <a:lnTo>
                    <a:pt x="481" y="337"/>
                  </a:lnTo>
                  <a:lnTo>
                    <a:pt x="487" y="358"/>
                  </a:lnTo>
                  <a:lnTo>
                    <a:pt x="487" y="358"/>
                  </a:lnTo>
                  <a:lnTo>
                    <a:pt x="487" y="369"/>
                  </a:lnTo>
                  <a:lnTo>
                    <a:pt x="483" y="379"/>
                  </a:lnTo>
                  <a:lnTo>
                    <a:pt x="478" y="390"/>
                  </a:lnTo>
                  <a:lnTo>
                    <a:pt x="474" y="393"/>
                  </a:lnTo>
                  <a:lnTo>
                    <a:pt x="471" y="395"/>
                  </a:lnTo>
                  <a:lnTo>
                    <a:pt x="471" y="395"/>
                  </a:lnTo>
                  <a:lnTo>
                    <a:pt x="444" y="395"/>
                  </a:lnTo>
                  <a:lnTo>
                    <a:pt x="413" y="395"/>
                  </a:lnTo>
                  <a:lnTo>
                    <a:pt x="413" y="395"/>
                  </a:lnTo>
                  <a:lnTo>
                    <a:pt x="398" y="393"/>
                  </a:lnTo>
                  <a:lnTo>
                    <a:pt x="391" y="393"/>
                  </a:lnTo>
                  <a:lnTo>
                    <a:pt x="383" y="395"/>
                  </a:lnTo>
                  <a:lnTo>
                    <a:pt x="376" y="397"/>
                  </a:lnTo>
                  <a:lnTo>
                    <a:pt x="369" y="402"/>
                  </a:lnTo>
                  <a:lnTo>
                    <a:pt x="360" y="409"/>
                  </a:lnTo>
                  <a:lnTo>
                    <a:pt x="353" y="420"/>
                  </a:lnTo>
                  <a:lnTo>
                    <a:pt x="353" y="420"/>
                  </a:lnTo>
                  <a:lnTo>
                    <a:pt x="346" y="430"/>
                  </a:lnTo>
                  <a:lnTo>
                    <a:pt x="340" y="443"/>
                  </a:lnTo>
                  <a:lnTo>
                    <a:pt x="335" y="464"/>
                  </a:lnTo>
                  <a:lnTo>
                    <a:pt x="333" y="472"/>
                  </a:lnTo>
                  <a:lnTo>
                    <a:pt x="330" y="480"/>
                  </a:lnTo>
                  <a:lnTo>
                    <a:pt x="326" y="485"/>
                  </a:lnTo>
                  <a:lnTo>
                    <a:pt x="321" y="487"/>
                  </a:lnTo>
                  <a:lnTo>
                    <a:pt x="321" y="487"/>
                  </a:lnTo>
                  <a:lnTo>
                    <a:pt x="309" y="487"/>
                  </a:lnTo>
                  <a:lnTo>
                    <a:pt x="293" y="490"/>
                  </a:lnTo>
                  <a:lnTo>
                    <a:pt x="286" y="494"/>
                  </a:lnTo>
                  <a:lnTo>
                    <a:pt x="279" y="499"/>
                  </a:lnTo>
                  <a:lnTo>
                    <a:pt x="272" y="504"/>
                  </a:lnTo>
                  <a:lnTo>
                    <a:pt x="266" y="513"/>
                  </a:lnTo>
                  <a:lnTo>
                    <a:pt x="266" y="513"/>
                  </a:lnTo>
                  <a:lnTo>
                    <a:pt x="254" y="532"/>
                  </a:lnTo>
                  <a:lnTo>
                    <a:pt x="240" y="548"/>
                  </a:lnTo>
                  <a:lnTo>
                    <a:pt x="231" y="555"/>
                  </a:lnTo>
                  <a:lnTo>
                    <a:pt x="222" y="561"/>
                  </a:lnTo>
                  <a:lnTo>
                    <a:pt x="214" y="564"/>
                  </a:lnTo>
                  <a:lnTo>
                    <a:pt x="205" y="566"/>
                  </a:lnTo>
                  <a:lnTo>
                    <a:pt x="205" y="566"/>
                  </a:lnTo>
                  <a:lnTo>
                    <a:pt x="185" y="568"/>
                  </a:lnTo>
                  <a:lnTo>
                    <a:pt x="162" y="573"/>
                  </a:lnTo>
                  <a:lnTo>
                    <a:pt x="117" y="585"/>
                  </a:lnTo>
                  <a:lnTo>
                    <a:pt x="117" y="585"/>
                  </a:lnTo>
                  <a:lnTo>
                    <a:pt x="97" y="591"/>
                  </a:lnTo>
                  <a:lnTo>
                    <a:pt x="83" y="598"/>
                  </a:lnTo>
                  <a:lnTo>
                    <a:pt x="69" y="605"/>
                  </a:lnTo>
                  <a:lnTo>
                    <a:pt x="55" y="610"/>
                  </a:lnTo>
                  <a:lnTo>
                    <a:pt x="55" y="610"/>
                  </a:lnTo>
                  <a:lnTo>
                    <a:pt x="46" y="613"/>
                  </a:lnTo>
                  <a:lnTo>
                    <a:pt x="37" y="619"/>
                  </a:lnTo>
                  <a:lnTo>
                    <a:pt x="27" y="626"/>
                  </a:lnTo>
                  <a:lnTo>
                    <a:pt x="18" y="635"/>
                  </a:lnTo>
                  <a:lnTo>
                    <a:pt x="9" y="645"/>
                  </a:lnTo>
                  <a:lnTo>
                    <a:pt x="4" y="657"/>
                  </a:lnTo>
                  <a:lnTo>
                    <a:pt x="0" y="670"/>
                  </a:lnTo>
                  <a:lnTo>
                    <a:pt x="0" y="684"/>
                  </a:lnTo>
                  <a:lnTo>
                    <a:pt x="0" y="684"/>
                  </a:lnTo>
                  <a:lnTo>
                    <a:pt x="6" y="714"/>
                  </a:lnTo>
                  <a:lnTo>
                    <a:pt x="9" y="730"/>
                  </a:lnTo>
                  <a:lnTo>
                    <a:pt x="15" y="744"/>
                  </a:lnTo>
                  <a:lnTo>
                    <a:pt x="25" y="758"/>
                  </a:lnTo>
                  <a:lnTo>
                    <a:pt x="39" y="772"/>
                  </a:lnTo>
                  <a:lnTo>
                    <a:pt x="59" y="786"/>
                  </a:lnTo>
                  <a:lnTo>
                    <a:pt x="85" y="800"/>
                  </a:lnTo>
                  <a:lnTo>
                    <a:pt x="85" y="800"/>
                  </a:lnTo>
                  <a:lnTo>
                    <a:pt x="115" y="816"/>
                  </a:lnTo>
                  <a:lnTo>
                    <a:pt x="145" y="835"/>
                  </a:lnTo>
                  <a:lnTo>
                    <a:pt x="173" y="856"/>
                  </a:lnTo>
                  <a:lnTo>
                    <a:pt x="199" y="878"/>
                  </a:lnTo>
                  <a:lnTo>
                    <a:pt x="240" y="913"/>
                  </a:lnTo>
                  <a:lnTo>
                    <a:pt x="256" y="927"/>
                  </a:lnTo>
                  <a:lnTo>
                    <a:pt x="670" y="1218"/>
                  </a:lnTo>
                  <a:lnTo>
                    <a:pt x="670" y="1218"/>
                  </a:lnTo>
                  <a:lnTo>
                    <a:pt x="670" y="1223"/>
                  </a:lnTo>
                  <a:lnTo>
                    <a:pt x="671" y="1233"/>
                  </a:lnTo>
                  <a:lnTo>
                    <a:pt x="675" y="1244"/>
                  </a:lnTo>
                  <a:lnTo>
                    <a:pt x="677" y="1247"/>
                  </a:lnTo>
                  <a:lnTo>
                    <a:pt x="680" y="1249"/>
                  </a:lnTo>
                  <a:lnTo>
                    <a:pt x="680" y="1249"/>
                  </a:lnTo>
                  <a:lnTo>
                    <a:pt x="687" y="1251"/>
                  </a:lnTo>
                  <a:lnTo>
                    <a:pt x="700" y="1255"/>
                  </a:lnTo>
                  <a:lnTo>
                    <a:pt x="730" y="1267"/>
                  </a:lnTo>
                  <a:lnTo>
                    <a:pt x="758" y="1279"/>
                  </a:lnTo>
                  <a:lnTo>
                    <a:pt x="774" y="1284"/>
                  </a:lnTo>
                  <a:lnTo>
                    <a:pt x="774" y="1284"/>
                  </a:lnTo>
                  <a:lnTo>
                    <a:pt x="775" y="1286"/>
                  </a:lnTo>
                  <a:lnTo>
                    <a:pt x="779" y="1290"/>
                  </a:lnTo>
                  <a:lnTo>
                    <a:pt x="786" y="1304"/>
                  </a:lnTo>
                  <a:lnTo>
                    <a:pt x="791" y="1321"/>
                  </a:lnTo>
                  <a:lnTo>
                    <a:pt x="793" y="1339"/>
                  </a:lnTo>
                  <a:lnTo>
                    <a:pt x="793" y="1339"/>
                  </a:lnTo>
                  <a:lnTo>
                    <a:pt x="795" y="1346"/>
                  </a:lnTo>
                  <a:lnTo>
                    <a:pt x="800" y="1351"/>
                  </a:lnTo>
                  <a:lnTo>
                    <a:pt x="805" y="1355"/>
                  </a:lnTo>
                  <a:lnTo>
                    <a:pt x="814" y="1357"/>
                  </a:lnTo>
                  <a:lnTo>
                    <a:pt x="833" y="1357"/>
                  </a:lnTo>
                  <a:lnTo>
                    <a:pt x="849" y="1353"/>
                  </a:lnTo>
                  <a:lnTo>
                    <a:pt x="849" y="1353"/>
                  </a:lnTo>
                  <a:lnTo>
                    <a:pt x="904" y="1343"/>
                  </a:lnTo>
                  <a:lnTo>
                    <a:pt x="955" y="1329"/>
                  </a:lnTo>
                  <a:lnTo>
                    <a:pt x="955" y="1329"/>
                  </a:lnTo>
                  <a:lnTo>
                    <a:pt x="976" y="1314"/>
                  </a:lnTo>
                  <a:lnTo>
                    <a:pt x="1025" y="1279"/>
                  </a:lnTo>
                  <a:lnTo>
                    <a:pt x="1168" y="1172"/>
                  </a:lnTo>
                  <a:lnTo>
                    <a:pt x="1369" y="1019"/>
                  </a:lnTo>
                  <a:lnTo>
                    <a:pt x="1369" y="1019"/>
                  </a:lnTo>
                  <a:lnTo>
                    <a:pt x="1365" y="1013"/>
                  </a:lnTo>
                  <a:lnTo>
                    <a:pt x="1362" y="1003"/>
                  </a:lnTo>
                  <a:lnTo>
                    <a:pt x="1362" y="1003"/>
                  </a:lnTo>
                  <a:lnTo>
                    <a:pt x="1360" y="992"/>
                  </a:lnTo>
                  <a:lnTo>
                    <a:pt x="1356" y="985"/>
                  </a:lnTo>
                  <a:lnTo>
                    <a:pt x="1351" y="978"/>
                  </a:lnTo>
                  <a:lnTo>
                    <a:pt x="1351" y="978"/>
                  </a:lnTo>
                  <a:lnTo>
                    <a:pt x="1323" y="962"/>
                  </a:lnTo>
                  <a:lnTo>
                    <a:pt x="1307" y="955"/>
                  </a:lnTo>
                  <a:lnTo>
                    <a:pt x="1297" y="950"/>
                  </a:lnTo>
                  <a:lnTo>
                    <a:pt x="1297" y="950"/>
                  </a:lnTo>
                  <a:lnTo>
                    <a:pt x="1288" y="948"/>
                  </a:lnTo>
                  <a:lnTo>
                    <a:pt x="1279" y="945"/>
                  </a:lnTo>
                  <a:lnTo>
                    <a:pt x="1274" y="941"/>
                  </a:lnTo>
                  <a:lnTo>
                    <a:pt x="1268" y="934"/>
                  </a:lnTo>
                  <a:lnTo>
                    <a:pt x="1268" y="934"/>
                  </a:lnTo>
                  <a:lnTo>
                    <a:pt x="1258" y="904"/>
                  </a:lnTo>
                  <a:lnTo>
                    <a:pt x="1251" y="888"/>
                  </a:lnTo>
                  <a:lnTo>
                    <a:pt x="1244" y="876"/>
                  </a:lnTo>
                  <a:lnTo>
                    <a:pt x="1244" y="876"/>
                  </a:lnTo>
                  <a:lnTo>
                    <a:pt x="1231" y="858"/>
                  </a:lnTo>
                  <a:lnTo>
                    <a:pt x="1223" y="841"/>
                  </a:lnTo>
                  <a:lnTo>
                    <a:pt x="1223" y="841"/>
                  </a:lnTo>
                  <a:lnTo>
                    <a:pt x="1223" y="834"/>
                  </a:lnTo>
                  <a:lnTo>
                    <a:pt x="1224" y="825"/>
                  </a:lnTo>
                  <a:lnTo>
                    <a:pt x="1228" y="811"/>
                  </a:lnTo>
                  <a:lnTo>
                    <a:pt x="1228" y="811"/>
                  </a:lnTo>
                  <a:lnTo>
                    <a:pt x="1226" y="791"/>
                  </a:lnTo>
                  <a:lnTo>
                    <a:pt x="1228" y="770"/>
                  </a:lnTo>
                  <a:lnTo>
                    <a:pt x="1228" y="770"/>
                  </a:lnTo>
                  <a:lnTo>
                    <a:pt x="1224" y="731"/>
                  </a:lnTo>
                  <a:lnTo>
                    <a:pt x="1223" y="698"/>
                  </a:lnTo>
                  <a:lnTo>
                    <a:pt x="1223" y="698"/>
                  </a:lnTo>
                  <a:lnTo>
                    <a:pt x="1219" y="659"/>
                  </a:lnTo>
                  <a:lnTo>
                    <a:pt x="1219" y="619"/>
                  </a:lnTo>
                  <a:lnTo>
                    <a:pt x="1219" y="619"/>
                  </a:lnTo>
                  <a:lnTo>
                    <a:pt x="1210" y="561"/>
                  </a:lnTo>
                  <a:lnTo>
                    <a:pt x="1203" y="506"/>
                  </a:lnTo>
                  <a:lnTo>
                    <a:pt x="1203" y="506"/>
                  </a:lnTo>
                  <a:lnTo>
                    <a:pt x="1200" y="476"/>
                  </a:lnTo>
                  <a:lnTo>
                    <a:pt x="1194" y="451"/>
                  </a:lnTo>
                  <a:lnTo>
                    <a:pt x="1191" y="439"/>
                  </a:lnTo>
                  <a:lnTo>
                    <a:pt x="1187" y="430"/>
                  </a:lnTo>
                  <a:lnTo>
                    <a:pt x="1187" y="430"/>
                  </a:lnTo>
                  <a:lnTo>
                    <a:pt x="1175" y="404"/>
                  </a:lnTo>
                  <a:lnTo>
                    <a:pt x="1165" y="383"/>
                  </a:lnTo>
                  <a:lnTo>
                    <a:pt x="1157" y="374"/>
                  </a:lnTo>
                  <a:lnTo>
                    <a:pt x="1152" y="365"/>
                  </a:lnTo>
                  <a:lnTo>
                    <a:pt x="1152" y="365"/>
                  </a:lnTo>
                  <a:lnTo>
                    <a:pt x="1136" y="347"/>
                  </a:lnTo>
                  <a:lnTo>
                    <a:pt x="1117" y="321"/>
                  </a:lnTo>
                  <a:lnTo>
                    <a:pt x="1091" y="282"/>
                  </a:lnTo>
                  <a:lnTo>
                    <a:pt x="1091" y="282"/>
                  </a:lnTo>
                  <a:lnTo>
                    <a:pt x="1087" y="275"/>
                  </a:lnTo>
                  <a:lnTo>
                    <a:pt x="1083" y="266"/>
                  </a:lnTo>
                  <a:lnTo>
                    <a:pt x="1076" y="242"/>
                  </a:lnTo>
                  <a:lnTo>
                    <a:pt x="1075" y="228"/>
                  </a:lnTo>
                  <a:lnTo>
                    <a:pt x="1075" y="217"/>
                  </a:lnTo>
                  <a:lnTo>
                    <a:pt x="1075" y="208"/>
                  </a:lnTo>
                  <a:lnTo>
                    <a:pt x="1078" y="203"/>
                  </a:lnTo>
                  <a:lnTo>
                    <a:pt x="1078" y="203"/>
                  </a:lnTo>
                  <a:lnTo>
                    <a:pt x="1085" y="199"/>
                  </a:lnTo>
                  <a:lnTo>
                    <a:pt x="1091" y="198"/>
                  </a:lnTo>
                  <a:lnTo>
                    <a:pt x="1096" y="196"/>
                  </a:lnTo>
                  <a:lnTo>
                    <a:pt x="1119" y="133"/>
                  </a:lnTo>
                  <a:lnTo>
                    <a:pt x="1119" y="133"/>
                  </a:lnTo>
                  <a:lnTo>
                    <a:pt x="1108" y="101"/>
                  </a:lnTo>
                  <a:lnTo>
                    <a:pt x="1099" y="78"/>
                  </a:lnTo>
                  <a:lnTo>
                    <a:pt x="1094" y="67"/>
                  </a:lnTo>
                  <a:lnTo>
                    <a:pt x="1091" y="62"/>
                  </a:lnTo>
                  <a:lnTo>
                    <a:pt x="1091" y="62"/>
                  </a:lnTo>
                  <a:lnTo>
                    <a:pt x="1083" y="53"/>
                  </a:lnTo>
                  <a:lnTo>
                    <a:pt x="1080" y="43"/>
                  </a:lnTo>
                  <a:lnTo>
                    <a:pt x="1076" y="32"/>
                  </a:lnTo>
                  <a:lnTo>
                    <a:pt x="1076" y="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6" name="Freeform 10">
              <a:extLst>
                <a:ext uri="{FF2B5EF4-FFF2-40B4-BE49-F238E27FC236}">
                  <a16:creationId xmlns:a16="http://schemas.microsoft.com/office/drawing/2014/main" id="{0E76A666-70DB-4143-A714-A62CA051728F}"/>
                </a:ext>
              </a:extLst>
            </p:cNvPr>
            <p:cNvSpPr>
              <a:spLocks/>
            </p:cNvSpPr>
            <p:nvPr/>
          </p:nvSpPr>
          <p:spPr bwMode="auto">
            <a:xfrm>
              <a:off x="2520779" y="1747256"/>
              <a:ext cx="983290" cy="983291"/>
            </a:xfrm>
            <a:custGeom>
              <a:avLst/>
              <a:gdLst/>
              <a:ahLst/>
              <a:cxnLst>
                <a:cxn ang="0">
                  <a:pos x="1044" y="39"/>
                </a:cxn>
                <a:cxn ang="0">
                  <a:pos x="1003" y="10"/>
                </a:cxn>
                <a:cxn ang="0">
                  <a:pos x="973" y="14"/>
                </a:cxn>
                <a:cxn ang="0">
                  <a:pos x="944" y="30"/>
                </a:cxn>
                <a:cxn ang="0">
                  <a:pos x="892" y="33"/>
                </a:cxn>
                <a:cxn ang="0">
                  <a:pos x="847" y="19"/>
                </a:cxn>
                <a:cxn ang="0">
                  <a:pos x="817" y="3"/>
                </a:cxn>
                <a:cxn ang="0">
                  <a:pos x="780" y="7"/>
                </a:cxn>
                <a:cxn ang="0">
                  <a:pos x="769" y="44"/>
                </a:cxn>
                <a:cxn ang="0">
                  <a:pos x="750" y="79"/>
                </a:cxn>
                <a:cxn ang="0">
                  <a:pos x="709" y="141"/>
                </a:cxn>
                <a:cxn ang="0">
                  <a:pos x="672" y="153"/>
                </a:cxn>
                <a:cxn ang="0">
                  <a:pos x="588" y="208"/>
                </a:cxn>
                <a:cxn ang="0">
                  <a:pos x="530" y="278"/>
                </a:cxn>
                <a:cxn ang="0">
                  <a:pos x="523" y="345"/>
                </a:cxn>
                <a:cxn ang="0">
                  <a:pos x="519" y="380"/>
                </a:cxn>
                <a:cxn ang="0">
                  <a:pos x="533" y="417"/>
                </a:cxn>
                <a:cxn ang="0">
                  <a:pos x="524" y="449"/>
                </a:cxn>
                <a:cxn ang="0">
                  <a:pos x="510" y="490"/>
                </a:cxn>
                <a:cxn ang="0">
                  <a:pos x="399" y="565"/>
                </a:cxn>
                <a:cxn ang="0">
                  <a:pos x="382" y="583"/>
                </a:cxn>
                <a:cxn ang="0">
                  <a:pos x="332" y="588"/>
                </a:cxn>
                <a:cxn ang="0">
                  <a:pos x="280" y="608"/>
                </a:cxn>
                <a:cxn ang="0">
                  <a:pos x="266" y="662"/>
                </a:cxn>
                <a:cxn ang="0">
                  <a:pos x="190" y="745"/>
                </a:cxn>
                <a:cxn ang="0">
                  <a:pos x="172" y="791"/>
                </a:cxn>
                <a:cxn ang="0">
                  <a:pos x="169" y="831"/>
                </a:cxn>
                <a:cxn ang="0">
                  <a:pos x="133" y="847"/>
                </a:cxn>
                <a:cxn ang="0">
                  <a:pos x="95" y="905"/>
                </a:cxn>
                <a:cxn ang="0">
                  <a:pos x="56" y="986"/>
                </a:cxn>
                <a:cxn ang="0">
                  <a:pos x="30" y="1013"/>
                </a:cxn>
                <a:cxn ang="0">
                  <a:pos x="19" y="1044"/>
                </a:cxn>
                <a:cxn ang="0">
                  <a:pos x="0" y="1081"/>
                </a:cxn>
                <a:cxn ang="0">
                  <a:pos x="294" y="1071"/>
                </a:cxn>
                <a:cxn ang="0">
                  <a:pos x="292" y="1006"/>
                </a:cxn>
                <a:cxn ang="0">
                  <a:pos x="310" y="974"/>
                </a:cxn>
                <a:cxn ang="0">
                  <a:pos x="355" y="937"/>
                </a:cxn>
                <a:cxn ang="0">
                  <a:pos x="366" y="771"/>
                </a:cxn>
                <a:cxn ang="0">
                  <a:pos x="616" y="556"/>
                </a:cxn>
                <a:cxn ang="0">
                  <a:pos x="639" y="525"/>
                </a:cxn>
                <a:cxn ang="0">
                  <a:pos x="709" y="491"/>
                </a:cxn>
                <a:cxn ang="0">
                  <a:pos x="808" y="465"/>
                </a:cxn>
                <a:cxn ang="0">
                  <a:pos x="834" y="460"/>
                </a:cxn>
                <a:cxn ang="0">
                  <a:pos x="892" y="396"/>
                </a:cxn>
                <a:cxn ang="0">
                  <a:pos x="931" y="386"/>
                </a:cxn>
                <a:cxn ang="0">
                  <a:pos x="945" y="370"/>
                </a:cxn>
                <a:cxn ang="0">
                  <a:pos x="966" y="313"/>
                </a:cxn>
                <a:cxn ang="0">
                  <a:pos x="1079" y="292"/>
                </a:cxn>
                <a:cxn ang="0">
                  <a:pos x="1097" y="278"/>
                </a:cxn>
                <a:cxn ang="0">
                  <a:pos x="1095" y="243"/>
                </a:cxn>
                <a:cxn ang="0">
                  <a:pos x="1083" y="174"/>
                </a:cxn>
                <a:cxn ang="0">
                  <a:pos x="1067" y="128"/>
                </a:cxn>
                <a:cxn ang="0">
                  <a:pos x="1053" y="37"/>
                </a:cxn>
              </a:cxnLst>
              <a:rect l="0" t="0" r="r" b="b"/>
              <a:pathLst>
                <a:path w="1100" h="1102">
                  <a:moveTo>
                    <a:pt x="1053" y="37"/>
                  </a:moveTo>
                  <a:lnTo>
                    <a:pt x="1053" y="37"/>
                  </a:lnTo>
                  <a:lnTo>
                    <a:pt x="1053" y="39"/>
                  </a:lnTo>
                  <a:lnTo>
                    <a:pt x="1049" y="39"/>
                  </a:lnTo>
                  <a:lnTo>
                    <a:pt x="1044" y="39"/>
                  </a:lnTo>
                  <a:lnTo>
                    <a:pt x="1033" y="33"/>
                  </a:lnTo>
                  <a:lnTo>
                    <a:pt x="1033" y="33"/>
                  </a:lnTo>
                  <a:lnTo>
                    <a:pt x="1021" y="25"/>
                  </a:lnTo>
                  <a:lnTo>
                    <a:pt x="1010" y="14"/>
                  </a:lnTo>
                  <a:lnTo>
                    <a:pt x="1003" y="10"/>
                  </a:lnTo>
                  <a:lnTo>
                    <a:pt x="998" y="9"/>
                  </a:lnTo>
                  <a:lnTo>
                    <a:pt x="991" y="7"/>
                  </a:lnTo>
                  <a:lnTo>
                    <a:pt x="984" y="9"/>
                  </a:lnTo>
                  <a:lnTo>
                    <a:pt x="984" y="9"/>
                  </a:lnTo>
                  <a:lnTo>
                    <a:pt x="973" y="14"/>
                  </a:lnTo>
                  <a:lnTo>
                    <a:pt x="966" y="19"/>
                  </a:lnTo>
                  <a:lnTo>
                    <a:pt x="961" y="25"/>
                  </a:lnTo>
                  <a:lnTo>
                    <a:pt x="952" y="28"/>
                  </a:lnTo>
                  <a:lnTo>
                    <a:pt x="952" y="28"/>
                  </a:lnTo>
                  <a:lnTo>
                    <a:pt x="944" y="30"/>
                  </a:lnTo>
                  <a:lnTo>
                    <a:pt x="938" y="32"/>
                  </a:lnTo>
                  <a:lnTo>
                    <a:pt x="917" y="30"/>
                  </a:lnTo>
                  <a:lnTo>
                    <a:pt x="917" y="30"/>
                  </a:lnTo>
                  <a:lnTo>
                    <a:pt x="903" y="32"/>
                  </a:lnTo>
                  <a:lnTo>
                    <a:pt x="892" y="33"/>
                  </a:lnTo>
                  <a:lnTo>
                    <a:pt x="885" y="35"/>
                  </a:lnTo>
                  <a:lnTo>
                    <a:pt x="880" y="33"/>
                  </a:lnTo>
                  <a:lnTo>
                    <a:pt x="873" y="32"/>
                  </a:lnTo>
                  <a:lnTo>
                    <a:pt x="873" y="32"/>
                  </a:lnTo>
                  <a:lnTo>
                    <a:pt x="847" y="19"/>
                  </a:lnTo>
                  <a:lnTo>
                    <a:pt x="836" y="14"/>
                  </a:lnTo>
                  <a:lnTo>
                    <a:pt x="827" y="9"/>
                  </a:lnTo>
                  <a:lnTo>
                    <a:pt x="827" y="9"/>
                  </a:lnTo>
                  <a:lnTo>
                    <a:pt x="822" y="5"/>
                  </a:lnTo>
                  <a:lnTo>
                    <a:pt x="817" y="3"/>
                  </a:lnTo>
                  <a:lnTo>
                    <a:pt x="810" y="2"/>
                  </a:lnTo>
                  <a:lnTo>
                    <a:pt x="801" y="0"/>
                  </a:lnTo>
                  <a:lnTo>
                    <a:pt x="792" y="2"/>
                  </a:lnTo>
                  <a:lnTo>
                    <a:pt x="785" y="3"/>
                  </a:lnTo>
                  <a:lnTo>
                    <a:pt x="780" y="7"/>
                  </a:lnTo>
                  <a:lnTo>
                    <a:pt x="774" y="12"/>
                  </a:lnTo>
                  <a:lnTo>
                    <a:pt x="774" y="12"/>
                  </a:lnTo>
                  <a:lnTo>
                    <a:pt x="773" y="19"/>
                  </a:lnTo>
                  <a:lnTo>
                    <a:pt x="771" y="26"/>
                  </a:lnTo>
                  <a:lnTo>
                    <a:pt x="769" y="44"/>
                  </a:lnTo>
                  <a:lnTo>
                    <a:pt x="767" y="53"/>
                  </a:lnTo>
                  <a:lnTo>
                    <a:pt x="764" y="61"/>
                  </a:lnTo>
                  <a:lnTo>
                    <a:pt x="759" y="70"/>
                  </a:lnTo>
                  <a:lnTo>
                    <a:pt x="750" y="79"/>
                  </a:lnTo>
                  <a:lnTo>
                    <a:pt x="750" y="79"/>
                  </a:lnTo>
                  <a:lnTo>
                    <a:pt x="741" y="88"/>
                  </a:lnTo>
                  <a:lnTo>
                    <a:pt x="734" y="98"/>
                  </a:lnTo>
                  <a:lnTo>
                    <a:pt x="722" y="121"/>
                  </a:lnTo>
                  <a:lnTo>
                    <a:pt x="716" y="132"/>
                  </a:lnTo>
                  <a:lnTo>
                    <a:pt x="709" y="141"/>
                  </a:lnTo>
                  <a:lnTo>
                    <a:pt x="699" y="146"/>
                  </a:lnTo>
                  <a:lnTo>
                    <a:pt x="693" y="148"/>
                  </a:lnTo>
                  <a:lnTo>
                    <a:pt x="686" y="150"/>
                  </a:lnTo>
                  <a:lnTo>
                    <a:pt x="686" y="150"/>
                  </a:lnTo>
                  <a:lnTo>
                    <a:pt x="672" y="153"/>
                  </a:lnTo>
                  <a:lnTo>
                    <a:pt x="656" y="158"/>
                  </a:lnTo>
                  <a:lnTo>
                    <a:pt x="642" y="165"/>
                  </a:lnTo>
                  <a:lnTo>
                    <a:pt x="630" y="172"/>
                  </a:lnTo>
                  <a:lnTo>
                    <a:pt x="605" y="192"/>
                  </a:lnTo>
                  <a:lnTo>
                    <a:pt x="588" y="208"/>
                  </a:lnTo>
                  <a:lnTo>
                    <a:pt x="588" y="208"/>
                  </a:lnTo>
                  <a:lnTo>
                    <a:pt x="558" y="239"/>
                  </a:lnTo>
                  <a:lnTo>
                    <a:pt x="533" y="271"/>
                  </a:lnTo>
                  <a:lnTo>
                    <a:pt x="533" y="271"/>
                  </a:lnTo>
                  <a:lnTo>
                    <a:pt x="530" y="278"/>
                  </a:lnTo>
                  <a:lnTo>
                    <a:pt x="528" y="289"/>
                  </a:lnTo>
                  <a:lnTo>
                    <a:pt x="528" y="310"/>
                  </a:lnTo>
                  <a:lnTo>
                    <a:pt x="526" y="331"/>
                  </a:lnTo>
                  <a:lnTo>
                    <a:pt x="526" y="340"/>
                  </a:lnTo>
                  <a:lnTo>
                    <a:pt x="523" y="345"/>
                  </a:lnTo>
                  <a:lnTo>
                    <a:pt x="523" y="345"/>
                  </a:lnTo>
                  <a:lnTo>
                    <a:pt x="517" y="354"/>
                  </a:lnTo>
                  <a:lnTo>
                    <a:pt x="516" y="363"/>
                  </a:lnTo>
                  <a:lnTo>
                    <a:pt x="516" y="370"/>
                  </a:lnTo>
                  <a:lnTo>
                    <a:pt x="519" y="380"/>
                  </a:lnTo>
                  <a:lnTo>
                    <a:pt x="519" y="380"/>
                  </a:lnTo>
                  <a:lnTo>
                    <a:pt x="524" y="391"/>
                  </a:lnTo>
                  <a:lnTo>
                    <a:pt x="531" y="403"/>
                  </a:lnTo>
                  <a:lnTo>
                    <a:pt x="533" y="410"/>
                  </a:lnTo>
                  <a:lnTo>
                    <a:pt x="533" y="417"/>
                  </a:lnTo>
                  <a:lnTo>
                    <a:pt x="533" y="424"/>
                  </a:lnTo>
                  <a:lnTo>
                    <a:pt x="530" y="433"/>
                  </a:lnTo>
                  <a:lnTo>
                    <a:pt x="530" y="433"/>
                  </a:lnTo>
                  <a:lnTo>
                    <a:pt x="526" y="442"/>
                  </a:lnTo>
                  <a:lnTo>
                    <a:pt x="524" y="449"/>
                  </a:lnTo>
                  <a:lnTo>
                    <a:pt x="526" y="461"/>
                  </a:lnTo>
                  <a:lnTo>
                    <a:pt x="524" y="468"/>
                  </a:lnTo>
                  <a:lnTo>
                    <a:pt x="523" y="475"/>
                  </a:lnTo>
                  <a:lnTo>
                    <a:pt x="517" y="482"/>
                  </a:lnTo>
                  <a:lnTo>
                    <a:pt x="510" y="490"/>
                  </a:lnTo>
                  <a:lnTo>
                    <a:pt x="510" y="490"/>
                  </a:lnTo>
                  <a:lnTo>
                    <a:pt x="484" y="509"/>
                  </a:lnTo>
                  <a:lnTo>
                    <a:pt x="452" y="532"/>
                  </a:lnTo>
                  <a:lnTo>
                    <a:pt x="421" y="553"/>
                  </a:lnTo>
                  <a:lnTo>
                    <a:pt x="399" y="565"/>
                  </a:lnTo>
                  <a:lnTo>
                    <a:pt x="399" y="565"/>
                  </a:lnTo>
                  <a:lnTo>
                    <a:pt x="394" y="569"/>
                  </a:lnTo>
                  <a:lnTo>
                    <a:pt x="391" y="572"/>
                  </a:lnTo>
                  <a:lnTo>
                    <a:pt x="385" y="579"/>
                  </a:lnTo>
                  <a:lnTo>
                    <a:pt x="382" y="583"/>
                  </a:lnTo>
                  <a:lnTo>
                    <a:pt x="378" y="586"/>
                  </a:lnTo>
                  <a:lnTo>
                    <a:pt x="369" y="588"/>
                  </a:lnTo>
                  <a:lnTo>
                    <a:pt x="359" y="588"/>
                  </a:lnTo>
                  <a:lnTo>
                    <a:pt x="359" y="588"/>
                  </a:lnTo>
                  <a:lnTo>
                    <a:pt x="332" y="588"/>
                  </a:lnTo>
                  <a:lnTo>
                    <a:pt x="308" y="592"/>
                  </a:lnTo>
                  <a:lnTo>
                    <a:pt x="297" y="595"/>
                  </a:lnTo>
                  <a:lnTo>
                    <a:pt x="288" y="597"/>
                  </a:lnTo>
                  <a:lnTo>
                    <a:pt x="283" y="602"/>
                  </a:lnTo>
                  <a:lnTo>
                    <a:pt x="280" y="608"/>
                  </a:lnTo>
                  <a:lnTo>
                    <a:pt x="280" y="608"/>
                  </a:lnTo>
                  <a:lnTo>
                    <a:pt x="274" y="637"/>
                  </a:lnTo>
                  <a:lnTo>
                    <a:pt x="273" y="646"/>
                  </a:lnTo>
                  <a:lnTo>
                    <a:pt x="269" y="655"/>
                  </a:lnTo>
                  <a:lnTo>
                    <a:pt x="266" y="662"/>
                  </a:lnTo>
                  <a:lnTo>
                    <a:pt x="258" y="671"/>
                  </a:lnTo>
                  <a:lnTo>
                    <a:pt x="258" y="671"/>
                  </a:lnTo>
                  <a:lnTo>
                    <a:pt x="220" y="710"/>
                  </a:lnTo>
                  <a:lnTo>
                    <a:pt x="199" y="733"/>
                  </a:lnTo>
                  <a:lnTo>
                    <a:pt x="190" y="745"/>
                  </a:lnTo>
                  <a:lnTo>
                    <a:pt x="181" y="755"/>
                  </a:lnTo>
                  <a:lnTo>
                    <a:pt x="181" y="755"/>
                  </a:lnTo>
                  <a:lnTo>
                    <a:pt x="176" y="768"/>
                  </a:lnTo>
                  <a:lnTo>
                    <a:pt x="174" y="778"/>
                  </a:lnTo>
                  <a:lnTo>
                    <a:pt x="172" y="791"/>
                  </a:lnTo>
                  <a:lnTo>
                    <a:pt x="174" y="801"/>
                  </a:lnTo>
                  <a:lnTo>
                    <a:pt x="174" y="812"/>
                  </a:lnTo>
                  <a:lnTo>
                    <a:pt x="174" y="821"/>
                  </a:lnTo>
                  <a:lnTo>
                    <a:pt x="170" y="828"/>
                  </a:lnTo>
                  <a:lnTo>
                    <a:pt x="169" y="831"/>
                  </a:lnTo>
                  <a:lnTo>
                    <a:pt x="165" y="833"/>
                  </a:lnTo>
                  <a:lnTo>
                    <a:pt x="165" y="833"/>
                  </a:lnTo>
                  <a:lnTo>
                    <a:pt x="151" y="838"/>
                  </a:lnTo>
                  <a:lnTo>
                    <a:pt x="139" y="844"/>
                  </a:lnTo>
                  <a:lnTo>
                    <a:pt x="133" y="847"/>
                  </a:lnTo>
                  <a:lnTo>
                    <a:pt x="128" y="854"/>
                  </a:lnTo>
                  <a:lnTo>
                    <a:pt x="114" y="872"/>
                  </a:lnTo>
                  <a:lnTo>
                    <a:pt x="114" y="872"/>
                  </a:lnTo>
                  <a:lnTo>
                    <a:pt x="102" y="891"/>
                  </a:lnTo>
                  <a:lnTo>
                    <a:pt x="95" y="905"/>
                  </a:lnTo>
                  <a:lnTo>
                    <a:pt x="81" y="939"/>
                  </a:lnTo>
                  <a:lnTo>
                    <a:pt x="81" y="939"/>
                  </a:lnTo>
                  <a:lnTo>
                    <a:pt x="72" y="958"/>
                  </a:lnTo>
                  <a:lnTo>
                    <a:pt x="65" y="974"/>
                  </a:lnTo>
                  <a:lnTo>
                    <a:pt x="56" y="986"/>
                  </a:lnTo>
                  <a:lnTo>
                    <a:pt x="51" y="991"/>
                  </a:lnTo>
                  <a:lnTo>
                    <a:pt x="42" y="999"/>
                  </a:lnTo>
                  <a:lnTo>
                    <a:pt x="42" y="999"/>
                  </a:lnTo>
                  <a:lnTo>
                    <a:pt x="35" y="1006"/>
                  </a:lnTo>
                  <a:lnTo>
                    <a:pt x="30" y="1013"/>
                  </a:lnTo>
                  <a:lnTo>
                    <a:pt x="28" y="1020"/>
                  </a:lnTo>
                  <a:lnTo>
                    <a:pt x="26" y="1025"/>
                  </a:lnTo>
                  <a:lnTo>
                    <a:pt x="24" y="1037"/>
                  </a:lnTo>
                  <a:lnTo>
                    <a:pt x="23" y="1041"/>
                  </a:lnTo>
                  <a:lnTo>
                    <a:pt x="19" y="1044"/>
                  </a:lnTo>
                  <a:lnTo>
                    <a:pt x="19" y="1044"/>
                  </a:lnTo>
                  <a:lnTo>
                    <a:pt x="15" y="1048"/>
                  </a:lnTo>
                  <a:lnTo>
                    <a:pt x="10" y="1053"/>
                  </a:lnTo>
                  <a:lnTo>
                    <a:pt x="5" y="1065"/>
                  </a:lnTo>
                  <a:lnTo>
                    <a:pt x="0" y="1081"/>
                  </a:lnTo>
                  <a:lnTo>
                    <a:pt x="274" y="1102"/>
                  </a:lnTo>
                  <a:lnTo>
                    <a:pt x="274" y="1102"/>
                  </a:lnTo>
                  <a:lnTo>
                    <a:pt x="285" y="1090"/>
                  </a:lnTo>
                  <a:lnTo>
                    <a:pt x="290" y="1078"/>
                  </a:lnTo>
                  <a:lnTo>
                    <a:pt x="294" y="1071"/>
                  </a:lnTo>
                  <a:lnTo>
                    <a:pt x="294" y="1064"/>
                  </a:lnTo>
                  <a:lnTo>
                    <a:pt x="294" y="1064"/>
                  </a:lnTo>
                  <a:lnTo>
                    <a:pt x="290" y="1027"/>
                  </a:lnTo>
                  <a:lnTo>
                    <a:pt x="290" y="1016"/>
                  </a:lnTo>
                  <a:lnTo>
                    <a:pt x="292" y="1006"/>
                  </a:lnTo>
                  <a:lnTo>
                    <a:pt x="294" y="997"/>
                  </a:lnTo>
                  <a:lnTo>
                    <a:pt x="297" y="988"/>
                  </a:lnTo>
                  <a:lnTo>
                    <a:pt x="297" y="988"/>
                  </a:lnTo>
                  <a:lnTo>
                    <a:pt x="303" y="981"/>
                  </a:lnTo>
                  <a:lnTo>
                    <a:pt x="310" y="974"/>
                  </a:lnTo>
                  <a:lnTo>
                    <a:pt x="327" y="962"/>
                  </a:lnTo>
                  <a:lnTo>
                    <a:pt x="345" y="949"/>
                  </a:lnTo>
                  <a:lnTo>
                    <a:pt x="350" y="944"/>
                  </a:lnTo>
                  <a:lnTo>
                    <a:pt x="355" y="937"/>
                  </a:lnTo>
                  <a:lnTo>
                    <a:pt x="355" y="937"/>
                  </a:lnTo>
                  <a:lnTo>
                    <a:pt x="359" y="928"/>
                  </a:lnTo>
                  <a:lnTo>
                    <a:pt x="361" y="914"/>
                  </a:lnTo>
                  <a:lnTo>
                    <a:pt x="362" y="882"/>
                  </a:lnTo>
                  <a:lnTo>
                    <a:pt x="364" y="842"/>
                  </a:lnTo>
                  <a:lnTo>
                    <a:pt x="366" y="771"/>
                  </a:lnTo>
                  <a:lnTo>
                    <a:pt x="607" y="764"/>
                  </a:lnTo>
                  <a:lnTo>
                    <a:pt x="611" y="576"/>
                  </a:lnTo>
                  <a:lnTo>
                    <a:pt x="611" y="576"/>
                  </a:lnTo>
                  <a:lnTo>
                    <a:pt x="612" y="571"/>
                  </a:lnTo>
                  <a:lnTo>
                    <a:pt x="616" y="556"/>
                  </a:lnTo>
                  <a:lnTo>
                    <a:pt x="620" y="548"/>
                  </a:lnTo>
                  <a:lnTo>
                    <a:pt x="623" y="539"/>
                  </a:lnTo>
                  <a:lnTo>
                    <a:pt x="630" y="532"/>
                  </a:lnTo>
                  <a:lnTo>
                    <a:pt x="639" y="525"/>
                  </a:lnTo>
                  <a:lnTo>
                    <a:pt x="639" y="525"/>
                  </a:lnTo>
                  <a:lnTo>
                    <a:pt x="669" y="509"/>
                  </a:lnTo>
                  <a:lnTo>
                    <a:pt x="686" y="500"/>
                  </a:lnTo>
                  <a:lnTo>
                    <a:pt x="686" y="500"/>
                  </a:lnTo>
                  <a:lnTo>
                    <a:pt x="693" y="497"/>
                  </a:lnTo>
                  <a:lnTo>
                    <a:pt x="709" y="491"/>
                  </a:lnTo>
                  <a:lnTo>
                    <a:pt x="737" y="481"/>
                  </a:lnTo>
                  <a:lnTo>
                    <a:pt x="737" y="481"/>
                  </a:lnTo>
                  <a:lnTo>
                    <a:pt x="804" y="465"/>
                  </a:lnTo>
                  <a:lnTo>
                    <a:pt x="804" y="465"/>
                  </a:lnTo>
                  <a:lnTo>
                    <a:pt x="808" y="465"/>
                  </a:lnTo>
                  <a:lnTo>
                    <a:pt x="813" y="465"/>
                  </a:lnTo>
                  <a:lnTo>
                    <a:pt x="819" y="465"/>
                  </a:lnTo>
                  <a:lnTo>
                    <a:pt x="824" y="463"/>
                  </a:lnTo>
                  <a:lnTo>
                    <a:pt x="824" y="463"/>
                  </a:lnTo>
                  <a:lnTo>
                    <a:pt x="834" y="460"/>
                  </a:lnTo>
                  <a:lnTo>
                    <a:pt x="845" y="453"/>
                  </a:lnTo>
                  <a:lnTo>
                    <a:pt x="857" y="440"/>
                  </a:lnTo>
                  <a:lnTo>
                    <a:pt x="857" y="440"/>
                  </a:lnTo>
                  <a:lnTo>
                    <a:pt x="882" y="408"/>
                  </a:lnTo>
                  <a:lnTo>
                    <a:pt x="892" y="396"/>
                  </a:lnTo>
                  <a:lnTo>
                    <a:pt x="900" y="391"/>
                  </a:lnTo>
                  <a:lnTo>
                    <a:pt x="900" y="391"/>
                  </a:lnTo>
                  <a:lnTo>
                    <a:pt x="929" y="384"/>
                  </a:lnTo>
                  <a:lnTo>
                    <a:pt x="929" y="384"/>
                  </a:lnTo>
                  <a:lnTo>
                    <a:pt x="931" y="386"/>
                  </a:lnTo>
                  <a:lnTo>
                    <a:pt x="935" y="386"/>
                  </a:lnTo>
                  <a:lnTo>
                    <a:pt x="938" y="384"/>
                  </a:lnTo>
                  <a:lnTo>
                    <a:pt x="940" y="382"/>
                  </a:lnTo>
                  <a:lnTo>
                    <a:pt x="944" y="377"/>
                  </a:lnTo>
                  <a:lnTo>
                    <a:pt x="945" y="370"/>
                  </a:lnTo>
                  <a:lnTo>
                    <a:pt x="945" y="370"/>
                  </a:lnTo>
                  <a:lnTo>
                    <a:pt x="951" y="349"/>
                  </a:lnTo>
                  <a:lnTo>
                    <a:pt x="956" y="338"/>
                  </a:lnTo>
                  <a:lnTo>
                    <a:pt x="961" y="326"/>
                  </a:lnTo>
                  <a:lnTo>
                    <a:pt x="966" y="313"/>
                  </a:lnTo>
                  <a:lnTo>
                    <a:pt x="975" y="305"/>
                  </a:lnTo>
                  <a:lnTo>
                    <a:pt x="986" y="298"/>
                  </a:lnTo>
                  <a:lnTo>
                    <a:pt x="998" y="292"/>
                  </a:lnTo>
                  <a:lnTo>
                    <a:pt x="1079" y="292"/>
                  </a:lnTo>
                  <a:lnTo>
                    <a:pt x="1079" y="292"/>
                  </a:lnTo>
                  <a:lnTo>
                    <a:pt x="1081" y="294"/>
                  </a:lnTo>
                  <a:lnTo>
                    <a:pt x="1086" y="292"/>
                  </a:lnTo>
                  <a:lnTo>
                    <a:pt x="1090" y="289"/>
                  </a:lnTo>
                  <a:lnTo>
                    <a:pt x="1093" y="285"/>
                  </a:lnTo>
                  <a:lnTo>
                    <a:pt x="1097" y="278"/>
                  </a:lnTo>
                  <a:lnTo>
                    <a:pt x="1100" y="268"/>
                  </a:lnTo>
                  <a:lnTo>
                    <a:pt x="1100" y="268"/>
                  </a:lnTo>
                  <a:lnTo>
                    <a:pt x="1099" y="259"/>
                  </a:lnTo>
                  <a:lnTo>
                    <a:pt x="1095" y="243"/>
                  </a:lnTo>
                  <a:lnTo>
                    <a:pt x="1095" y="243"/>
                  </a:lnTo>
                  <a:lnTo>
                    <a:pt x="1091" y="234"/>
                  </a:lnTo>
                  <a:lnTo>
                    <a:pt x="1090" y="222"/>
                  </a:lnTo>
                  <a:lnTo>
                    <a:pt x="1088" y="202"/>
                  </a:lnTo>
                  <a:lnTo>
                    <a:pt x="1088" y="202"/>
                  </a:lnTo>
                  <a:lnTo>
                    <a:pt x="1083" y="174"/>
                  </a:lnTo>
                  <a:lnTo>
                    <a:pt x="1079" y="157"/>
                  </a:lnTo>
                  <a:lnTo>
                    <a:pt x="1074" y="146"/>
                  </a:lnTo>
                  <a:lnTo>
                    <a:pt x="1074" y="146"/>
                  </a:lnTo>
                  <a:lnTo>
                    <a:pt x="1070" y="139"/>
                  </a:lnTo>
                  <a:lnTo>
                    <a:pt x="1067" y="128"/>
                  </a:lnTo>
                  <a:lnTo>
                    <a:pt x="1062" y="111"/>
                  </a:lnTo>
                  <a:lnTo>
                    <a:pt x="1062" y="111"/>
                  </a:lnTo>
                  <a:lnTo>
                    <a:pt x="1056" y="72"/>
                  </a:lnTo>
                  <a:lnTo>
                    <a:pt x="1053" y="37"/>
                  </a:lnTo>
                  <a:lnTo>
                    <a:pt x="1053" y="3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7" name="Freeform 11">
              <a:extLst>
                <a:ext uri="{FF2B5EF4-FFF2-40B4-BE49-F238E27FC236}">
                  <a16:creationId xmlns:a16="http://schemas.microsoft.com/office/drawing/2014/main" id="{CB0407B5-FB80-4DF5-8EC2-4DEF8612DA13}"/>
                </a:ext>
              </a:extLst>
            </p:cNvPr>
            <p:cNvSpPr>
              <a:spLocks/>
            </p:cNvSpPr>
            <p:nvPr/>
          </p:nvSpPr>
          <p:spPr bwMode="auto">
            <a:xfrm>
              <a:off x="2518995" y="2261208"/>
              <a:ext cx="772713" cy="865511"/>
            </a:xfrm>
            <a:custGeom>
              <a:avLst/>
              <a:gdLst/>
              <a:ahLst/>
              <a:cxnLst>
                <a:cxn ang="0">
                  <a:pos x="333" y="965"/>
                </a:cxn>
                <a:cxn ang="0">
                  <a:pos x="342" y="954"/>
                </a:cxn>
                <a:cxn ang="0">
                  <a:pos x="375" y="946"/>
                </a:cxn>
                <a:cxn ang="0">
                  <a:pos x="405" y="944"/>
                </a:cxn>
                <a:cxn ang="0">
                  <a:pos x="470" y="947"/>
                </a:cxn>
                <a:cxn ang="0">
                  <a:pos x="521" y="942"/>
                </a:cxn>
                <a:cxn ang="0">
                  <a:pos x="738" y="935"/>
                </a:cxn>
                <a:cxn ang="0">
                  <a:pos x="777" y="933"/>
                </a:cxn>
                <a:cxn ang="0">
                  <a:pos x="800" y="925"/>
                </a:cxn>
                <a:cxn ang="0">
                  <a:pos x="812" y="898"/>
                </a:cxn>
                <a:cxn ang="0">
                  <a:pos x="803" y="842"/>
                </a:cxn>
                <a:cxn ang="0">
                  <a:pos x="726" y="260"/>
                </a:cxn>
                <a:cxn ang="0">
                  <a:pos x="796" y="183"/>
                </a:cxn>
                <a:cxn ang="0">
                  <a:pos x="715" y="130"/>
                </a:cxn>
                <a:cxn ang="0">
                  <a:pos x="682" y="114"/>
                </a:cxn>
                <a:cxn ang="0">
                  <a:pos x="645" y="86"/>
                </a:cxn>
                <a:cxn ang="0">
                  <a:pos x="629" y="60"/>
                </a:cxn>
                <a:cxn ang="0">
                  <a:pos x="611" y="188"/>
                </a:cxn>
                <a:cxn ang="0">
                  <a:pos x="368" y="257"/>
                </a:cxn>
                <a:cxn ang="0">
                  <a:pos x="365" y="336"/>
                </a:cxn>
                <a:cxn ang="0">
                  <a:pos x="354" y="364"/>
                </a:cxn>
                <a:cxn ang="0">
                  <a:pos x="342" y="375"/>
                </a:cxn>
                <a:cxn ang="0">
                  <a:pos x="301" y="412"/>
                </a:cxn>
                <a:cxn ang="0">
                  <a:pos x="296" y="431"/>
                </a:cxn>
                <a:cxn ang="0">
                  <a:pos x="299" y="482"/>
                </a:cxn>
                <a:cxn ang="0">
                  <a:pos x="294" y="500"/>
                </a:cxn>
                <a:cxn ang="0">
                  <a:pos x="278" y="526"/>
                </a:cxn>
                <a:cxn ang="0">
                  <a:pos x="0" y="511"/>
                </a:cxn>
                <a:cxn ang="0">
                  <a:pos x="2" y="523"/>
                </a:cxn>
                <a:cxn ang="0">
                  <a:pos x="11" y="553"/>
                </a:cxn>
                <a:cxn ang="0">
                  <a:pos x="14" y="563"/>
                </a:cxn>
                <a:cxn ang="0">
                  <a:pos x="21" y="563"/>
                </a:cxn>
                <a:cxn ang="0">
                  <a:pos x="62" y="570"/>
                </a:cxn>
                <a:cxn ang="0">
                  <a:pos x="71" y="579"/>
                </a:cxn>
                <a:cxn ang="0">
                  <a:pos x="69" y="585"/>
                </a:cxn>
                <a:cxn ang="0">
                  <a:pos x="63" y="602"/>
                </a:cxn>
                <a:cxn ang="0">
                  <a:pos x="60" y="618"/>
                </a:cxn>
                <a:cxn ang="0">
                  <a:pos x="49" y="629"/>
                </a:cxn>
                <a:cxn ang="0">
                  <a:pos x="51" y="644"/>
                </a:cxn>
                <a:cxn ang="0">
                  <a:pos x="67" y="689"/>
                </a:cxn>
                <a:cxn ang="0">
                  <a:pos x="86" y="740"/>
                </a:cxn>
                <a:cxn ang="0">
                  <a:pos x="86" y="770"/>
                </a:cxn>
                <a:cxn ang="0">
                  <a:pos x="63" y="819"/>
                </a:cxn>
                <a:cxn ang="0">
                  <a:pos x="56" y="845"/>
                </a:cxn>
                <a:cxn ang="0">
                  <a:pos x="60" y="875"/>
                </a:cxn>
                <a:cxn ang="0">
                  <a:pos x="113" y="852"/>
                </a:cxn>
                <a:cxn ang="0">
                  <a:pos x="136" y="845"/>
                </a:cxn>
                <a:cxn ang="0">
                  <a:pos x="157" y="844"/>
                </a:cxn>
                <a:cxn ang="0">
                  <a:pos x="196" y="854"/>
                </a:cxn>
                <a:cxn ang="0">
                  <a:pos x="201" y="863"/>
                </a:cxn>
                <a:cxn ang="0">
                  <a:pos x="206" y="873"/>
                </a:cxn>
                <a:cxn ang="0">
                  <a:pos x="224" y="873"/>
                </a:cxn>
                <a:cxn ang="0">
                  <a:pos x="259" y="886"/>
                </a:cxn>
                <a:cxn ang="0">
                  <a:pos x="264" y="891"/>
                </a:cxn>
                <a:cxn ang="0">
                  <a:pos x="289" y="944"/>
                </a:cxn>
                <a:cxn ang="0">
                  <a:pos x="310" y="965"/>
                </a:cxn>
                <a:cxn ang="0">
                  <a:pos x="329" y="970"/>
                </a:cxn>
              </a:cxnLst>
              <a:rect l="0" t="0" r="r" b="b"/>
              <a:pathLst>
                <a:path w="867" h="970">
                  <a:moveTo>
                    <a:pt x="333" y="969"/>
                  </a:moveTo>
                  <a:lnTo>
                    <a:pt x="333" y="969"/>
                  </a:lnTo>
                  <a:lnTo>
                    <a:pt x="333" y="965"/>
                  </a:lnTo>
                  <a:lnTo>
                    <a:pt x="335" y="963"/>
                  </a:lnTo>
                  <a:lnTo>
                    <a:pt x="336" y="960"/>
                  </a:lnTo>
                  <a:lnTo>
                    <a:pt x="342" y="954"/>
                  </a:lnTo>
                  <a:lnTo>
                    <a:pt x="349" y="951"/>
                  </a:lnTo>
                  <a:lnTo>
                    <a:pt x="361" y="947"/>
                  </a:lnTo>
                  <a:lnTo>
                    <a:pt x="375" y="946"/>
                  </a:lnTo>
                  <a:lnTo>
                    <a:pt x="375" y="946"/>
                  </a:lnTo>
                  <a:lnTo>
                    <a:pt x="391" y="944"/>
                  </a:lnTo>
                  <a:lnTo>
                    <a:pt x="405" y="944"/>
                  </a:lnTo>
                  <a:lnTo>
                    <a:pt x="428" y="947"/>
                  </a:lnTo>
                  <a:lnTo>
                    <a:pt x="454" y="949"/>
                  </a:lnTo>
                  <a:lnTo>
                    <a:pt x="470" y="947"/>
                  </a:lnTo>
                  <a:lnTo>
                    <a:pt x="491" y="946"/>
                  </a:lnTo>
                  <a:lnTo>
                    <a:pt x="491" y="946"/>
                  </a:lnTo>
                  <a:lnTo>
                    <a:pt x="521" y="942"/>
                  </a:lnTo>
                  <a:lnTo>
                    <a:pt x="560" y="940"/>
                  </a:lnTo>
                  <a:lnTo>
                    <a:pt x="655" y="937"/>
                  </a:lnTo>
                  <a:lnTo>
                    <a:pt x="738" y="935"/>
                  </a:lnTo>
                  <a:lnTo>
                    <a:pt x="766" y="935"/>
                  </a:lnTo>
                  <a:lnTo>
                    <a:pt x="777" y="933"/>
                  </a:lnTo>
                  <a:lnTo>
                    <a:pt x="777" y="933"/>
                  </a:lnTo>
                  <a:lnTo>
                    <a:pt x="786" y="932"/>
                  </a:lnTo>
                  <a:lnTo>
                    <a:pt x="793" y="928"/>
                  </a:lnTo>
                  <a:lnTo>
                    <a:pt x="800" y="925"/>
                  </a:lnTo>
                  <a:lnTo>
                    <a:pt x="807" y="919"/>
                  </a:lnTo>
                  <a:lnTo>
                    <a:pt x="810" y="910"/>
                  </a:lnTo>
                  <a:lnTo>
                    <a:pt x="812" y="898"/>
                  </a:lnTo>
                  <a:lnTo>
                    <a:pt x="810" y="882"/>
                  </a:lnTo>
                  <a:lnTo>
                    <a:pt x="810" y="882"/>
                  </a:lnTo>
                  <a:lnTo>
                    <a:pt x="803" y="842"/>
                  </a:lnTo>
                  <a:lnTo>
                    <a:pt x="793" y="764"/>
                  </a:lnTo>
                  <a:lnTo>
                    <a:pt x="763" y="553"/>
                  </a:lnTo>
                  <a:lnTo>
                    <a:pt x="726" y="260"/>
                  </a:lnTo>
                  <a:lnTo>
                    <a:pt x="867" y="245"/>
                  </a:lnTo>
                  <a:lnTo>
                    <a:pt x="796" y="183"/>
                  </a:lnTo>
                  <a:lnTo>
                    <a:pt x="796" y="183"/>
                  </a:lnTo>
                  <a:lnTo>
                    <a:pt x="759" y="158"/>
                  </a:lnTo>
                  <a:lnTo>
                    <a:pt x="731" y="139"/>
                  </a:lnTo>
                  <a:lnTo>
                    <a:pt x="715" y="130"/>
                  </a:lnTo>
                  <a:lnTo>
                    <a:pt x="715" y="130"/>
                  </a:lnTo>
                  <a:lnTo>
                    <a:pt x="703" y="125"/>
                  </a:lnTo>
                  <a:lnTo>
                    <a:pt x="682" y="114"/>
                  </a:lnTo>
                  <a:lnTo>
                    <a:pt x="659" y="100"/>
                  </a:lnTo>
                  <a:lnTo>
                    <a:pt x="650" y="93"/>
                  </a:lnTo>
                  <a:lnTo>
                    <a:pt x="645" y="86"/>
                  </a:lnTo>
                  <a:lnTo>
                    <a:pt x="645" y="86"/>
                  </a:lnTo>
                  <a:lnTo>
                    <a:pt x="636" y="74"/>
                  </a:lnTo>
                  <a:lnTo>
                    <a:pt x="629" y="60"/>
                  </a:lnTo>
                  <a:lnTo>
                    <a:pt x="622" y="39"/>
                  </a:lnTo>
                  <a:lnTo>
                    <a:pt x="615" y="0"/>
                  </a:lnTo>
                  <a:lnTo>
                    <a:pt x="611" y="188"/>
                  </a:lnTo>
                  <a:lnTo>
                    <a:pt x="370" y="195"/>
                  </a:lnTo>
                  <a:lnTo>
                    <a:pt x="370" y="195"/>
                  </a:lnTo>
                  <a:lnTo>
                    <a:pt x="368" y="257"/>
                  </a:lnTo>
                  <a:lnTo>
                    <a:pt x="366" y="331"/>
                  </a:lnTo>
                  <a:lnTo>
                    <a:pt x="366" y="331"/>
                  </a:lnTo>
                  <a:lnTo>
                    <a:pt x="365" y="336"/>
                  </a:lnTo>
                  <a:lnTo>
                    <a:pt x="361" y="349"/>
                  </a:lnTo>
                  <a:lnTo>
                    <a:pt x="359" y="357"/>
                  </a:lnTo>
                  <a:lnTo>
                    <a:pt x="354" y="364"/>
                  </a:lnTo>
                  <a:lnTo>
                    <a:pt x="349" y="371"/>
                  </a:lnTo>
                  <a:lnTo>
                    <a:pt x="342" y="375"/>
                  </a:lnTo>
                  <a:lnTo>
                    <a:pt x="342" y="375"/>
                  </a:lnTo>
                  <a:lnTo>
                    <a:pt x="322" y="393"/>
                  </a:lnTo>
                  <a:lnTo>
                    <a:pt x="307" y="405"/>
                  </a:lnTo>
                  <a:lnTo>
                    <a:pt x="301" y="412"/>
                  </a:lnTo>
                  <a:lnTo>
                    <a:pt x="299" y="417"/>
                  </a:lnTo>
                  <a:lnTo>
                    <a:pt x="299" y="417"/>
                  </a:lnTo>
                  <a:lnTo>
                    <a:pt x="296" y="431"/>
                  </a:lnTo>
                  <a:lnTo>
                    <a:pt x="296" y="451"/>
                  </a:lnTo>
                  <a:lnTo>
                    <a:pt x="298" y="470"/>
                  </a:lnTo>
                  <a:lnTo>
                    <a:pt x="299" y="482"/>
                  </a:lnTo>
                  <a:lnTo>
                    <a:pt x="299" y="482"/>
                  </a:lnTo>
                  <a:lnTo>
                    <a:pt x="298" y="488"/>
                  </a:lnTo>
                  <a:lnTo>
                    <a:pt x="294" y="500"/>
                  </a:lnTo>
                  <a:lnTo>
                    <a:pt x="289" y="514"/>
                  </a:lnTo>
                  <a:lnTo>
                    <a:pt x="284" y="521"/>
                  </a:lnTo>
                  <a:lnTo>
                    <a:pt x="278" y="526"/>
                  </a:lnTo>
                  <a:lnTo>
                    <a:pt x="4" y="505"/>
                  </a:lnTo>
                  <a:lnTo>
                    <a:pt x="4" y="505"/>
                  </a:lnTo>
                  <a:lnTo>
                    <a:pt x="0" y="511"/>
                  </a:lnTo>
                  <a:lnTo>
                    <a:pt x="0" y="516"/>
                  </a:lnTo>
                  <a:lnTo>
                    <a:pt x="2" y="523"/>
                  </a:lnTo>
                  <a:lnTo>
                    <a:pt x="2" y="523"/>
                  </a:lnTo>
                  <a:lnTo>
                    <a:pt x="9" y="539"/>
                  </a:lnTo>
                  <a:lnTo>
                    <a:pt x="11" y="546"/>
                  </a:lnTo>
                  <a:lnTo>
                    <a:pt x="11" y="553"/>
                  </a:lnTo>
                  <a:lnTo>
                    <a:pt x="11" y="553"/>
                  </a:lnTo>
                  <a:lnTo>
                    <a:pt x="12" y="560"/>
                  </a:lnTo>
                  <a:lnTo>
                    <a:pt x="14" y="563"/>
                  </a:lnTo>
                  <a:lnTo>
                    <a:pt x="18" y="565"/>
                  </a:lnTo>
                  <a:lnTo>
                    <a:pt x="21" y="563"/>
                  </a:lnTo>
                  <a:lnTo>
                    <a:pt x="21" y="563"/>
                  </a:lnTo>
                  <a:lnTo>
                    <a:pt x="34" y="563"/>
                  </a:lnTo>
                  <a:lnTo>
                    <a:pt x="53" y="567"/>
                  </a:lnTo>
                  <a:lnTo>
                    <a:pt x="62" y="570"/>
                  </a:lnTo>
                  <a:lnTo>
                    <a:pt x="67" y="574"/>
                  </a:lnTo>
                  <a:lnTo>
                    <a:pt x="71" y="576"/>
                  </a:lnTo>
                  <a:lnTo>
                    <a:pt x="71" y="579"/>
                  </a:lnTo>
                  <a:lnTo>
                    <a:pt x="71" y="581"/>
                  </a:lnTo>
                  <a:lnTo>
                    <a:pt x="69" y="585"/>
                  </a:lnTo>
                  <a:lnTo>
                    <a:pt x="69" y="585"/>
                  </a:lnTo>
                  <a:lnTo>
                    <a:pt x="65" y="590"/>
                  </a:lnTo>
                  <a:lnTo>
                    <a:pt x="63" y="595"/>
                  </a:lnTo>
                  <a:lnTo>
                    <a:pt x="63" y="602"/>
                  </a:lnTo>
                  <a:lnTo>
                    <a:pt x="63" y="611"/>
                  </a:lnTo>
                  <a:lnTo>
                    <a:pt x="63" y="615"/>
                  </a:lnTo>
                  <a:lnTo>
                    <a:pt x="60" y="618"/>
                  </a:lnTo>
                  <a:lnTo>
                    <a:pt x="60" y="618"/>
                  </a:lnTo>
                  <a:lnTo>
                    <a:pt x="53" y="625"/>
                  </a:lnTo>
                  <a:lnTo>
                    <a:pt x="49" y="629"/>
                  </a:lnTo>
                  <a:lnTo>
                    <a:pt x="49" y="634"/>
                  </a:lnTo>
                  <a:lnTo>
                    <a:pt x="51" y="644"/>
                  </a:lnTo>
                  <a:lnTo>
                    <a:pt x="51" y="644"/>
                  </a:lnTo>
                  <a:lnTo>
                    <a:pt x="60" y="669"/>
                  </a:lnTo>
                  <a:lnTo>
                    <a:pt x="67" y="689"/>
                  </a:lnTo>
                  <a:lnTo>
                    <a:pt x="67" y="689"/>
                  </a:lnTo>
                  <a:lnTo>
                    <a:pt x="74" y="704"/>
                  </a:lnTo>
                  <a:lnTo>
                    <a:pt x="83" y="727"/>
                  </a:lnTo>
                  <a:lnTo>
                    <a:pt x="86" y="740"/>
                  </a:lnTo>
                  <a:lnTo>
                    <a:pt x="90" y="752"/>
                  </a:lnTo>
                  <a:lnTo>
                    <a:pt x="90" y="762"/>
                  </a:lnTo>
                  <a:lnTo>
                    <a:pt x="86" y="770"/>
                  </a:lnTo>
                  <a:lnTo>
                    <a:pt x="86" y="770"/>
                  </a:lnTo>
                  <a:lnTo>
                    <a:pt x="71" y="803"/>
                  </a:lnTo>
                  <a:lnTo>
                    <a:pt x="63" y="819"/>
                  </a:lnTo>
                  <a:lnTo>
                    <a:pt x="58" y="833"/>
                  </a:lnTo>
                  <a:lnTo>
                    <a:pt x="58" y="833"/>
                  </a:lnTo>
                  <a:lnTo>
                    <a:pt x="56" y="845"/>
                  </a:lnTo>
                  <a:lnTo>
                    <a:pt x="58" y="859"/>
                  </a:lnTo>
                  <a:lnTo>
                    <a:pt x="60" y="875"/>
                  </a:lnTo>
                  <a:lnTo>
                    <a:pt x="60" y="875"/>
                  </a:lnTo>
                  <a:lnTo>
                    <a:pt x="79" y="866"/>
                  </a:lnTo>
                  <a:lnTo>
                    <a:pt x="97" y="858"/>
                  </a:lnTo>
                  <a:lnTo>
                    <a:pt x="113" y="852"/>
                  </a:lnTo>
                  <a:lnTo>
                    <a:pt x="113" y="852"/>
                  </a:lnTo>
                  <a:lnTo>
                    <a:pt x="125" y="849"/>
                  </a:lnTo>
                  <a:lnTo>
                    <a:pt x="136" y="845"/>
                  </a:lnTo>
                  <a:lnTo>
                    <a:pt x="146" y="842"/>
                  </a:lnTo>
                  <a:lnTo>
                    <a:pt x="157" y="844"/>
                  </a:lnTo>
                  <a:lnTo>
                    <a:pt x="157" y="844"/>
                  </a:lnTo>
                  <a:lnTo>
                    <a:pt x="185" y="849"/>
                  </a:lnTo>
                  <a:lnTo>
                    <a:pt x="190" y="852"/>
                  </a:lnTo>
                  <a:lnTo>
                    <a:pt x="196" y="854"/>
                  </a:lnTo>
                  <a:lnTo>
                    <a:pt x="199" y="859"/>
                  </a:lnTo>
                  <a:lnTo>
                    <a:pt x="201" y="863"/>
                  </a:lnTo>
                  <a:lnTo>
                    <a:pt x="201" y="863"/>
                  </a:lnTo>
                  <a:lnTo>
                    <a:pt x="203" y="872"/>
                  </a:lnTo>
                  <a:lnTo>
                    <a:pt x="204" y="872"/>
                  </a:lnTo>
                  <a:lnTo>
                    <a:pt x="206" y="873"/>
                  </a:lnTo>
                  <a:lnTo>
                    <a:pt x="211" y="873"/>
                  </a:lnTo>
                  <a:lnTo>
                    <a:pt x="224" y="873"/>
                  </a:lnTo>
                  <a:lnTo>
                    <a:pt x="224" y="873"/>
                  </a:lnTo>
                  <a:lnTo>
                    <a:pt x="238" y="877"/>
                  </a:lnTo>
                  <a:lnTo>
                    <a:pt x="250" y="880"/>
                  </a:lnTo>
                  <a:lnTo>
                    <a:pt x="259" y="886"/>
                  </a:lnTo>
                  <a:lnTo>
                    <a:pt x="262" y="888"/>
                  </a:lnTo>
                  <a:lnTo>
                    <a:pt x="264" y="891"/>
                  </a:lnTo>
                  <a:lnTo>
                    <a:pt x="264" y="891"/>
                  </a:lnTo>
                  <a:lnTo>
                    <a:pt x="273" y="917"/>
                  </a:lnTo>
                  <a:lnTo>
                    <a:pt x="280" y="932"/>
                  </a:lnTo>
                  <a:lnTo>
                    <a:pt x="289" y="944"/>
                  </a:lnTo>
                  <a:lnTo>
                    <a:pt x="289" y="944"/>
                  </a:lnTo>
                  <a:lnTo>
                    <a:pt x="298" y="956"/>
                  </a:lnTo>
                  <a:lnTo>
                    <a:pt x="310" y="965"/>
                  </a:lnTo>
                  <a:lnTo>
                    <a:pt x="317" y="969"/>
                  </a:lnTo>
                  <a:lnTo>
                    <a:pt x="322" y="970"/>
                  </a:lnTo>
                  <a:lnTo>
                    <a:pt x="329" y="970"/>
                  </a:lnTo>
                  <a:lnTo>
                    <a:pt x="333" y="969"/>
                  </a:lnTo>
                  <a:lnTo>
                    <a:pt x="333" y="96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8" name="Freeform 12">
              <a:extLst>
                <a:ext uri="{FF2B5EF4-FFF2-40B4-BE49-F238E27FC236}">
                  <a16:creationId xmlns:a16="http://schemas.microsoft.com/office/drawing/2014/main" id="{5393B289-A258-4BB8-9F63-78847B9E6F00}"/>
                </a:ext>
              </a:extLst>
            </p:cNvPr>
            <p:cNvSpPr>
              <a:spLocks/>
            </p:cNvSpPr>
            <p:nvPr/>
          </p:nvSpPr>
          <p:spPr bwMode="auto">
            <a:xfrm>
              <a:off x="2522564" y="3010722"/>
              <a:ext cx="360480" cy="298022"/>
            </a:xfrm>
            <a:custGeom>
              <a:avLst/>
              <a:gdLst/>
              <a:ahLst/>
              <a:cxnLst>
                <a:cxn ang="0">
                  <a:pos x="386" y="335"/>
                </a:cxn>
                <a:cxn ang="0">
                  <a:pos x="358" y="329"/>
                </a:cxn>
                <a:cxn ang="0">
                  <a:pos x="275" y="301"/>
                </a:cxn>
                <a:cxn ang="0">
                  <a:pos x="217" y="296"/>
                </a:cxn>
                <a:cxn ang="0">
                  <a:pos x="164" y="294"/>
                </a:cxn>
                <a:cxn ang="0">
                  <a:pos x="127" y="298"/>
                </a:cxn>
                <a:cxn ang="0">
                  <a:pos x="99" y="306"/>
                </a:cxn>
                <a:cxn ang="0">
                  <a:pos x="74" y="317"/>
                </a:cxn>
                <a:cxn ang="0">
                  <a:pos x="64" y="321"/>
                </a:cxn>
                <a:cxn ang="0">
                  <a:pos x="50" y="312"/>
                </a:cxn>
                <a:cxn ang="0">
                  <a:pos x="39" y="292"/>
                </a:cxn>
                <a:cxn ang="0">
                  <a:pos x="25" y="280"/>
                </a:cxn>
                <a:cxn ang="0">
                  <a:pos x="20" y="266"/>
                </a:cxn>
                <a:cxn ang="0">
                  <a:pos x="29" y="252"/>
                </a:cxn>
                <a:cxn ang="0">
                  <a:pos x="43" y="236"/>
                </a:cxn>
                <a:cxn ang="0">
                  <a:pos x="44" y="217"/>
                </a:cxn>
                <a:cxn ang="0">
                  <a:pos x="30" y="210"/>
                </a:cxn>
                <a:cxn ang="0">
                  <a:pos x="29" y="201"/>
                </a:cxn>
                <a:cxn ang="0">
                  <a:pos x="23" y="192"/>
                </a:cxn>
                <a:cxn ang="0">
                  <a:pos x="9" y="178"/>
                </a:cxn>
                <a:cxn ang="0">
                  <a:pos x="0" y="146"/>
                </a:cxn>
                <a:cxn ang="0">
                  <a:pos x="4" y="123"/>
                </a:cxn>
                <a:cxn ang="0">
                  <a:pos x="18" y="107"/>
                </a:cxn>
                <a:cxn ang="0">
                  <a:pos x="43" y="85"/>
                </a:cxn>
                <a:cxn ang="0">
                  <a:pos x="50" y="72"/>
                </a:cxn>
                <a:cxn ang="0">
                  <a:pos x="55" y="35"/>
                </a:cxn>
                <a:cxn ang="0">
                  <a:pos x="104" y="12"/>
                </a:cxn>
                <a:cxn ang="0">
                  <a:pos x="124" y="7"/>
                </a:cxn>
                <a:cxn ang="0">
                  <a:pos x="141" y="0"/>
                </a:cxn>
                <a:cxn ang="0">
                  <a:pos x="191" y="12"/>
                </a:cxn>
                <a:cxn ang="0">
                  <a:pos x="194" y="23"/>
                </a:cxn>
                <a:cxn ang="0">
                  <a:pos x="205" y="33"/>
                </a:cxn>
                <a:cxn ang="0">
                  <a:pos x="219" y="33"/>
                </a:cxn>
                <a:cxn ang="0">
                  <a:pos x="254" y="44"/>
                </a:cxn>
                <a:cxn ang="0">
                  <a:pos x="266" y="72"/>
                </a:cxn>
                <a:cxn ang="0">
                  <a:pos x="284" y="104"/>
                </a:cxn>
                <a:cxn ang="0">
                  <a:pos x="296" y="120"/>
                </a:cxn>
                <a:cxn ang="0">
                  <a:pos x="317" y="129"/>
                </a:cxn>
                <a:cxn ang="0">
                  <a:pos x="331" y="122"/>
                </a:cxn>
                <a:cxn ang="0">
                  <a:pos x="342" y="113"/>
                </a:cxn>
                <a:cxn ang="0">
                  <a:pos x="344" y="132"/>
                </a:cxn>
                <a:cxn ang="0">
                  <a:pos x="340" y="162"/>
                </a:cxn>
                <a:cxn ang="0">
                  <a:pos x="346" y="203"/>
                </a:cxn>
                <a:cxn ang="0">
                  <a:pos x="363" y="232"/>
                </a:cxn>
                <a:cxn ang="0">
                  <a:pos x="397" y="287"/>
                </a:cxn>
                <a:cxn ang="0">
                  <a:pos x="402" y="314"/>
                </a:cxn>
                <a:cxn ang="0">
                  <a:pos x="402" y="329"/>
                </a:cxn>
              </a:cxnLst>
              <a:rect l="0" t="0" r="r" b="b"/>
              <a:pathLst>
                <a:path w="404" h="335">
                  <a:moveTo>
                    <a:pt x="398" y="333"/>
                  </a:moveTo>
                  <a:lnTo>
                    <a:pt x="398" y="333"/>
                  </a:lnTo>
                  <a:lnTo>
                    <a:pt x="386" y="335"/>
                  </a:lnTo>
                  <a:lnTo>
                    <a:pt x="372" y="333"/>
                  </a:lnTo>
                  <a:lnTo>
                    <a:pt x="358" y="329"/>
                  </a:lnTo>
                  <a:lnTo>
                    <a:pt x="358" y="329"/>
                  </a:lnTo>
                  <a:lnTo>
                    <a:pt x="319" y="317"/>
                  </a:lnTo>
                  <a:lnTo>
                    <a:pt x="275" y="301"/>
                  </a:lnTo>
                  <a:lnTo>
                    <a:pt x="275" y="301"/>
                  </a:lnTo>
                  <a:lnTo>
                    <a:pt x="256" y="298"/>
                  </a:lnTo>
                  <a:lnTo>
                    <a:pt x="238" y="296"/>
                  </a:lnTo>
                  <a:lnTo>
                    <a:pt x="217" y="296"/>
                  </a:lnTo>
                  <a:lnTo>
                    <a:pt x="182" y="294"/>
                  </a:lnTo>
                  <a:lnTo>
                    <a:pt x="182" y="294"/>
                  </a:lnTo>
                  <a:lnTo>
                    <a:pt x="164" y="294"/>
                  </a:lnTo>
                  <a:lnTo>
                    <a:pt x="148" y="294"/>
                  </a:lnTo>
                  <a:lnTo>
                    <a:pt x="136" y="296"/>
                  </a:lnTo>
                  <a:lnTo>
                    <a:pt x="127" y="298"/>
                  </a:lnTo>
                  <a:lnTo>
                    <a:pt x="111" y="303"/>
                  </a:lnTo>
                  <a:lnTo>
                    <a:pt x="99" y="306"/>
                  </a:lnTo>
                  <a:lnTo>
                    <a:pt x="99" y="306"/>
                  </a:lnTo>
                  <a:lnTo>
                    <a:pt x="90" y="310"/>
                  </a:lnTo>
                  <a:lnTo>
                    <a:pt x="81" y="314"/>
                  </a:lnTo>
                  <a:lnTo>
                    <a:pt x="74" y="317"/>
                  </a:lnTo>
                  <a:lnTo>
                    <a:pt x="69" y="321"/>
                  </a:lnTo>
                  <a:lnTo>
                    <a:pt x="69" y="321"/>
                  </a:lnTo>
                  <a:lnTo>
                    <a:pt x="64" y="321"/>
                  </a:lnTo>
                  <a:lnTo>
                    <a:pt x="58" y="319"/>
                  </a:lnTo>
                  <a:lnTo>
                    <a:pt x="53" y="315"/>
                  </a:lnTo>
                  <a:lnTo>
                    <a:pt x="50" y="312"/>
                  </a:lnTo>
                  <a:lnTo>
                    <a:pt x="50" y="312"/>
                  </a:lnTo>
                  <a:lnTo>
                    <a:pt x="39" y="292"/>
                  </a:lnTo>
                  <a:lnTo>
                    <a:pt x="39" y="292"/>
                  </a:lnTo>
                  <a:lnTo>
                    <a:pt x="37" y="289"/>
                  </a:lnTo>
                  <a:lnTo>
                    <a:pt x="34" y="285"/>
                  </a:lnTo>
                  <a:lnTo>
                    <a:pt x="25" y="280"/>
                  </a:lnTo>
                  <a:lnTo>
                    <a:pt x="20" y="273"/>
                  </a:lnTo>
                  <a:lnTo>
                    <a:pt x="18" y="269"/>
                  </a:lnTo>
                  <a:lnTo>
                    <a:pt x="20" y="266"/>
                  </a:lnTo>
                  <a:lnTo>
                    <a:pt x="20" y="266"/>
                  </a:lnTo>
                  <a:lnTo>
                    <a:pt x="23" y="259"/>
                  </a:lnTo>
                  <a:lnTo>
                    <a:pt x="29" y="252"/>
                  </a:lnTo>
                  <a:lnTo>
                    <a:pt x="37" y="241"/>
                  </a:lnTo>
                  <a:lnTo>
                    <a:pt x="37" y="241"/>
                  </a:lnTo>
                  <a:lnTo>
                    <a:pt x="43" y="236"/>
                  </a:lnTo>
                  <a:lnTo>
                    <a:pt x="46" y="229"/>
                  </a:lnTo>
                  <a:lnTo>
                    <a:pt x="46" y="220"/>
                  </a:lnTo>
                  <a:lnTo>
                    <a:pt x="44" y="217"/>
                  </a:lnTo>
                  <a:lnTo>
                    <a:pt x="41" y="215"/>
                  </a:lnTo>
                  <a:lnTo>
                    <a:pt x="41" y="215"/>
                  </a:lnTo>
                  <a:lnTo>
                    <a:pt x="30" y="210"/>
                  </a:lnTo>
                  <a:lnTo>
                    <a:pt x="29" y="208"/>
                  </a:lnTo>
                  <a:lnTo>
                    <a:pt x="29" y="201"/>
                  </a:lnTo>
                  <a:lnTo>
                    <a:pt x="29" y="201"/>
                  </a:lnTo>
                  <a:lnTo>
                    <a:pt x="30" y="199"/>
                  </a:lnTo>
                  <a:lnTo>
                    <a:pt x="29" y="195"/>
                  </a:lnTo>
                  <a:lnTo>
                    <a:pt x="23" y="192"/>
                  </a:lnTo>
                  <a:lnTo>
                    <a:pt x="16" y="188"/>
                  </a:lnTo>
                  <a:lnTo>
                    <a:pt x="13" y="183"/>
                  </a:lnTo>
                  <a:lnTo>
                    <a:pt x="9" y="178"/>
                  </a:lnTo>
                  <a:lnTo>
                    <a:pt x="9" y="178"/>
                  </a:lnTo>
                  <a:lnTo>
                    <a:pt x="4" y="164"/>
                  </a:lnTo>
                  <a:lnTo>
                    <a:pt x="0" y="146"/>
                  </a:lnTo>
                  <a:lnTo>
                    <a:pt x="0" y="139"/>
                  </a:lnTo>
                  <a:lnTo>
                    <a:pt x="2" y="130"/>
                  </a:lnTo>
                  <a:lnTo>
                    <a:pt x="4" y="123"/>
                  </a:lnTo>
                  <a:lnTo>
                    <a:pt x="7" y="116"/>
                  </a:lnTo>
                  <a:lnTo>
                    <a:pt x="7" y="116"/>
                  </a:lnTo>
                  <a:lnTo>
                    <a:pt x="18" y="107"/>
                  </a:lnTo>
                  <a:lnTo>
                    <a:pt x="27" y="100"/>
                  </a:lnTo>
                  <a:lnTo>
                    <a:pt x="36" y="93"/>
                  </a:lnTo>
                  <a:lnTo>
                    <a:pt x="43" y="85"/>
                  </a:lnTo>
                  <a:lnTo>
                    <a:pt x="43" y="85"/>
                  </a:lnTo>
                  <a:lnTo>
                    <a:pt x="46" y="79"/>
                  </a:lnTo>
                  <a:lnTo>
                    <a:pt x="50" y="72"/>
                  </a:lnTo>
                  <a:lnTo>
                    <a:pt x="53" y="56"/>
                  </a:lnTo>
                  <a:lnTo>
                    <a:pt x="55" y="35"/>
                  </a:lnTo>
                  <a:lnTo>
                    <a:pt x="55" y="35"/>
                  </a:lnTo>
                  <a:lnTo>
                    <a:pt x="78" y="25"/>
                  </a:lnTo>
                  <a:lnTo>
                    <a:pt x="94" y="18"/>
                  </a:lnTo>
                  <a:lnTo>
                    <a:pt x="104" y="12"/>
                  </a:lnTo>
                  <a:lnTo>
                    <a:pt x="104" y="12"/>
                  </a:lnTo>
                  <a:lnTo>
                    <a:pt x="113" y="11"/>
                  </a:lnTo>
                  <a:lnTo>
                    <a:pt x="124" y="7"/>
                  </a:lnTo>
                  <a:lnTo>
                    <a:pt x="136" y="4"/>
                  </a:lnTo>
                  <a:lnTo>
                    <a:pt x="141" y="0"/>
                  </a:lnTo>
                  <a:lnTo>
                    <a:pt x="141" y="0"/>
                  </a:lnTo>
                  <a:lnTo>
                    <a:pt x="168" y="5"/>
                  </a:lnTo>
                  <a:lnTo>
                    <a:pt x="182" y="11"/>
                  </a:lnTo>
                  <a:lnTo>
                    <a:pt x="191" y="12"/>
                  </a:lnTo>
                  <a:lnTo>
                    <a:pt x="191" y="12"/>
                  </a:lnTo>
                  <a:lnTo>
                    <a:pt x="192" y="18"/>
                  </a:lnTo>
                  <a:lnTo>
                    <a:pt x="194" y="23"/>
                  </a:lnTo>
                  <a:lnTo>
                    <a:pt x="196" y="30"/>
                  </a:lnTo>
                  <a:lnTo>
                    <a:pt x="196" y="30"/>
                  </a:lnTo>
                  <a:lnTo>
                    <a:pt x="205" y="33"/>
                  </a:lnTo>
                  <a:lnTo>
                    <a:pt x="212" y="35"/>
                  </a:lnTo>
                  <a:lnTo>
                    <a:pt x="219" y="33"/>
                  </a:lnTo>
                  <a:lnTo>
                    <a:pt x="219" y="33"/>
                  </a:lnTo>
                  <a:lnTo>
                    <a:pt x="228" y="35"/>
                  </a:lnTo>
                  <a:lnTo>
                    <a:pt x="238" y="39"/>
                  </a:lnTo>
                  <a:lnTo>
                    <a:pt x="254" y="44"/>
                  </a:lnTo>
                  <a:lnTo>
                    <a:pt x="254" y="44"/>
                  </a:lnTo>
                  <a:lnTo>
                    <a:pt x="259" y="55"/>
                  </a:lnTo>
                  <a:lnTo>
                    <a:pt x="266" y="72"/>
                  </a:lnTo>
                  <a:lnTo>
                    <a:pt x="275" y="92"/>
                  </a:lnTo>
                  <a:lnTo>
                    <a:pt x="279" y="100"/>
                  </a:lnTo>
                  <a:lnTo>
                    <a:pt x="284" y="104"/>
                  </a:lnTo>
                  <a:lnTo>
                    <a:pt x="284" y="104"/>
                  </a:lnTo>
                  <a:lnTo>
                    <a:pt x="289" y="113"/>
                  </a:lnTo>
                  <a:lnTo>
                    <a:pt x="296" y="120"/>
                  </a:lnTo>
                  <a:lnTo>
                    <a:pt x="302" y="123"/>
                  </a:lnTo>
                  <a:lnTo>
                    <a:pt x="309" y="127"/>
                  </a:lnTo>
                  <a:lnTo>
                    <a:pt x="317" y="129"/>
                  </a:lnTo>
                  <a:lnTo>
                    <a:pt x="328" y="129"/>
                  </a:lnTo>
                  <a:lnTo>
                    <a:pt x="328" y="129"/>
                  </a:lnTo>
                  <a:lnTo>
                    <a:pt x="331" y="122"/>
                  </a:lnTo>
                  <a:lnTo>
                    <a:pt x="337" y="116"/>
                  </a:lnTo>
                  <a:lnTo>
                    <a:pt x="342" y="113"/>
                  </a:lnTo>
                  <a:lnTo>
                    <a:pt x="342" y="113"/>
                  </a:lnTo>
                  <a:lnTo>
                    <a:pt x="346" y="113"/>
                  </a:lnTo>
                  <a:lnTo>
                    <a:pt x="347" y="114"/>
                  </a:lnTo>
                  <a:lnTo>
                    <a:pt x="344" y="132"/>
                  </a:lnTo>
                  <a:lnTo>
                    <a:pt x="344" y="132"/>
                  </a:lnTo>
                  <a:lnTo>
                    <a:pt x="342" y="151"/>
                  </a:lnTo>
                  <a:lnTo>
                    <a:pt x="340" y="162"/>
                  </a:lnTo>
                  <a:lnTo>
                    <a:pt x="340" y="174"/>
                  </a:lnTo>
                  <a:lnTo>
                    <a:pt x="342" y="188"/>
                  </a:lnTo>
                  <a:lnTo>
                    <a:pt x="346" y="203"/>
                  </a:lnTo>
                  <a:lnTo>
                    <a:pt x="353" y="218"/>
                  </a:lnTo>
                  <a:lnTo>
                    <a:pt x="363" y="232"/>
                  </a:lnTo>
                  <a:lnTo>
                    <a:pt x="363" y="232"/>
                  </a:lnTo>
                  <a:lnTo>
                    <a:pt x="391" y="266"/>
                  </a:lnTo>
                  <a:lnTo>
                    <a:pt x="395" y="275"/>
                  </a:lnTo>
                  <a:lnTo>
                    <a:pt x="397" y="287"/>
                  </a:lnTo>
                  <a:lnTo>
                    <a:pt x="397" y="287"/>
                  </a:lnTo>
                  <a:lnTo>
                    <a:pt x="398" y="301"/>
                  </a:lnTo>
                  <a:lnTo>
                    <a:pt x="402" y="314"/>
                  </a:lnTo>
                  <a:lnTo>
                    <a:pt x="404" y="321"/>
                  </a:lnTo>
                  <a:lnTo>
                    <a:pt x="404" y="324"/>
                  </a:lnTo>
                  <a:lnTo>
                    <a:pt x="402" y="329"/>
                  </a:lnTo>
                  <a:lnTo>
                    <a:pt x="398" y="333"/>
                  </a:lnTo>
                  <a:lnTo>
                    <a:pt x="398" y="3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9" name="Freeform 13">
              <a:extLst>
                <a:ext uri="{FF2B5EF4-FFF2-40B4-BE49-F238E27FC236}">
                  <a16:creationId xmlns:a16="http://schemas.microsoft.com/office/drawing/2014/main" id="{22C91681-01ED-4CF7-B510-06019F612548}"/>
                </a:ext>
              </a:extLst>
            </p:cNvPr>
            <p:cNvSpPr>
              <a:spLocks/>
            </p:cNvSpPr>
            <p:nvPr/>
          </p:nvSpPr>
          <p:spPr bwMode="auto">
            <a:xfrm>
              <a:off x="2585023" y="3271267"/>
              <a:ext cx="160610" cy="101720"/>
            </a:xfrm>
            <a:custGeom>
              <a:avLst/>
              <a:gdLst/>
              <a:ahLst/>
              <a:cxnLst>
                <a:cxn ang="0">
                  <a:pos x="62" y="110"/>
                </a:cxn>
                <a:cxn ang="0">
                  <a:pos x="62" y="110"/>
                </a:cxn>
                <a:cxn ang="0">
                  <a:pos x="62" y="106"/>
                </a:cxn>
                <a:cxn ang="0">
                  <a:pos x="58" y="88"/>
                </a:cxn>
                <a:cxn ang="0">
                  <a:pos x="58" y="88"/>
                </a:cxn>
                <a:cxn ang="0">
                  <a:pos x="51" y="60"/>
                </a:cxn>
                <a:cxn ang="0">
                  <a:pos x="48" y="50"/>
                </a:cxn>
                <a:cxn ang="0">
                  <a:pos x="44" y="48"/>
                </a:cxn>
                <a:cxn ang="0">
                  <a:pos x="41" y="48"/>
                </a:cxn>
                <a:cxn ang="0">
                  <a:pos x="41" y="48"/>
                </a:cxn>
                <a:cxn ang="0">
                  <a:pos x="28" y="55"/>
                </a:cxn>
                <a:cxn ang="0">
                  <a:pos x="23" y="57"/>
                </a:cxn>
                <a:cxn ang="0">
                  <a:pos x="19" y="55"/>
                </a:cxn>
                <a:cxn ang="0">
                  <a:pos x="19" y="55"/>
                </a:cxn>
                <a:cxn ang="0">
                  <a:pos x="18" y="53"/>
                </a:cxn>
                <a:cxn ang="0">
                  <a:pos x="16" y="50"/>
                </a:cxn>
                <a:cxn ang="0">
                  <a:pos x="18" y="43"/>
                </a:cxn>
                <a:cxn ang="0">
                  <a:pos x="18" y="43"/>
                </a:cxn>
                <a:cxn ang="0">
                  <a:pos x="18" y="43"/>
                </a:cxn>
                <a:cxn ang="0">
                  <a:pos x="16" y="39"/>
                </a:cxn>
                <a:cxn ang="0">
                  <a:pos x="11" y="34"/>
                </a:cxn>
                <a:cxn ang="0">
                  <a:pos x="0" y="29"/>
                </a:cxn>
                <a:cxn ang="0">
                  <a:pos x="0" y="29"/>
                </a:cxn>
                <a:cxn ang="0">
                  <a:pos x="11" y="23"/>
                </a:cxn>
                <a:cxn ang="0">
                  <a:pos x="19" y="18"/>
                </a:cxn>
                <a:cxn ang="0">
                  <a:pos x="30" y="14"/>
                </a:cxn>
                <a:cxn ang="0">
                  <a:pos x="30" y="14"/>
                </a:cxn>
                <a:cxn ang="0">
                  <a:pos x="42" y="11"/>
                </a:cxn>
                <a:cxn ang="0">
                  <a:pos x="55" y="6"/>
                </a:cxn>
                <a:cxn ang="0">
                  <a:pos x="69" y="2"/>
                </a:cxn>
                <a:cxn ang="0">
                  <a:pos x="83" y="0"/>
                </a:cxn>
                <a:cxn ang="0">
                  <a:pos x="83" y="0"/>
                </a:cxn>
                <a:cxn ang="0">
                  <a:pos x="123" y="4"/>
                </a:cxn>
                <a:cxn ang="0">
                  <a:pos x="144" y="4"/>
                </a:cxn>
                <a:cxn ang="0">
                  <a:pos x="162" y="4"/>
                </a:cxn>
                <a:cxn ang="0">
                  <a:pos x="181" y="6"/>
                </a:cxn>
                <a:cxn ang="0">
                  <a:pos x="181" y="6"/>
                </a:cxn>
                <a:cxn ang="0">
                  <a:pos x="181" y="7"/>
                </a:cxn>
                <a:cxn ang="0">
                  <a:pos x="181" y="9"/>
                </a:cxn>
                <a:cxn ang="0">
                  <a:pos x="180" y="14"/>
                </a:cxn>
                <a:cxn ang="0">
                  <a:pos x="169" y="23"/>
                </a:cxn>
                <a:cxn ang="0">
                  <a:pos x="169" y="23"/>
                </a:cxn>
                <a:cxn ang="0">
                  <a:pos x="160" y="30"/>
                </a:cxn>
                <a:cxn ang="0">
                  <a:pos x="157" y="36"/>
                </a:cxn>
                <a:cxn ang="0">
                  <a:pos x="153" y="43"/>
                </a:cxn>
                <a:cxn ang="0">
                  <a:pos x="144" y="51"/>
                </a:cxn>
                <a:cxn ang="0">
                  <a:pos x="144" y="51"/>
                </a:cxn>
                <a:cxn ang="0">
                  <a:pos x="139" y="58"/>
                </a:cxn>
                <a:cxn ang="0">
                  <a:pos x="132" y="62"/>
                </a:cxn>
                <a:cxn ang="0">
                  <a:pos x="116" y="69"/>
                </a:cxn>
                <a:cxn ang="0">
                  <a:pos x="102" y="73"/>
                </a:cxn>
                <a:cxn ang="0">
                  <a:pos x="95" y="76"/>
                </a:cxn>
                <a:cxn ang="0">
                  <a:pos x="90" y="80"/>
                </a:cxn>
                <a:cxn ang="0">
                  <a:pos x="90" y="80"/>
                </a:cxn>
                <a:cxn ang="0">
                  <a:pos x="86" y="85"/>
                </a:cxn>
                <a:cxn ang="0">
                  <a:pos x="83" y="92"/>
                </a:cxn>
                <a:cxn ang="0">
                  <a:pos x="78" y="104"/>
                </a:cxn>
                <a:cxn ang="0">
                  <a:pos x="74" y="110"/>
                </a:cxn>
                <a:cxn ang="0">
                  <a:pos x="71" y="113"/>
                </a:cxn>
                <a:cxn ang="0">
                  <a:pos x="67" y="113"/>
                </a:cxn>
                <a:cxn ang="0">
                  <a:pos x="62" y="110"/>
                </a:cxn>
                <a:cxn ang="0">
                  <a:pos x="62" y="110"/>
                </a:cxn>
              </a:cxnLst>
              <a:rect l="0" t="0" r="r" b="b"/>
              <a:pathLst>
                <a:path w="181" h="113">
                  <a:moveTo>
                    <a:pt x="62" y="110"/>
                  </a:moveTo>
                  <a:lnTo>
                    <a:pt x="62" y="110"/>
                  </a:lnTo>
                  <a:lnTo>
                    <a:pt x="62" y="106"/>
                  </a:lnTo>
                  <a:lnTo>
                    <a:pt x="58" y="88"/>
                  </a:lnTo>
                  <a:lnTo>
                    <a:pt x="58" y="88"/>
                  </a:lnTo>
                  <a:lnTo>
                    <a:pt x="51" y="60"/>
                  </a:lnTo>
                  <a:lnTo>
                    <a:pt x="48" y="50"/>
                  </a:lnTo>
                  <a:lnTo>
                    <a:pt x="44" y="48"/>
                  </a:lnTo>
                  <a:lnTo>
                    <a:pt x="41" y="48"/>
                  </a:lnTo>
                  <a:lnTo>
                    <a:pt x="41" y="48"/>
                  </a:lnTo>
                  <a:lnTo>
                    <a:pt x="28" y="55"/>
                  </a:lnTo>
                  <a:lnTo>
                    <a:pt x="23" y="57"/>
                  </a:lnTo>
                  <a:lnTo>
                    <a:pt x="19" y="55"/>
                  </a:lnTo>
                  <a:lnTo>
                    <a:pt x="19" y="55"/>
                  </a:lnTo>
                  <a:lnTo>
                    <a:pt x="18" y="53"/>
                  </a:lnTo>
                  <a:lnTo>
                    <a:pt x="16" y="50"/>
                  </a:lnTo>
                  <a:lnTo>
                    <a:pt x="18" y="43"/>
                  </a:lnTo>
                  <a:lnTo>
                    <a:pt x="18" y="43"/>
                  </a:lnTo>
                  <a:lnTo>
                    <a:pt x="18" y="43"/>
                  </a:lnTo>
                  <a:lnTo>
                    <a:pt x="16" y="39"/>
                  </a:lnTo>
                  <a:lnTo>
                    <a:pt x="11" y="34"/>
                  </a:lnTo>
                  <a:lnTo>
                    <a:pt x="0" y="29"/>
                  </a:lnTo>
                  <a:lnTo>
                    <a:pt x="0" y="29"/>
                  </a:lnTo>
                  <a:lnTo>
                    <a:pt x="11" y="23"/>
                  </a:lnTo>
                  <a:lnTo>
                    <a:pt x="19" y="18"/>
                  </a:lnTo>
                  <a:lnTo>
                    <a:pt x="30" y="14"/>
                  </a:lnTo>
                  <a:lnTo>
                    <a:pt x="30" y="14"/>
                  </a:lnTo>
                  <a:lnTo>
                    <a:pt x="42" y="11"/>
                  </a:lnTo>
                  <a:lnTo>
                    <a:pt x="55" y="6"/>
                  </a:lnTo>
                  <a:lnTo>
                    <a:pt x="69" y="2"/>
                  </a:lnTo>
                  <a:lnTo>
                    <a:pt x="83" y="0"/>
                  </a:lnTo>
                  <a:lnTo>
                    <a:pt x="83" y="0"/>
                  </a:lnTo>
                  <a:lnTo>
                    <a:pt x="123" y="4"/>
                  </a:lnTo>
                  <a:lnTo>
                    <a:pt x="144" y="4"/>
                  </a:lnTo>
                  <a:lnTo>
                    <a:pt x="162" y="4"/>
                  </a:lnTo>
                  <a:lnTo>
                    <a:pt x="181" y="6"/>
                  </a:lnTo>
                  <a:lnTo>
                    <a:pt x="181" y="6"/>
                  </a:lnTo>
                  <a:lnTo>
                    <a:pt x="181" y="7"/>
                  </a:lnTo>
                  <a:lnTo>
                    <a:pt x="181" y="9"/>
                  </a:lnTo>
                  <a:lnTo>
                    <a:pt x="180" y="14"/>
                  </a:lnTo>
                  <a:lnTo>
                    <a:pt x="169" y="23"/>
                  </a:lnTo>
                  <a:lnTo>
                    <a:pt x="169" y="23"/>
                  </a:lnTo>
                  <a:lnTo>
                    <a:pt x="160" y="30"/>
                  </a:lnTo>
                  <a:lnTo>
                    <a:pt x="157" y="36"/>
                  </a:lnTo>
                  <a:lnTo>
                    <a:pt x="153" y="43"/>
                  </a:lnTo>
                  <a:lnTo>
                    <a:pt x="144" y="51"/>
                  </a:lnTo>
                  <a:lnTo>
                    <a:pt x="144" y="51"/>
                  </a:lnTo>
                  <a:lnTo>
                    <a:pt x="139" y="58"/>
                  </a:lnTo>
                  <a:lnTo>
                    <a:pt x="132" y="62"/>
                  </a:lnTo>
                  <a:lnTo>
                    <a:pt x="116" y="69"/>
                  </a:lnTo>
                  <a:lnTo>
                    <a:pt x="102" y="73"/>
                  </a:lnTo>
                  <a:lnTo>
                    <a:pt x="95" y="76"/>
                  </a:lnTo>
                  <a:lnTo>
                    <a:pt x="90" y="80"/>
                  </a:lnTo>
                  <a:lnTo>
                    <a:pt x="90" y="80"/>
                  </a:lnTo>
                  <a:lnTo>
                    <a:pt x="86" y="85"/>
                  </a:lnTo>
                  <a:lnTo>
                    <a:pt x="83" y="92"/>
                  </a:lnTo>
                  <a:lnTo>
                    <a:pt x="78" y="104"/>
                  </a:lnTo>
                  <a:lnTo>
                    <a:pt x="74" y="110"/>
                  </a:lnTo>
                  <a:lnTo>
                    <a:pt x="71" y="113"/>
                  </a:lnTo>
                  <a:lnTo>
                    <a:pt x="67" y="113"/>
                  </a:lnTo>
                  <a:lnTo>
                    <a:pt x="62" y="110"/>
                  </a:lnTo>
                  <a:lnTo>
                    <a:pt x="62" y="1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0" name="Freeform 14">
              <a:extLst>
                <a:ext uri="{FF2B5EF4-FFF2-40B4-BE49-F238E27FC236}">
                  <a16:creationId xmlns:a16="http://schemas.microsoft.com/office/drawing/2014/main" id="{D5B93A1F-80C8-44C9-839D-8BC241C92D24}"/>
                </a:ext>
              </a:extLst>
            </p:cNvPr>
            <p:cNvSpPr>
              <a:spLocks/>
            </p:cNvSpPr>
            <p:nvPr/>
          </p:nvSpPr>
          <p:spPr bwMode="auto">
            <a:xfrm>
              <a:off x="2754556" y="3439015"/>
              <a:ext cx="185594" cy="194517"/>
            </a:xfrm>
            <a:custGeom>
              <a:avLst/>
              <a:gdLst/>
              <a:ahLst/>
              <a:cxnLst>
                <a:cxn ang="0">
                  <a:pos x="0" y="86"/>
                </a:cxn>
                <a:cxn ang="0">
                  <a:pos x="57" y="195"/>
                </a:cxn>
                <a:cxn ang="0">
                  <a:pos x="131" y="199"/>
                </a:cxn>
                <a:cxn ang="0">
                  <a:pos x="131" y="199"/>
                </a:cxn>
                <a:cxn ang="0">
                  <a:pos x="129" y="208"/>
                </a:cxn>
                <a:cxn ang="0">
                  <a:pos x="129" y="215"/>
                </a:cxn>
                <a:cxn ang="0">
                  <a:pos x="131" y="216"/>
                </a:cxn>
                <a:cxn ang="0">
                  <a:pos x="132" y="216"/>
                </a:cxn>
                <a:cxn ang="0">
                  <a:pos x="132" y="216"/>
                </a:cxn>
                <a:cxn ang="0">
                  <a:pos x="139" y="216"/>
                </a:cxn>
                <a:cxn ang="0">
                  <a:pos x="143" y="216"/>
                </a:cxn>
                <a:cxn ang="0">
                  <a:pos x="148" y="213"/>
                </a:cxn>
                <a:cxn ang="0">
                  <a:pos x="148" y="213"/>
                </a:cxn>
                <a:cxn ang="0">
                  <a:pos x="166" y="195"/>
                </a:cxn>
                <a:cxn ang="0">
                  <a:pos x="175" y="185"/>
                </a:cxn>
                <a:cxn ang="0">
                  <a:pos x="185" y="176"/>
                </a:cxn>
                <a:cxn ang="0">
                  <a:pos x="185" y="176"/>
                </a:cxn>
                <a:cxn ang="0">
                  <a:pos x="192" y="169"/>
                </a:cxn>
                <a:cxn ang="0">
                  <a:pos x="199" y="158"/>
                </a:cxn>
                <a:cxn ang="0">
                  <a:pos x="208" y="143"/>
                </a:cxn>
                <a:cxn ang="0">
                  <a:pos x="208" y="143"/>
                </a:cxn>
                <a:cxn ang="0">
                  <a:pos x="208" y="137"/>
                </a:cxn>
                <a:cxn ang="0">
                  <a:pos x="206" y="127"/>
                </a:cxn>
                <a:cxn ang="0">
                  <a:pos x="201" y="114"/>
                </a:cxn>
                <a:cxn ang="0">
                  <a:pos x="196" y="104"/>
                </a:cxn>
                <a:cxn ang="0">
                  <a:pos x="196" y="104"/>
                </a:cxn>
                <a:cxn ang="0">
                  <a:pos x="182" y="91"/>
                </a:cxn>
                <a:cxn ang="0">
                  <a:pos x="178" y="83"/>
                </a:cxn>
                <a:cxn ang="0">
                  <a:pos x="176" y="77"/>
                </a:cxn>
                <a:cxn ang="0">
                  <a:pos x="176" y="70"/>
                </a:cxn>
                <a:cxn ang="0">
                  <a:pos x="176" y="70"/>
                </a:cxn>
                <a:cxn ang="0">
                  <a:pos x="180" y="61"/>
                </a:cxn>
                <a:cxn ang="0">
                  <a:pos x="182" y="53"/>
                </a:cxn>
                <a:cxn ang="0">
                  <a:pos x="180" y="49"/>
                </a:cxn>
                <a:cxn ang="0">
                  <a:pos x="178" y="44"/>
                </a:cxn>
                <a:cxn ang="0">
                  <a:pos x="171" y="37"/>
                </a:cxn>
                <a:cxn ang="0">
                  <a:pos x="164" y="30"/>
                </a:cxn>
                <a:cxn ang="0">
                  <a:pos x="164" y="30"/>
                </a:cxn>
                <a:cxn ang="0">
                  <a:pos x="146" y="14"/>
                </a:cxn>
                <a:cxn ang="0">
                  <a:pos x="134" y="3"/>
                </a:cxn>
                <a:cxn ang="0">
                  <a:pos x="129" y="2"/>
                </a:cxn>
                <a:cxn ang="0">
                  <a:pos x="124" y="0"/>
                </a:cxn>
                <a:cxn ang="0">
                  <a:pos x="118" y="0"/>
                </a:cxn>
                <a:cxn ang="0">
                  <a:pos x="111" y="2"/>
                </a:cxn>
                <a:cxn ang="0">
                  <a:pos x="111" y="2"/>
                </a:cxn>
                <a:cxn ang="0">
                  <a:pos x="74" y="19"/>
                </a:cxn>
                <a:cxn ang="0">
                  <a:pos x="57" y="28"/>
                </a:cxn>
                <a:cxn ang="0">
                  <a:pos x="48" y="33"/>
                </a:cxn>
                <a:cxn ang="0">
                  <a:pos x="43" y="39"/>
                </a:cxn>
                <a:cxn ang="0">
                  <a:pos x="43" y="39"/>
                </a:cxn>
                <a:cxn ang="0">
                  <a:pos x="0" y="86"/>
                </a:cxn>
                <a:cxn ang="0">
                  <a:pos x="0" y="86"/>
                </a:cxn>
              </a:cxnLst>
              <a:rect l="0" t="0" r="r" b="b"/>
              <a:pathLst>
                <a:path w="208" h="216">
                  <a:moveTo>
                    <a:pt x="0" y="86"/>
                  </a:moveTo>
                  <a:lnTo>
                    <a:pt x="57" y="195"/>
                  </a:lnTo>
                  <a:lnTo>
                    <a:pt x="131" y="199"/>
                  </a:lnTo>
                  <a:lnTo>
                    <a:pt x="131" y="199"/>
                  </a:lnTo>
                  <a:lnTo>
                    <a:pt x="129" y="208"/>
                  </a:lnTo>
                  <a:lnTo>
                    <a:pt x="129" y="215"/>
                  </a:lnTo>
                  <a:lnTo>
                    <a:pt x="131" y="216"/>
                  </a:lnTo>
                  <a:lnTo>
                    <a:pt x="132" y="216"/>
                  </a:lnTo>
                  <a:lnTo>
                    <a:pt x="132" y="216"/>
                  </a:lnTo>
                  <a:lnTo>
                    <a:pt x="139" y="216"/>
                  </a:lnTo>
                  <a:lnTo>
                    <a:pt x="143" y="216"/>
                  </a:lnTo>
                  <a:lnTo>
                    <a:pt x="148" y="213"/>
                  </a:lnTo>
                  <a:lnTo>
                    <a:pt x="148" y="213"/>
                  </a:lnTo>
                  <a:lnTo>
                    <a:pt x="166" y="195"/>
                  </a:lnTo>
                  <a:lnTo>
                    <a:pt x="175" y="185"/>
                  </a:lnTo>
                  <a:lnTo>
                    <a:pt x="185" y="176"/>
                  </a:lnTo>
                  <a:lnTo>
                    <a:pt x="185" y="176"/>
                  </a:lnTo>
                  <a:lnTo>
                    <a:pt x="192" y="169"/>
                  </a:lnTo>
                  <a:lnTo>
                    <a:pt x="199" y="158"/>
                  </a:lnTo>
                  <a:lnTo>
                    <a:pt x="208" y="143"/>
                  </a:lnTo>
                  <a:lnTo>
                    <a:pt x="208" y="143"/>
                  </a:lnTo>
                  <a:lnTo>
                    <a:pt x="208" y="137"/>
                  </a:lnTo>
                  <a:lnTo>
                    <a:pt x="206" y="127"/>
                  </a:lnTo>
                  <a:lnTo>
                    <a:pt x="201" y="114"/>
                  </a:lnTo>
                  <a:lnTo>
                    <a:pt x="196" y="104"/>
                  </a:lnTo>
                  <a:lnTo>
                    <a:pt x="196" y="104"/>
                  </a:lnTo>
                  <a:lnTo>
                    <a:pt x="182" y="91"/>
                  </a:lnTo>
                  <a:lnTo>
                    <a:pt x="178" y="83"/>
                  </a:lnTo>
                  <a:lnTo>
                    <a:pt x="176" y="77"/>
                  </a:lnTo>
                  <a:lnTo>
                    <a:pt x="176" y="70"/>
                  </a:lnTo>
                  <a:lnTo>
                    <a:pt x="176" y="70"/>
                  </a:lnTo>
                  <a:lnTo>
                    <a:pt x="180" y="61"/>
                  </a:lnTo>
                  <a:lnTo>
                    <a:pt x="182" y="53"/>
                  </a:lnTo>
                  <a:lnTo>
                    <a:pt x="180" y="49"/>
                  </a:lnTo>
                  <a:lnTo>
                    <a:pt x="178" y="44"/>
                  </a:lnTo>
                  <a:lnTo>
                    <a:pt x="171" y="37"/>
                  </a:lnTo>
                  <a:lnTo>
                    <a:pt x="164" y="30"/>
                  </a:lnTo>
                  <a:lnTo>
                    <a:pt x="164" y="30"/>
                  </a:lnTo>
                  <a:lnTo>
                    <a:pt x="146" y="14"/>
                  </a:lnTo>
                  <a:lnTo>
                    <a:pt x="134" y="3"/>
                  </a:lnTo>
                  <a:lnTo>
                    <a:pt x="129" y="2"/>
                  </a:lnTo>
                  <a:lnTo>
                    <a:pt x="124" y="0"/>
                  </a:lnTo>
                  <a:lnTo>
                    <a:pt x="118" y="0"/>
                  </a:lnTo>
                  <a:lnTo>
                    <a:pt x="111" y="2"/>
                  </a:lnTo>
                  <a:lnTo>
                    <a:pt x="111" y="2"/>
                  </a:lnTo>
                  <a:lnTo>
                    <a:pt x="74" y="19"/>
                  </a:lnTo>
                  <a:lnTo>
                    <a:pt x="57" y="28"/>
                  </a:lnTo>
                  <a:lnTo>
                    <a:pt x="48" y="33"/>
                  </a:lnTo>
                  <a:lnTo>
                    <a:pt x="43" y="39"/>
                  </a:lnTo>
                  <a:lnTo>
                    <a:pt x="43" y="39"/>
                  </a:lnTo>
                  <a:lnTo>
                    <a:pt x="0" y="86"/>
                  </a:lnTo>
                  <a:lnTo>
                    <a:pt x="0" y="8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1" name="Freeform 15">
              <a:extLst>
                <a:ext uri="{FF2B5EF4-FFF2-40B4-BE49-F238E27FC236}">
                  <a16:creationId xmlns:a16="http://schemas.microsoft.com/office/drawing/2014/main" id="{7BBE54C1-4E83-41B4-BD3D-A6F34A772835}"/>
                </a:ext>
              </a:extLst>
            </p:cNvPr>
            <p:cNvSpPr>
              <a:spLocks/>
            </p:cNvSpPr>
            <p:nvPr/>
          </p:nvSpPr>
          <p:spPr bwMode="auto">
            <a:xfrm>
              <a:off x="2636776" y="3276621"/>
              <a:ext cx="451492" cy="321220"/>
            </a:xfrm>
            <a:custGeom>
              <a:avLst/>
              <a:gdLst/>
              <a:ahLst/>
              <a:cxnLst>
                <a:cxn ang="0">
                  <a:pos x="280" y="45"/>
                </a:cxn>
                <a:cxn ang="0">
                  <a:pos x="305" y="61"/>
                </a:cxn>
                <a:cxn ang="0">
                  <a:pos x="317" y="63"/>
                </a:cxn>
                <a:cxn ang="0">
                  <a:pos x="361" y="47"/>
                </a:cxn>
                <a:cxn ang="0">
                  <a:pos x="398" y="26"/>
                </a:cxn>
                <a:cxn ang="0">
                  <a:pos x="408" y="21"/>
                </a:cxn>
                <a:cxn ang="0">
                  <a:pos x="423" y="19"/>
                </a:cxn>
                <a:cxn ang="0">
                  <a:pos x="442" y="47"/>
                </a:cxn>
                <a:cxn ang="0">
                  <a:pos x="467" y="107"/>
                </a:cxn>
                <a:cxn ang="0">
                  <a:pos x="490" y="158"/>
                </a:cxn>
                <a:cxn ang="0">
                  <a:pos x="498" y="204"/>
                </a:cxn>
                <a:cxn ang="0">
                  <a:pos x="498" y="222"/>
                </a:cxn>
                <a:cxn ang="0">
                  <a:pos x="505" y="262"/>
                </a:cxn>
                <a:cxn ang="0">
                  <a:pos x="498" y="290"/>
                </a:cxn>
                <a:cxn ang="0">
                  <a:pos x="477" y="338"/>
                </a:cxn>
                <a:cxn ang="0">
                  <a:pos x="456" y="354"/>
                </a:cxn>
                <a:cxn ang="0">
                  <a:pos x="423" y="359"/>
                </a:cxn>
                <a:cxn ang="0">
                  <a:pos x="412" y="352"/>
                </a:cxn>
                <a:cxn ang="0">
                  <a:pos x="393" y="324"/>
                </a:cxn>
                <a:cxn ang="0">
                  <a:pos x="386" y="306"/>
                </a:cxn>
                <a:cxn ang="0">
                  <a:pos x="373" y="301"/>
                </a:cxn>
                <a:cxn ang="0">
                  <a:pos x="361" y="308"/>
                </a:cxn>
                <a:cxn ang="0">
                  <a:pos x="338" y="326"/>
                </a:cxn>
                <a:cxn ang="0">
                  <a:pos x="327" y="290"/>
                </a:cxn>
                <a:cxn ang="0">
                  <a:pos x="306" y="264"/>
                </a:cxn>
                <a:cxn ang="0">
                  <a:pos x="308" y="252"/>
                </a:cxn>
                <a:cxn ang="0">
                  <a:pos x="310" y="230"/>
                </a:cxn>
                <a:cxn ang="0">
                  <a:pos x="294" y="213"/>
                </a:cxn>
                <a:cxn ang="0">
                  <a:pos x="262" y="186"/>
                </a:cxn>
                <a:cxn ang="0">
                  <a:pos x="234" y="188"/>
                </a:cxn>
                <a:cxn ang="0">
                  <a:pos x="130" y="269"/>
                </a:cxn>
                <a:cxn ang="0">
                  <a:pos x="79" y="186"/>
                </a:cxn>
                <a:cxn ang="0">
                  <a:pos x="40" y="135"/>
                </a:cxn>
                <a:cxn ang="0">
                  <a:pos x="19" y="128"/>
                </a:cxn>
                <a:cxn ang="0">
                  <a:pos x="11" y="116"/>
                </a:cxn>
                <a:cxn ang="0">
                  <a:pos x="0" y="104"/>
                </a:cxn>
                <a:cxn ang="0">
                  <a:pos x="5" y="107"/>
                </a:cxn>
                <a:cxn ang="0">
                  <a:pos x="11" y="107"/>
                </a:cxn>
                <a:cxn ang="0">
                  <a:pos x="23" y="88"/>
                </a:cxn>
                <a:cxn ang="0">
                  <a:pos x="37" y="68"/>
                </a:cxn>
                <a:cxn ang="0">
                  <a:pos x="60" y="61"/>
                </a:cxn>
                <a:cxn ang="0">
                  <a:pos x="77" y="52"/>
                </a:cxn>
                <a:cxn ang="0">
                  <a:pos x="97" y="30"/>
                </a:cxn>
                <a:cxn ang="0">
                  <a:pos x="121" y="1"/>
                </a:cxn>
                <a:cxn ang="0">
                  <a:pos x="139" y="1"/>
                </a:cxn>
                <a:cxn ang="0">
                  <a:pos x="174" y="12"/>
                </a:cxn>
                <a:cxn ang="0">
                  <a:pos x="229" y="31"/>
                </a:cxn>
                <a:cxn ang="0">
                  <a:pos x="269" y="35"/>
                </a:cxn>
              </a:cxnLst>
              <a:rect l="0" t="0" r="r" b="b"/>
              <a:pathLst>
                <a:path w="505" h="361">
                  <a:moveTo>
                    <a:pt x="269" y="35"/>
                  </a:moveTo>
                  <a:lnTo>
                    <a:pt x="269" y="35"/>
                  </a:lnTo>
                  <a:lnTo>
                    <a:pt x="280" y="45"/>
                  </a:lnTo>
                  <a:lnTo>
                    <a:pt x="291" y="54"/>
                  </a:lnTo>
                  <a:lnTo>
                    <a:pt x="298" y="58"/>
                  </a:lnTo>
                  <a:lnTo>
                    <a:pt x="305" y="61"/>
                  </a:lnTo>
                  <a:lnTo>
                    <a:pt x="305" y="61"/>
                  </a:lnTo>
                  <a:lnTo>
                    <a:pt x="310" y="63"/>
                  </a:lnTo>
                  <a:lnTo>
                    <a:pt x="317" y="63"/>
                  </a:lnTo>
                  <a:lnTo>
                    <a:pt x="331" y="60"/>
                  </a:lnTo>
                  <a:lnTo>
                    <a:pt x="361" y="47"/>
                  </a:lnTo>
                  <a:lnTo>
                    <a:pt x="361" y="47"/>
                  </a:lnTo>
                  <a:lnTo>
                    <a:pt x="375" y="40"/>
                  </a:lnTo>
                  <a:lnTo>
                    <a:pt x="389" y="31"/>
                  </a:lnTo>
                  <a:lnTo>
                    <a:pt x="398" y="26"/>
                  </a:lnTo>
                  <a:lnTo>
                    <a:pt x="403" y="23"/>
                  </a:lnTo>
                  <a:lnTo>
                    <a:pt x="403" y="23"/>
                  </a:lnTo>
                  <a:lnTo>
                    <a:pt x="408" y="21"/>
                  </a:lnTo>
                  <a:lnTo>
                    <a:pt x="412" y="19"/>
                  </a:lnTo>
                  <a:lnTo>
                    <a:pt x="417" y="17"/>
                  </a:lnTo>
                  <a:lnTo>
                    <a:pt x="423" y="19"/>
                  </a:lnTo>
                  <a:lnTo>
                    <a:pt x="430" y="24"/>
                  </a:lnTo>
                  <a:lnTo>
                    <a:pt x="437" y="33"/>
                  </a:lnTo>
                  <a:lnTo>
                    <a:pt x="442" y="47"/>
                  </a:lnTo>
                  <a:lnTo>
                    <a:pt x="442" y="47"/>
                  </a:lnTo>
                  <a:lnTo>
                    <a:pt x="454" y="81"/>
                  </a:lnTo>
                  <a:lnTo>
                    <a:pt x="467" y="107"/>
                  </a:lnTo>
                  <a:lnTo>
                    <a:pt x="484" y="144"/>
                  </a:lnTo>
                  <a:lnTo>
                    <a:pt x="484" y="144"/>
                  </a:lnTo>
                  <a:lnTo>
                    <a:pt x="490" y="158"/>
                  </a:lnTo>
                  <a:lnTo>
                    <a:pt x="495" y="172"/>
                  </a:lnTo>
                  <a:lnTo>
                    <a:pt x="497" y="188"/>
                  </a:lnTo>
                  <a:lnTo>
                    <a:pt x="498" y="204"/>
                  </a:lnTo>
                  <a:lnTo>
                    <a:pt x="498" y="204"/>
                  </a:lnTo>
                  <a:lnTo>
                    <a:pt x="498" y="213"/>
                  </a:lnTo>
                  <a:lnTo>
                    <a:pt x="498" y="222"/>
                  </a:lnTo>
                  <a:lnTo>
                    <a:pt x="502" y="237"/>
                  </a:lnTo>
                  <a:lnTo>
                    <a:pt x="505" y="255"/>
                  </a:lnTo>
                  <a:lnTo>
                    <a:pt x="505" y="262"/>
                  </a:lnTo>
                  <a:lnTo>
                    <a:pt x="504" y="271"/>
                  </a:lnTo>
                  <a:lnTo>
                    <a:pt x="504" y="271"/>
                  </a:lnTo>
                  <a:lnTo>
                    <a:pt x="498" y="290"/>
                  </a:lnTo>
                  <a:lnTo>
                    <a:pt x="491" y="310"/>
                  </a:lnTo>
                  <a:lnTo>
                    <a:pt x="482" y="329"/>
                  </a:lnTo>
                  <a:lnTo>
                    <a:pt x="477" y="338"/>
                  </a:lnTo>
                  <a:lnTo>
                    <a:pt x="472" y="343"/>
                  </a:lnTo>
                  <a:lnTo>
                    <a:pt x="472" y="343"/>
                  </a:lnTo>
                  <a:lnTo>
                    <a:pt x="456" y="354"/>
                  </a:lnTo>
                  <a:lnTo>
                    <a:pt x="442" y="359"/>
                  </a:lnTo>
                  <a:lnTo>
                    <a:pt x="428" y="361"/>
                  </a:lnTo>
                  <a:lnTo>
                    <a:pt x="423" y="359"/>
                  </a:lnTo>
                  <a:lnTo>
                    <a:pt x="419" y="357"/>
                  </a:lnTo>
                  <a:lnTo>
                    <a:pt x="419" y="357"/>
                  </a:lnTo>
                  <a:lnTo>
                    <a:pt x="412" y="352"/>
                  </a:lnTo>
                  <a:lnTo>
                    <a:pt x="403" y="341"/>
                  </a:lnTo>
                  <a:lnTo>
                    <a:pt x="393" y="324"/>
                  </a:lnTo>
                  <a:lnTo>
                    <a:pt x="393" y="324"/>
                  </a:lnTo>
                  <a:lnTo>
                    <a:pt x="389" y="318"/>
                  </a:lnTo>
                  <a:lnTo>
                    <a:pt x="387" y="310"/>
                  </a:lnTo>
                  <a:lnTo>
                    <a:pt x="386" y="306"/>
                  </a:lnTo>
                  <a:lnTo>
                    <a:pt x="382" y="303"/>
                  </a:lnTo>
                  <a:lnTo>
                    <a:pt x="379" y="301"/>
                  </a:lnTo>
                  <a:lnTo>
                    <a:pt x="373" y="301"/>
                  </a:lnTo>
                  <a:lnTo>
                    <a:pt x="373" y="301"/>
                  </a:lnTo>
                  <a:lnTo>
                    <a:pt x="368" y="304"/>
                  </a:lnTo>
                  <a:lnTo>
                    <a:pt x="361" y="308"/>
                  </a:lnTo>
                  <a:lnTo>
                    <a:pt x="350" y="315"/>
                  </a:lnTo>
                  <a:lnTo>
                    <a:pt x="338" y="326"/>
                  </a:lnTo>
                  <a:lnTo>
                    <a:pt x="338" y="326"/>
                  </a:lnTo>
                  <a:lnTo>
                    <a:pt x="336" y="313"/>
                  </a:lnTo>
                  <a:lnTo>
                    <a:pt x="333" y="301"/>
                  </a:lnTo>
                  <a:lnTo>
                    <a:pt x="327" y="290"/>
                  </a:lnTo>
                  <a:lnTo>
                    <a:pt x="327" y="290"/>
                  </a:lnTo>
                  <a:lnTo>
                    <a:pt x="313" y="274"/>
                  </a:lnTo>
                  <a:lnTo>
                    <a:pt x="306" y="264"/>
                  </a:lnTo>
                  <a:lnTo>
                    <a:pt x="306" y="264"/>
                  </a:lnTo>
                  <a:lnTo>
                    <a:pt x="306" y="259"/>
                  </a:lnTo>
                  <a:lnTo>
                    <a:pt x="308" y="252"/>
                  </a:lnTo>
                  <a:lnTo>
                    <a:pt x="312" y="236"/>
                  </a:lnTo>
                  <a:lnTo>
                    <a:pt x="312" y="236"/>
                  </a:lnTo>
                  <a:lnTo>
                    <a:pt x="310" y="230"/>
                  </a:lnTo>
                  <a:lnTo>
                    <a:pt x="305" y="225"/>
                  </a:lnTo>
                  <a:lnTo>
                    <a:pt x="294" y="213"/>
                  </a:lnTo>
                  <a:lnTo>
                    <a:pt x="294" y="213"/>
                  </a:lnTo>
                  <a:lnTo>
                    <a:pt x="264" y="186"/>
                  </a:lnTo>
                  <a:lnTo>
                    <a:pt x="264" y="186"/>
                  </a:lnTo>
                  <a:lnTo>
                    <a:pt x="262" y="186"/>
                  </a:lnTo>
                  <a:lnTo>
                    <a:pt x="257" y="185"/>
                  </a:lnTo>
                  <a:lnTo>
                    <a:pt x="246" y="185"/>
                  </a:lnTo>
                  <a:lnTo>
                    <a:pt x="234" y="188"/>
                  </a:lnTo>
                  <a:lnTo>
                    <a:pt x="234" y="188"/>
                  </a:lnTo>
                  <a:lnTo>
                    <a:pt x="183" y="213"/>
                  </a:lnTo>
                  <a:lnTo>
                    <a:pt x="130" y="269"/>
                  </a:lnTo>
                  <a:lnTo>
                    <a:pt x="130" y="269"/>
                  </a:lnTo>
                  <a:lnTo>
                    <a:pt x="79" y="186"/>
                  </a:lnTo>
                  <a:lnTo>
                    <a:pt x="79" y="186"/>
                  </a:lnTo>
                  <a:lnTo>
                    <a:pt x="44" y="134"/>
                  </a:lnTo>
                  <a:lnTo>
                    <a:pt x="44" y="134"/>
                  </a:lnTo>
                  <a:lnTo>
                    <a:pt x="40" y="135"/>
                  </a:lnTo>
                  <a:lnTo>
                    <a:pt x="32" y="134"/>
                  </a:lnTo>
                  <a:lnTo>
                    <a:pt x="23" y="130"/>
                  </a:lnTo>
                  <a:lnTo>
                    <a:pt x="19" y="128"/>
                  </a:lnTo>
                  <a:lnTo>
                    <a:pt x="16" y="123"/>
                  </a:lnTo>
                  <a:lnTo>
                    <a:pt x="16" y="123"/>
                  </a:lnTo>
                  <a:lnTo>
                    <a:pt x="11" y="116"/>
                  </a:lnTo>
                  <a:lnTo>
                    <a:pt x="3" y="109"/>
                  </a:lnTo>
                  <a:lnTo>
                    <a:pt x="0" y="105"/>
                  </a:lnTo>
                  <a:lnTo>
                    <a:pt x="0" y="104"/>
                  </a:lnTo>
                  <a:lnTo>
                    <a:pt x="2" y="104"/>
                  </a:lnTo>
                  <a:lnTo>
                    <a:pt x="2" y="104"/>
                  </a:lnTo>
                  <a:lnTo>
                    <a:pt x="5" y="107"/>
                  </a:lnTo>
                  <a:lnTo>
                    <a:pt x="7" y="109"/>
                  </a:lnTo>
                  <a:lnTo>
                    <a:pt x="9" y="109"/>
                  </a:lnTo>
                  <a:lnTo>
                    <a:pt x="11" y="107"/>
                  </a:lnTo>
                  <a:lnTo>
                    <a:pt x="18" y="98"/>
                  </a:lnTo>
                  <a:lnTo>
                    <a:pt x="18" y="98"/>
                  </a:lnTo>
                  <a:lnTo>
                    <a:pt x="23" y="88"/>
                  </a:lnTo>
                  <a:lnTo>
                    <a:pt x="26" y="81"/>
                  </a:lnTo>
                  <a:lnTo>
                    <a:pt x="30" y="75"/>
                  </a:lnTo>
                  <a:lnTo>
                    <a:pt x="37" y="68"/>
                  </a:lnTo>
                  <a:lnTo>
                    <a:pt x="37" y="68"/>
                  </a:lnTo>
                  <a:lnTo>
                    <a:pt x="49" y="65"/>
                  </a:lnTo>
                  <a:lnTo>
                    <a:pt x="60" y="61"/>
                  </a:lnTo>
                  <a:lnTo>
                    <a:pt x="70" y="58"/>
                  </a:lnTo>
                  <a:lnTo>
                    <a:pt x="77" y="52"/>
                  </a:lnTo>
                  <a:lnTo>
                    <a:pt x="77" y="52"/>
                  </a:lnTo>
                  <a:lnTo>
                    <a:pt x="90" y="38"/>
                  </a:lnTo>
                  <a:lnTo>
                    <a:pt x="97" y="30"/>
                  </a:lnTo>
                  <a:lnTo>
                    <a:pt x="97" y="30"/>
                  </a:lnTo>
                  <a:lnTo>
                    <a:pt x="120" y="7"/>
                  </a:lnTo>
                  <a:lnTo>
                    <a:pt x="120" y="7"/>
                  </a:lnTo>
                  <a:lnTo>
                    <a:pt x="121" y="1"/>
                  </a:lnTo>
                  <a:lnTo>
                    <a:pt x="121" y="0"/>
                  </a:lnTo>
                  <a:lnTo>
                    <a:pt x="121" y="0"/>
                  </a:lnTo>
                  <a:lnTo>
                    <a:pt x="139" y="1"/>
                  </a:lnTo>
                  <a:lnTo>
                    <a:pt x="155" y="5"/>
                  </a:lnTo>
                  <a:lnTo>
                    <a:pt x="174" y="12"/>
                  </a:lnTo>
                  <a:lnTo>
                    <a:pt x="174" y="12"/>
                  </a:lnTo>
                  <a:lnTo>
                    <a:pt x="192" y="19"/>
                  </a:lnTo>
                  <a:lnTo>
                    <a:pt x="211" y="26"/>
                  </a:lnTo>
                  <a:lnTo>
                    <a:pt x="229" y="31"/>
                  </a:lnTo>
                  <a:lnTo>
                    <a:pt x="246" y="33"/>
                  </a:lnTo>
                  <a:lnTo>
                    <a:pt x="246" y="33"/>
                  </a:lnTo>
                  <a:lnTo>
                    <a:pt x="269" y="35"/>
                  </a:lnTo>
                  <a:lnTo>
                    <a:pt x="269"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2" name="Freeform 16">
              <a:extLst>
                <a:ext uri="{FF2B5EF4-FFF2-40B4-BE49-F238E27FC236}">
                  <a16:creationId xmlns:a16="http://schemas.microsoft.com/office/drawing/2014/main" id="{07209912-130C-4A4A-AF2A-0AFE5128AE46}"/>
                </a:ext>
              </a:extLst>
            </p:cNvPr>
            <p:cNvSpPr>
              <a:spLocks/>
            </p:cNvSpPr>
            <p:nvPr/>
          </p:nvSpPr>
          <p:spPr bwMode="auto">
            <a:xfrm>
              <a:off x="2824154" y="2478924"/>
              <a:ext cx="1022551" cy="949384"/>
            </a:xfrm>
            <a:custGeom>
              <a:avLst/>
              <a:gdLst/>
              <a:ahLst/>
              <a:cxnLst>
                <a:cxn ang="0">
                  <a:pos x="440" y="1064"/>
                </a:cxn>
                <a:cxn ang="0">
                  <a:pos x="406" y="1060"/>
                </a:cxn>
                <a:cxn ang="0">
                  <a:pos x="343" y="1049"/>
                </a:cxn>
                <a:cxn ang="0">
                  <a:pos x="281" y="1055"/>
                </a:cxn>
                <a:cxn ang="0">
                  <a:pos x="230" y="937"/>
                </a:cxn>
                <a:cxn ang="0">
                  <a:pos x="221" y="921"/>
                </a:cxn>
                <a:cxn ang="0">
                  <a:pos x="202" y="912"/>
                </a:cxn>
                <a:cxn ang="0">
                  <a:pos x="172" y="928"/>
                </a:cxn>
                <a:cxn ang="0">
                  <a:pos x="133" y="947"/>
                </a:cxn>
                <a:cxn ang="0">
                  <a:pos x="98" y="954"/>
                </a:cxn>
                <a:cxn ang="0">
                  <a:pos x="84" y="949"/>
                </a:cxn>
                <a:cxn ang="0">
                  <a:pos x="59" y="928"/>
                </a:cxn>
                <a:cxn ang="0">
                  <a:pos x="65" y="914"/>
                </a:cxn>
                <a:cxn ang="0">
                  <a:pos x="58" y="887"/>
                </a:cxn>
                <a:cxn ang="0">
                  <a:pos x="56" y="866"/>
                </a:cxn>
                <a:cxn ang="0">
                  <a:pos x="17" y="819"/>
                </a:cxn>
                <a:cxn ang="0">
                  <a:pos x="1" y="773"/>
                </a:cxn>
                <a:cxn ang="0">
                  <a:pos x="1" y="759"/>
                </a:cxn>
                <a:cxn ang="0">
                  <a:pos x="8" y="704"/>
                </a:cxn>
                <a:cxn ang="0">
                  <a:pos x="59" y="699"/>
                </a:cxn>
                <a:cxn ang="0">
                  <a:pos x="105" y="704"/>
                </a:cxn>
                <a:cxn ang="0">
                  <a:pos x="195" y="697"/>
                </a:cxn>
                <a:cxn ang="0">
                  <a:pos x="412" y="690"/>
                </a:cxn>
                <a:cxn ang="0">
                  <a:pos x="449" y="685"/>
                </a:cxn>
                <a:cxn ang="0">
                  <a:pos x="459" y="674"/>
                </a:cxn>
                <a:cxn ang="0">
                  <a:pos x="468" y="655"/>
                </a:cxn>
                <a:cxn ang="0">
                  <a:pos x="466" y="637"/>
                </a:cxn>
                <a:cxn ang="0">
                  <a:pos x="434" y="419"/>
                </a:cxn>
                <a:cxn ang="0">
                  <a:pos x="942" y="296"/>
                </a:cxn>
                <a:cxn ang="0">
                  <a:pos x="947" y="322"/>
                </a:cxn>
                <a:cxn ang="0">
                  <a:pos x="952" y="327"/>
                </a:cxn>
                <a:cxn ang="0">
                  <a:pos x="1046" y="362"/>
                </a:cxn>
                <a:cxn ang="0">
                  <a:pos x="1056" y="378"/>
                </a:cxn>
                <a:cxn ang="0">
                  <a:pos x="1065" y="417"/>
                </a:cxn>
                <a:cxn ang="0">
                  <a:pos x="1067" y="424"/>
                </a:cxn>
                <a:cxn ang="0">
                  <a:pos x="1081" y="435"/>
                </a:cxn>
                <a:cxn ang="0">
                  <a:pos x="1146" y="428"/>
                </a:cxn>
                <a:cxn ang="0">
                  <a:pos x="1139" y="528"/>
                </a:cxn>
                <a:cxn ang="0">
                  <a:pos x="1134" y="565"/>
                </a:cxn>
                <a:cxn ang="0">
                  <a:pos x="1111" y="651"/>
                </a:cxn>
                <a:cxn ang="0">
                  <a:pos x="1107" y="672"/>
                </a:cxn>
                <a:cxn ang="0">
                  <a:pos x="1097" y="685"/>
                </a:cxn>
                <a:cxn ang="0">
                  <a:pos x="1061" y="688"/>
                </a:cxn>
                <a:cxn ang="0">
                  <a:pos x="966" y="699"/>
                </a:cxn>
                <a:cxn ang="0">
                  <a:pos x="936" y="704"/>
                </a:cxn>
                <a:cxn ang="0">
                  <a:pos x="912" y="717"/>
                </a:cxn>
                <a:cxn ang="0">
                  <a:pos x="862" y="732"/>
                </a:cxn>
                <a:cxn ang="0">
                  <a:pos x="829" y="722"/>
                </a:cxn>
                <a:cxn ang="0">
                  <a:pos x="797" y="722"/>
                </a:cxn>
                <a:cxn ang="0">
                  <a:pos x="707" y="755"/>
                </a:cxn>
                <a:cxn ang="0">
                  <a:pos x="685" y="768"/>
                </a:cxn>
                <a:cxn ang="0">
                  <a:pos x="623" y="808"/>
                </a:cxn>
                <a:cxn ang="0">
                  <a:pos x="611" y="822"/>
                </a:cxn>
                <a:cxn ang="0">
                  <a:pos x="598" y="849"/>
                </a:cxn>
                <a:cxn ang="0">
                  <a:pos x="572" y="859"/>
                </a:cxn>
                <a:cxn ang="0">
                  <a:pos x="544" y="875"/>
                </a:cxn>
                <a:cxn ang="0">
                  <a:pos x="528" y="893"/>
                </a:cxn>
                <a:cxn ang="0">
                  <a:pos x="494" y="951"/>
                </a:cxn>
                <a:cxn ang="0">
                  <a:pos x="464" y="1027"/>
                </a:cxn>
                <a:cxn ang="0">
                  <a:pos x="461" y="1064"/>
                </a:cxn>
              </a:cxnLst>
              <a:rect l="0" t="0" r="r" b="b"/>
              <a:pathLst>
                <a:path w="1146" h="1064">
                  <a:moveTo>
                    <a:pt x="461" y="1064"/>
                  </a:moveTo>
                  <a:lnTo>
                    <a:pt x="461" y="1064"/>
                  </a:lnTo>
                  <a:lnTo>
                    <a:pt x="440" y="1064"/>
                  </a:lnTo>
                  <a:lnTo>
                    <a:pt x="422" y="1064"/>
                  </a:lnTo>
                  <a:lnTo>
                    <a:pt x="406" y="1060"/>
                  </a:lnTo>
                  <a:lnTo>
                    <a:pt x="406" y="1060"/>
                  </a:lnTo>
                  <a:lnTo>
                    <a:pt x="375" y="1055"/>
                  </a:lnTo>
                  <a:lnTo>
                    <a:pt x="343" y="1049"/>
                  </a:lnTo>
                  <a:lnTo>
                    <a:pt x="343" y="1049"/>
                  </a:lnTo>
                  <a:lnTo>
                    <a:pt x="325" y="1051"/>
                  </a:lnTo>
                  <a:lnTo>
                    <a:pt x="306" y="1053"/>
                  </a:lnTo>
                  <a:lnTo>
                    <a:pt x="281" y="1055"/>
                  </a:lnTo>
                  <a:lnTo>
                    <a:pt x="253" y="995"/>
                  </a:lnTo>
                  <a:lnTo>
                    <a:pt x="230" y="937"/>
                  </a:lnTo>
                  <a:lnTo>
                    <a:pt x="230" y="937"/>
                  </a:lnTo>
                  <a:lnTo>
                    <a:pt x="228" y="931"/>
                  </a:lnTo>
                  <a:lnTo>
                    <a:pt x="225" y="926"/>
                  </a:lnTo>
                  <a:lnTo>
                    <a:pt x="221" y="921"/>
                  </a:lnTo>
                  <a:lnTo>
                    <a:pt x="216" y="916"/>
                  </a:lnTo>
                  <a:lnTo>
                    <a:pt x="211" y="912"/>
                  </a:lnTo>
                  <a:lnTo>
                    <a:pt x="202" y="912"/>
                  </a:lnTo>
                  <a:lnTo>
                    <a:pt x="193" y="916"/>
                  </a:lnTo>
                  <a:lnTo>
                    <a:pt x="193" y="916"/>
                  </a:lnTo>
                  <a:lnTo>
                    <a:pt x="172" y="928"/>
                  </a:lnTo>
                  <a:lnTo>
                    <a:pt x="153" y="938"/>
                  </a:lnTo>
                  <a:lnTo>
                    <a:pt x="133" y="947"/>
                  </a:lnTo>
                  <a:lnTo>
                    <a:pt x="133" y="947"/>
                  </a:lnTo>
                  <a:lnTo>
                    <a:pt x="117" y="953"/>
                  </a:lnTo>
                  <a:lnTo>
                    <a:pt x="103" y="954"/>
                  </a:lnTo>
                  <a:lnTo>
                    <a:pt x="98" y="954"/>
                  </a:lnTo>
                  <a:lnTo>
                    <a:pt x="95" y="954"/>
                  </a:lnTo>
                  <a:lnTo>
                    <a:pt x="95" y="954"/>
                  </a:lnTo>
                  <a:lnTo>
                    <a:pt x="84" y="949"/>
                  </a:lnTo>
                  <a:lnTo>
                    <a:pt x="72" y="940"/>
                  </a:lnTo>
                  <a:lnTo>
                    <a:pt x="59" y="928"/>
                  </a:lnTo>
                  <a:lnTo>
                    <a:pt x="59" y="928"/>
                  </a:lnTo>
                  <a:lnTo>
                    <a:pt x="63" y="924"/>
                  </a:lnTo>
                  <a:lnTo>
                    <a:pt x="65" y="919"/>
                  </a:lnTo>
                  <a:lnTo>
                    <a:pt x="65" y="914"/>
                  </a:lnTo>
                  <a:lnTo>
                    <a:pt x="65" y="914"/>
                  </a:lnTo>
                  <a:lnTo>
                    <a:pt x="61" y="901"/>
                  </a:lnTo>
                  <a:lnTo>
                    <a:pt x="58" y="887"/>
                  </a:lnTo>
                  <a:lnTo>
                    <a:pt x="58" y="887"/>
                  </a:lnTo>
                  <a:lnTo>
                    <a:pt x="56" y="875"/>
                  </a:lnTo>
                  <a:lnTo>
                    <a:pt x="56" y="866"/>
                  </a:lnTo>
                  <a:lnTo>
                    <a:pt x="56" y="866"/>
                  </a:lnTo>
                  <a:lnTo>
                    <a:pt x="17" y="819"/>
                  </a:lnTo>
                  <a:lnTo>
                    <a:pt x="17" y="819"/>
                  </a:lnTo>
                  <a:lnTo>
                    <a:pt x="12" y="808"/>
                  </a:lnTo>
                  <a:lnTo>
                    <a:pt x="5" y="790"/>
                  </a:lnTo>
                  <a:lnTo>
                    <a:pt x="1" y="773"/>
                  </a:lnTo>
                  <a:lnTo>
                    <a:pt x="0" y="764"/>
                  </a:lnTo>
                  <a:lnTo>
                    <a:pt x="1" y="759"/>
                  </a:lnTo>
                  <a:lnTo>
                    <a:pt x="1" y="759"/>
                  </a:lnTo>
                  <a:lnTo>
                    <a:pt x="5" y="727"/>
                  </a:lnTo>
                  <a:lnTo>
                    <a:pt x="8" y="704"/>
                  </a:lnTo>
                  <a:lnTo>
                    <a:pt x="8" y="704"/>
                  </a:lnTo>
                  <a:lnTo>
                    <a:pt x="28" y="701"/>
                  </a:lnTo>
                  <a:lnTo>
                    <a:pt x="44" y="699"/>
                  </a:lnTo>
                  <a:lnTo>
                    <a:pt x="59" y="699"/>
                  </a:lnTo>
                  <a:lnTo>
                    <a:pt x="59" y="699"/>
                  </a:lnTo>
                  <a:lnTo>
                    <a:pt x="88" y="704"/>
                  </a:lnTo>
                  <a:lnTo>
                    <a:pt x="105" y="704"/>
                  </a:lnTo>
                  <a:lnTo>
                    <a:pt x="125" y="702"/>
                  </a:lnTo>
                  <a:lnTo>
                    <a:pt x="125" y="702"/>
                  </a:lnTo>
                  <a:lnTo>
                    <a:pt x="195" y="697"/>
                  </a:lnTo>
                  <a:lnTo>
                    <a:pt x="248" y="694"/>
                  </a:lnTo>
                  <a:lnTo>
                    <a:pt x="412" y="690"/>
                  </a:lnTo>
                  <a:lnTo>
                    <a:pt x="412" y="690"/>
                  </a:lnTo>
                  <a:lnTo>
                    <a:pt x="429" y="688"/>
                  </a:lnTo>
                  <a:lnTo>
                    <a:pt x="443" y="687"/>
                  </a:lnTo>
                  <a:lnTo>
                    <a:pt x="449" y="685"/>
                  </a:lnTo>
                  <a:lnTo>
                    <a:pt x="454" y="681"/>
                  </a:lnTo>
                  <a:lnTo>
                    <a:pt x="454" y="681"/>
                  </a:lnTo>
                  <a:lnTo>
                    <a:pt x="459" y="674"/>
                  </a:lnTo>
                  <a:lnTo>
                    <a:pt x="464" y="667"/>
                  </a:lnTo>
                  <a:lnTo>
                    <a:pt x="466" y="662"/>
                  </a:lnTo>
                  <a:lnTo>
                    <a:pt x="468" y="655"/>
                  </a:lnTo>
                  <a:lnTo>
                    <a:pt x="468" y="646"/>
                  </a:lnTo>
                  <a:lnTo>
                    <a:pt x="466" y="637"/>
                  </a:lnTo>
                  <a:lnTo>
                    <a:pt x="466" y="637"/>
                  </a:lnTo>
                  <a:lnTo>
                    <a:pt x="459" y="591"/>
                  </a:lnTo>
                  <a:lnTo>
                    <a:pt x="447" y="517"/>
                  </a:lnTo>
                  <a:lnTo>
                    <a:pt x="434" y="419"/>
                  </a:lnTo>
                  <a:lnTo>
                    <a:pt x="382" y="15"/>
                  </a:lnTo>
                  <a:lnTo>
                    <a:pt x="523" y="0"/>
                  </a:lnTo>
                  <a:lnTo>
                    <a:pt x="942" y="296"/>
                  </a:lnTo>
                  <a:lnTo>
                    <a:pt x="942" y="296"/>
                  </a:lnTo>
                  <a:lnTo>
                    <a:pt x="943" y="311"/>
                  </a:lnTo>
                  <a:lnTo>
                    <a:pt x="947" y="322"/>
                  </a:lnTo>
                  <a:lnTo>
                    <a:pt x="949" y="325"/>
                  </a:lnTo>
                  <a:lnTo>
                    <a:pt x="952" y="327"/>
                  </a:lnTo>
                  <a:lnTo>
                    <a:pt x="952" y="327"/>
                  </a:lnTo>
                  <a:lnTo>
                    <a:pt x="972" y="333"/>
                  </a:lnTo>
                  <a:lnTo>
                    <a:pt x="1003" y="345"/>
                  </a:lnTo>
                  <a:lnTo>
                    <a:pt x="1046" y="362"/>
                  </a:lnTo>
                  <a:lnTo>
                    <a:pt x="1046" y="362"/>
                  </a:lnTo>
                  <a:lnTo>
                    <a:pt x="1049" y="366"/>
                  </a:lnTo>
                  <a:lnTo>
                    <a:pt x="1056" y="378"/>
                  </a:lnTo>
                  <a:lnTo>
                    <a:pt x="1061" y="396"/>
                  </a:lnTo>
                  <a:lnTo>
                    <a:pt x="1065" y="407"/>
                  </a:lnTo>
                  <a:lnTo>
                    <a:pt x="1065" y="417"/>
                  </a:lnTo>
                  <a:lnTo>
                    <a:pt x="1065" y="417"/>
                  </a:lnTo>
                  <a:lnTo>
                    <a:pt x="1067" y="421"/>
                  </a:lnTo>
                  <a:lnTo>
                    <a:pt x="1067" y="424"/>
                  </a:lnTo>
                  <a:lnTo>
                    <a:pt x="1070" y="428"/>
                  </a:lnTo>
                  <a:lnTo>
                    <a:pt x="1074" y="431"/>
                  </a:lnTo>
                  <a:lnTo>
                    <a:pt x="1081" y="435"/>
                  </a:lnTo>
                  <a:lnTo>
                    <a:pt x="1091" y="436"/>
                  </a:lnTo>
                  <a:lnTo>
                    <a:pt x="1105" y="435"/>
                  </a:lnTo>
                  <a:lnTo>
                    <a:pt x="1146" y="428"/>
                  </a:lnTo>
                  <a:lnTo>
                    <a:pt x="1146" y="428"/>
                  </a:lnTo>
                  <a:lnTo>
                    <a:pt x="1142" y="482"/>
                  </a:lnTo>
                  <a:lnTo>
                    <a:pt x="1139" y="528"/>
                  </a:lnTo>
                  <a:lnTo>
                    <a:pt x="1135" y="547"/>
                  </a:lnTo>
                  <a:lnTo>
                    <a:pt x="1134" y="565"/>
                  </a:lnTo>
                  <a:lnTo>
                    <a:pt x="1134" y="565"/>
                  </a:lnTo>
                  <a:lnTo>
                    <a:pt x="1120" y="618"/>
                  </a:lnTo>
                  <a:lnTo>
                    <a:pt x="1114" y="637"/>
                  </a:lnTo>
                  <a:lnTo>
                    <a:pt x="1111" y="651"/>
                  </a:lnTo>
                  <a:lnTo>
                    <a:pt x="1111" y="651"/>
                  </a:lnTo>
                  <a:lnTo>
                    <a:pt x="1107" y="662"/>
                  </a:lnTo>
                  <a:lnTo>
                    <a:pt x="1107" y="672"/>
                  </a:lnTo>
                  <a:lnTo>
                    <a:pt x="1105" y="678"/>
                  </a:lnTo>
                  <a:lnTo>
                    <a:pt x="1102" y="681"/>
                  </a:lnTo>
                  <a:lnTo>
                    <a:pt x="1097" y="685"/>
                  </a:lnTo>
                  <a:lnTo>
                    <a:pt x="1088" y="685"/>
                  </a:lnTo>
                  <a:lnTo>
                    <a:pt x="1088" y="685"/>
                  </a:lnTo>
                  <a:lnTo>
                    <a:pt x="1061" y="688"/>
                  </a:lnTo>
                  <a:lnTo>
                    <a:pt x="1026" y="692"/>
                  </a:lnTo>
                  <a:lnTo>
                    <a:pt x="993" y="697"/>
                  </a:lnTo>
                  <a:lnTo>
                    <a:pt x="966" y="699"/>
                  </a:lnTo>
                  <a:lnTo>
                    <a:pt x="966" y="699"/>
                  </a:lnTo>
                  <a:lnTo>
                    <a:pt x="949" y="701"/>
                  </a:lnTo>
                  <a:lnTo>
                    <a:pt x="936" y="704"/>
                  </a:lnTo>
                  <a:lnTo>
                    <a:pt x="926" y="711"/>
                  </a:lnTo>
                  <a:lnTo>
                    <a:pt x="912" y="717"/>
                  </a:lnTo>
                  <a:lnTo>
                    <a:pt x="912" y="717"/>
                  </a:lnTo>
                  <a:lnTo>
                    <a:pt x="880" y="727"/>
                  </a:lnTo>
                  <a:lnTo>
                    <a:pt x="862" y="732"/>
                  </a:lnTo>
                  <a:lnTo>
                    <a:pt x="862" y="732"/>
                  </a:lnTo>
                  <a:lnTo>
                    <a:pt x="854" y="731"/>
                  </a:lnTo>
                  <a:lnTo>
                    <a:pt x="838" y="725"/>
                  </a:lnTo>
                  <a:lnTo>
                    <a:pt x="829" y="722"/>
                  </a:lnTo>
                  <a:lnTo>
                    <a:pt x="818" y="720"/>
                  </a:lnTo>
                  <a:lnTo>
                    <a:pt x="808" y="720"/>
                  </a:lnTo>
                  <a:lnTo>
                    <a:pt x="797" y="722"/>
                  </a:lnTo>
                  <a:lnTo>
                    <a:pt x="797" y="722"/>
                  </a:lnTo>
                  <a:lnTo>
                    <a:pt x="739" y="741"/>
                  </a:lnTo>
                  <a:lnTo>
                    <a:pt x="707" y="755"/>
                  </a:lnTo>
                  <a:lnTo>
                    <a:pt x="693" y="761"/>
                  </a:lnTo>
                  <a:lnTo>
                    <a:pt x="685" y="768"/>
                  </a:lnTo>
                  <a:lnTo>
                    <a:pt x="685" y="768"/>
                  </a:lnTo>
                  <a:lnTo>
                    <a:pt x="663" y="782"/>
                  </a:lnTo>
                  <a:lnTo>
                    <a:pt x="642" y="796"/>
                  </a:lnTo>
                  <a:lnTo>
                    <a:pt x="623" y="808"/>
                  </a:lnTo>
                  <a:lnTo>
                    <a:pt x="616" y="815"/>
                  </a:lnTo>
                  <a:lnTo>
                    <a:pt x="611" y="822"/>
                  </a:lnTo>
                  <a:lnTo>
                    <a:pt x="611" y="822"/>
                  </a:lnTo>
                  <a:lnTo>
                    <a:pt x="605" y="835"/>
                  </a:lnTo>
                  <a:lnTo>
                    <a:pt x="602" y="843"/>
                  </a:lnTo>
                  <a:lnTo>
                    <a:pt x="598" y="849"/>
                  </a:lnTo>
                  <a:lnTo>
                    <a:pt x="588" y="854"/>
                  </a:lnTo>
                  <a:lnTo>
                    <a:pt x="588" y="854"/>
                  </a:lnTo>
                  <a:lnTo>
                    <a:pt x="572" y="859"/>
                  </a:lnTo>
                  <a:lnTo>
                    <a:pt x="558" y="866"/>
                  </a:lnTo>
                  <a:lnTo>
                    <a:pt x="551" y="870"/>
                  </a:lnTo>
                  <a:lnTo>
                    <a:pt x="544" y="875"/>
                  </a:lnTo>
                  <a:lnTo>
                    <a:pt x="537" y="884"/>
                  </a:lnTo>
                  <a:lnTo>
                    <a:pt x="528" y="893"/>
                  </a:lnTo>
                  <a:lnTo>
                    <a:pt x="528" y="893"/>
                  </a:lnTo>
                  <a:lnTo>
                    <a:pt x="519" y="909"/>
                  </a:lnTo>
                  <a:lnTo>
                    <a:pt x="507" y="928"/>
                  </a:lnTo>
                  <a:lnTo>
                    <a:pt x="494" y="951"/>
                  </a:lnTo>
                  <a:lnTo>
                    <a:pt x="482" y="977"/>
                  </a:lnTo>
                  <a:lnTo>
                    <a:pt x="471" y="1002"/>
                  </a:lnTo>
                  <a:lnTo>
                    <a:pt x="464" y="1027"/>
                  </a:lnTo>
                  <a:lnTo>
                    <a:pt x="461" y="1048"/>
                  </a:lnTo>
                  <a:lnTo>
                    <a:pt x="459" y="1056"/>
                  </a:lnTo>
                  <a:lnTo>
                    <a:pt x="461" y="1064"/>
                  </a:lnTo>
                  <a:lnTo>
                    <a:pt x="461" y="10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3" name="Freeform 17">
              <a:extLst>
                <a:ext uri="{FF2B5EF4-FFF2-40B4-BE49-F238E27FC236}">
                  <a16:creationId xmlns:a16="http://schemas.microsoft.com/office/drawing/2014/main" id="{65BB39CE-1C05-4C53-B71F-9908F55A55D4}"/>
                </a:ext>
              </a:extLst>
            </p:cNvPr>
            <p:cNvSpPr>
              <a:spLocks/>
            </p:cNvSpPr>
            <p:nvPr/>
          </p:nvSpPr>
          <p:spPr bwMode="auto">
            <a:xfrm>
              <a:off x="2870552" y="3546089"/>
              <a:ext cx="248053" cy="265900"/>
            </a:xfrm>
            <a:custGeom>
              <a:avLst/>
              <a:gdLst/>
              <a:ahLst/>
              <a:cxnLst>
                <a:cxn ang="0">
                  <a:pos x="267" y="294"/>
                </a:cxn>
                <a:cxn ang="0">
                  <a:pos x="269" y="259"/>
                </a:cxn>
                <a:cxn ang="0">
                  <a:pos x="271" y="251"/>
                </a:cxn>
                <a:cxn ang="0">
                  <a:pos x="273" y="236"/>
                </a:cxn>
                <a:cxn ang="0">
                  <a:pos x="276" y="218"/>
                </a:cxn>
                <a:cxn ang="0">
                  <a:pos x="276" y="199"/>
                </a:cxn>
                <a:cxn ang="0">
                  <a:pos x="274" y="193"/>
                </a:cxn>
                <a:cxn ang="0">
                  <a:pos x="269" y="179"/>
                </a:cxn>
                <a:cxn ang="0">
                  <a:pos x="258" y="170"/>
                </a:cxn>
                <a:cxn ang="0">
                  <a:pos x="209" y="133"/>
                </a:cxn>
                <a:cxn ang="0">
                  <a:pos x="199" y="114"/>
                </a:cxn>
                <a:cxn ang="0">
                  <a:pos x="195" y="104"/>
                </a:cxn>
                <a:cxn ang="0">
                  <a:pos x="197" y="70"/>
                </a:cxn>
                <a:cxn ang="0">
                  <a:pos x="199" y="49"/>
                </a:cxn>
                <a:cxn ang="0">
                  <a:pos x="174" y="58"/>
                </a:cxn>
                <a:cxn ang="0">
                  <a:pos x="167" y="58"/>
                </a:cxn>
                <a:cxn ang="0">
                  <a:pos x="151" y="47"/>
                </a:cxn>
                <a:cxn ang="0">
                  <a:pos x="135" y="31"/>
                </a:cxn>
                <a:cxn ang="0">
                  <a:pos x="128" y="14"/>
                </a:cxn>
                <a:cxn ang="0">
                  <a:pos x="123" y="1"/>
                </a:cxn>
                <a:cxn ang="0">
                  <a:pos x="116" y="0"/>
                </a:cxn>
                <a:cxn ang="0">
                  <a:pos x="103" y="1"/>
                </a:cxn>
                <a:cxn ang="0">
                  <a:pos x="77" y="23"/>
                </a:cxn>
                <a:cxn ang="0">
                  <a:pos x="68" y="38"/>
                </a:cxn>
                <a:cxn ang="0">
                  <a:pos x="54" y="56"/>
                </a:cxn>
                <a:cxn ang="0">
                  <a:pos x="47" y="63"/>
                </a:cxn>
                <a:cxn ang="0">
                  <a:pos x="31" y="79"/>
                </a:cxn>
                <a:cxn ang="0">
                  <a:pos x="24" y="84"/>
                </a:cxn>
                <a:cxn ang="0">
                  <a:pos x="15" y="93"/>
                </a:cxn>
                <a:cxn ang="0">
                  <a:pos x="5" y="96"/>
                </a:cxn>
                <a:cxn ang="0">
                  <a:pos x="0" y="98"/>
                </a:cxn>
                <a:cxn ang="0">
                  <a:pos x="0" y="100"/>
                </a:cxn>
                <a:cxn ang="0">
                  <a:pos x="12" y="105"/>
                </a:cxn>
                <a:cxn ang="0">
                  <a:pos x="22" y="109"/>
                </a:cxn>
                <a:cxn ang="0">
                  <a:pos x="35" y="111"/>
                </a:cxn>
                <a:cxn ang="0">
                  <a:pos x="51" y="114"/>
                </a:cxn>
                <a:cxn ang="0">
                  <a:pos x="56" y="128"/>
                </a:cxn>
                <a:cxn ang="0">
                  <a:pos x="58" y="135"/>
                </a:cxn>
                <a:cxn ang="0">
                  <a:pos x="66" y="148"/>
                </a:cxn>
                <a:cxn ang="0">
                  <a:pos x="81" y="162"/>
                </a:cxn>
                <a:cxn ang="0">
                  <a:pos x="112" y="186"/>
                </a:cxn>
                <a:cxn ang="0">
                  <a:pos x="123" y="197"/>
                </a:cxn>
                <a:cxn ang="0">
                  <a:pos x="156" y="230"/>
                </a:cxn>
                <a:cxn ang="0">
                  <a:pos x="193" y="262"/>
                </a:cxn>
                <a:cxn ang="0">
                  <a:pos x="230" y="290"/>
                </a:cxn>
                <a:cxn ang="0">
                  <a:pos x="237" y="296"/>
                </a:cxn>
                <a:cxn ang="0">
                  <a:pos x="262" y="297"/>
                </a:cxn>
                <a:cxn ang="0">
                  <a:pos x="267" y="294"/>
                </a:cxn>
              </a:cxnLst>
              <a:rect l="0" t="0" r="r" b="b"/>
              <a:pathLst>
                <a:path w="278" h="297">
                  <a:moveTo>
                    <a:pt x="267" y="294"/>
                  </a:moveTo>
                  <a:lnTo>
                    <a:pt x="267" y="294"/>
                  </a:lnTo>
                  <a:lnTo>
                    <a:pt x="269" y="280"/>
                  </a:lnTo>
                  <a:lnTo>
                    <a:pt x="269" y="259"/>
                  </a:lnTo>
                  <a:lnTo>
                    <a:pt x="269" y="259"/>
                  </a:lnTo>
                  <a:lnTo>
                    <a:pt x="271" y="251"/>
                  </a:lnTo>
                  <a:lnTo>
                    <a:pt x="271" y="246"/>
                  </a:lnTo>
                  <a:lnTo>
                    <a:pt x="273" y="236"/>
                  </a:lnTo>
                  <a:lnTo>
                    <a:pt x="273" y="236"/>
                  </a:lnTo>
                  <a:lnTo>
                    <a:pt x="276" y="218"/>
                  </a:lnTo>
                  <a:lnTo>
                    <a:pt x="278" y="207"/>
                  </a:lnTo>
                  <a:lnTo>
                    <a:pt x="276" y="199"/>
                  </a:lnTo>
                  <a:lnTo>
                    <a:pt x="276" y="199"/>
                  </a:lnTo>
                  <a:lnTo>
                    <a:pt x="274" y="193"/>
                  </a:lnTo>
                  <a:lnTo>
                    <a:pt x="274" y="186"/>
                  </a:lnTo>
                  <a:lnTo>
                    <a:pt x="269" y="179"/>
                  </a:lnTo>
                  <a:lnTo>
                    <a:pt x="258" y="170"/>
                  </a:lnTo>
                  <a:lnTo>
                    <a:pt x="258" y="170"/>
                  </a:lnTo>
                  <a:lnTo>
                    <a:pt x="209" y="133"/>
                  </a:lnTo>
                  <a:lnTo>
                    <a:pt x="209" y="133"/>
                  </a:lnTo>
                  <a:lnTo>
                    <a:pt x="204" y="125"/>
                  </a:lnTo>
                  <a:lnTo>
                    <a:pt x="199" y="114"/>
                  </a:lnTo>
                  <a:lnTo>
                    <a:pt x="195" y="104"/>
                  </a:lnTo>
                  <a:lnTo>
                    <a:pt x="195" y="104"/>
                  </a:lnTo>
                  <a:lnTo>
                    <a:pt x="195" y="88"/>
                  </a:lnTo>
                  <a:lnTo>
                    <a:pt x="197" y="70"/>
                  </a:lnTo>
                  <a:lnTo>
                    <a:pt x="199" y="49"/>
                  </a:lnTo>
                  <a:lnTo>
                    <a:pt x="199" y="49"/>
                  </a:lnTo>
                  <a:lnTo>
                    <a:pt x="184" y="54"/>
                  </a:lnTo>
                  <a:lnTo>
                    <a:pt x="174" y="58"/>
                  </a:lnTo>
                  <a:lnTo>
                    <a:pt x="167" y="58"/>
                  </a:lnTo>
                  <a:lnTo>
                    <a:pt x="167" y="58"/>
                  </a:lnTo>
                  <a:lnTo>
                    <a:pt x="160" y="54"/>
                  </a:lnTo>
                  <a:lnTo>
                    <a:pt x="151" y="47"/>
                  </a:lnTo>
                  <a:lnTo>
                    <a:pt x="142" y="38"/>
                  </a:lnTo>
                  <a:lnTo>
                    <a:pt x="135" y="31"/>
                  </a:lnTo>
                  <a:lnTo>
                    <a:pt x="135" y="31"/>
                  </a:lnTo>
                  <a:lnTo>
                    <a:pt x="128" y="14"/>
                  </a:lnTo>
                  <a:lnTo>
                    <a:pt x="123" y="1"/>
                  </a:lnTo>
                  <a:lnTo>
                    <a:pt x="123" y="1"/>
                  </a:lnTo>
                  <a:lnTo>
                    <a:pt x="121" y="0"/>
                  </a:lnTo>
                  <a:lnTo>
                    <a:pt x="116" y="0"/>
                  </a:lnTo>
                  <a:lnTo>
                    <a:pt x="109" y="0"/>
                  </a:lnTo>
                  <a:lnTo>
                    <a:pt x="103" y="1"/>
                  </a:lnTo>
                  <a:lnTo>
                    <a:pt x="103" y="1"/>
                  </a:lnTo>
                  <a:lnTo>
                    <a:pt x="77" y="23"/>
                  </a:lnTo>
                  <a:lnTo>
                    <a:pt x="77" y="23"/>
                  </a:lnTo>
                  <a:lnTo>
                    <a:pt x="68" y="38"/>
                  </a:lnTo>
                  <a:lnTo>
                    <a:pt x="61" y="49"/>
                  </a:lnTo>
                  <a:lnTo>
                    <a:pt x="54" y="56"/>
                  </a:lnTo>
                  <a:lnTo>
                    <a:pt x="54" y="56"/>
                  </a:lnTo>
                  <a:lnTo>
                    <a:pt x="47" y="63"/>
                  </a:lnTo>
                  <a:lnTo>
                    <a:pt x="38" y="70"/>
                  </a:lnTo>
                  <a:lnTo>
                    <a:pt x="31" y="79"/>
                  </a:lnTo>
                  <a:lnTo>
                    <a:pt x="24" y="84"/>
                  </a:lnTo>
                  <a:lnTo>
                    <a:pt x="24" y="84"/>
                  </a:lnTo>
                  <a:lnTo>
                    <a:pt x="21" y="88"/>
                  </a:lnTo>
                  <a:lnTo>
                    <a:pt x="15" y="93"/>
                  </a:lnTo>
                  <a:lnTo>
                    <a:pt x="12" y="96"/>
                  </a:lnTo>
                  <a:lnTo>
                    <a:pt x="5" y="96"/>
                  </a:lnTo>
                  <a:lnTo>
                    <a:pt x="5" y="96"/>
                  </a:lnTo>
                  <a:lnTo>
                    <a:pt x="0" y="98"/>
                  </a:lnTo>
                  <a:lnTo>
                    <a:pt x="0" y="98"/>
                  </a:lnTo>
                  <a:lnTo>
                    <a:pt x="0" y="100"/>
                  </a:lnTo>
                  <a:lnTo>
                    <a:pt x="12" y="105"/>
                  </a:lnTo>
                  <a:lnTo>
                    <a:pt x="12" y="105"/>
                  </a:lnTo>
                  <a:lnTo>
                    <a:pt x="17" y="109"/>
                  </a:lnTo>
                  <a:lnTo>
                    <a:pt x="22" y="109"/>
                  </a:lnTo>
                  <a:lnTo>
                    <a:pt x="35" y="111"/>
                  </a:lnTo>
                  <a:lnTo>
                    <a:pt x="35" y="111"/>
                  </a:lnTo>
                  <a:lnTo>
                    <a:pt x="44" y="111"/>
                  </a:lnTo>
                  <a:lnTo>
                    <a:pt x="51" y="114"/>
                  </a:lnTo>
                  <a:lnTo>
                    <a:pt x="54" y="119"/>
                  </a:lnTo>
                  <a:lnTo>
                    <a:pt x="56" y="128"/>
                  </a:lnTo>
                  <a:lnTo>
                    <a:pt x="56" y="128"/>
                  </a:lnTo>
                  <a:lnTo>
                    <a:pt x="58" y="135"/>
                  </a:lnTo>
                  <a:lnTo>
                    <a:pt x="59" y="141"/>
                  </a:lnTo>
                  <a:lnTo>
                    <a:pt x="66" y="148"/>
                  </a:lnTo>
                  <a:lnTo>
                    <a:pt x="81" y="162"/>
                  </a:lnTo>
                  <a:lnTo>
                    <a:pt x="81" y="162"/>
                  </a:lnTo>
                  <a:lnTo>
                    <a:pt x="102" y="178"/>
                  </a:lnTo>
                  <a:lnTo>
                    <a:pt x="112" y="186"/>
                  </a:lnTo>
                  <a:lnTo>
                    <a:pt x="123" y="197"/>
                  </a:lnTo>
                  <a:lnTo>
                    <a:pt x="123" y="197"/>
                  </a:lnTo>
                  <a:lnTo>
                    <a:pt x="137" y="211"/>
                  </a:lnTo>
                  <a:lnTo>
                    <a:pt x="156" y="230"/>
                  </a:lnTo>
                  <a:lnTo>
                    <a:pt x="193" y="262"/>
                  </a:lnTo>
                  <a:lnTo>
                    <a:pt x="193" y="262"/>
                  </a:lnTo>
                  <a:lnTo>
                    <a:pt x="218" y="281"/>
                  </a:lnTo>
                  <a:lnTo>
                    <a:pt x="230" y="290"/>
                  </a:lnTo>
                  <a:lnTo>
                    <a:pt x="237" y="296"/>
                  </a:lnTo>
                  <a:lnTo>
                    <a:pt x="237" y="296"/>
                  </a:lnTo>
                  <a:lnTo>
                    <a:pt x="253" y="297"/>
                  </a:lnTo>
                  <a:lnTo>
                    <a:pt x="262" y="297"/>
                  </a:lnTo>
                  <a:lnTo>
                    <a:pt x="265" y="296"/>
                  </a:lnTo>
                  <a:lnTo>
                    <a:pt x="267" y="294"/>
                  </a:lnTo>
                  <a:lnTo>
                    <a:pt x="267" y="29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4" name="Freeform 18">
              <a:extLst>
                <a:ext uri="{FF2B5EF4-FFF2-40B4-BE49-F238E27FC236}">
                  <a16:creationId xmlns:a16="http://schemas.microsoft.com/office/drawing/2014/main" id="{67E4BB29-931B-40EE-8161-D4F94DB4CF52}"/>
                </a:ext>
              </a:extLst>
            </p:cNvPr>
            <p:cNvSpPr>
              <a:spLocks/>
            </p:cNvSpPr>
            <p:nvPr/>
          </p:nvSpPr>
          <p:spPr bwMode="auto">
            <a:xfrm>
              <a:off x="3045439" y="3415817"/>
              <a:ext cx="378326" cy="392602"/>
            </a:xfrm>
            <a:custGeom>
              <a:avLst/>
              <a:gdLst/>
              <a:ahLst/>
              <a:cxnLst>
                <a:cxn ang="0">
                  <a:pos x="211" y="7"/>
                </a:cxn>
                <a:cxn ang="0">
                  <a:pos x="213" y="0"/>
                </a:cxn>
                <a:cxn ang="0">
                  <a:pos x="218" y="0"/>
                </a:cxn>
                <a:cxn ang="0">
                  <a:pos x="231" y="2"/>
                </a:cxn>
                <a:cxn ang="0">
                  <a:pos x="255" y="30"/>
                </a:cxn>
                <a:cxn ang="0">
                  <a:pos x="273" y="44"/>
                </a:cxn>
                <a:cxn ang="0">
                  <a:pos x="296" y="48"/>
                </a:cxn>
                <a:cxn ang="0">
                  <a:pos x="324" y="43"/>
                </a:cxn>
                <a:cxn ang="0">
                  <a:pos x="384" y="37"/>
                </a:cxn>
                <a:cxn ang="0">
                  <a:pos x="393" y="44"/>
                </a:cxn>
                <a:cxn ang="0">
                  <a:pos x="403" y="67"/>
                </a:cxn>
                <a:cxn ang="0">
                  <a:pos x="421" y="103"/>
                </a:cxn>
                <a:cxn ang="0">
                  <a:pos x="422" y="111"/>
                </a:cxn>
                <a:cxn ang="0">
                  <a:pos x="415" y="136"/>
                </a:cxn>
                <a:cxn ang="0">
                  <a:pos x="377" y="215"/>
                </a:cxn>
                <a:cxn ang="0">
                  <a:pos x="370" y="229"/>
                </a:cxn>
                <a:cxn ang="0">
                  <a:pos x="378" y="259"/>
                </a:cxn>
                <a:cxn ang="0">
                  <a:pos x="393" y="300"/>
                </a:cxn>
                <a:cxn ang="0">
                  <a:pos x="403" y="351"/>
                </a:cxn>
                <a:cxn ang="0">
                  <a:pos x="405" y="376"/>
                </a:cxn>
                <a:cxn ang="0">
                  <a:pos x="343" y="363"/>
                </a:cxn>
                <a:cxn ang="0">
                  <a:pos x="312" y="365"/>
                </a:cxn>
                <a:cxn ang="0">
                  <a:pos x="273" y="374"/>
                </a:cxn>
                <a:cxn ang="0">
                  <a:pos x="160" y="407"/>
                </a:cxn>
                <a:cxn ang="0">
                  <a:pos x="70" y="441"/>
                </a:cxn>
                <a:cxn ang="0">
                  <a:pos x="77" y="379"/>
                </a:cxn>
                <a:cxn ang="0">
                  <a:pos x="81" y="349"/>
                </a:cxn>
                <a:cxn ang="0">
                  <a:pos x="76" y="332"/>
                </a:cxn>
                <a:cxn ang="0">
                  <a:pos x="53" y="310"/>
                </a:cxn>
                <a:cxn ang="0">
                  <a:pos x="16" y="280"/>
                </a:cxn>
                <a:cxn ang="0">
                  <a:pos x="2" y="266"/>
                </a:cxn>
                <a:cxn ang="0">
                  <a:pos x="0" y="228"/>
                </a:cxn>
                <a:cxn ang="0">
                  <a:pos x="5" y="194"/>
                </a:cxn>
                <a:cxn ang="0">
                  <a:pos x="23" y="175"/>
                </a:cxn>
                <a:cxn ang="0">
                  <a:pos x="33" y="154"/>
                </a:cxn>
                <a:cxn ang="0">
                  <a:pos x="47" y="108"/>
                </a:cxn>
                <a:cxn ang="0">
                  <a:pos x="42" y="76"/>
                </a:cxn>
                <a:cxn ang="0">
                  <a:pos x="40" y="43"/>
                </a:cxn>
                <a:cxn ang="0">
                  <a:pos x="33" y="6"/>
                </a:cxn>
                <a:cxn ang="0">
                  <a:pos x="79" y="2"/>
                </a:cxn>
                <a:cxn ang="0">
                  <a:pos x="130" y="7"/>
                </a:cxn>
                <a:cxn ang="0">
                  <a:pos x="169" y="13"/>
                </a:cxn>
              </a:cxnLst>
              <a:rect l="0" t="0" r="r" b="b"/>
              <a:pathLst>
                <a:path w="422" h="441">
                  <a:moveTo>
                    <a:pt x="213" y="15"/>
                  </a:moveTo>
                  <a:lnTo>
                    <a:pt x="213" y="15"/>
                  </a:lnTo>
                  <a:lnTo>
                    <a:pt x="211" y="7"/>
                  </a:lnTo>
                  <a:lnTo>
                    <a:pt x="211" y="2"/>
                  </a:lnTo>
                  <a:lnTo>
                    <a:pt x="211" y="2"/>
                  </a:lnTo>
                  <a:lnTo>
                    <a:pt x="213" y="0"/>
                  </a:lnTo>
                  <a:lnTo>
                    <a:pt x="213" y="0"/>
                  </a:lnTo>
                  <a:lnTo>
                    <a:pt x="215" y="0"/>
                  </a:lnTo>
                  <a:lnTo>
                    <a:pt x="218" y="0"/>
                  </a:lnTo>
                  <a:lnTo>
                    <a:pt x="223" y="0"/>
                  </a:lnTo>
                  <a:lnTo>
                    <a:pt x="231" y="2"/>
                  </a:lnTo>
                  <a:lnTo>
                    <a:pt x="231" y="2"/>
                  </a:lnTo>
                  <a:lnTo>
                    <a:pt x="239" y="9"/>
                  </a:lnTo>
                  <a:lnTo>
                    <a:pt x="246" y="16"/>
                  </a:lnTo>
                  <a:lnTo>
                    <a:pt x="255" y="30"/>
                  </a:lnTo>
                  <a:lnTo>
                    <a:pt x="255" y="30"/>
                  </a:lnTo>
                  <a:lnTo>
                    <a:pt x="260" y="37"/>
                  </a:lnTo>
                  <a:lnTo>
                    <a:pt x="273" y="44"/>
                  </a:lnTo>
                  <a:lnTo>
                    <a:pt x="280" y="46"/>
                  </a:lnTo>
                  <a:lnTo>
                    <a:pt x="287" y="48"/>
                  </a:lnTo>
                  <a:lnTo>
                    <a:pt x="296" y="48"/>
                  </a:lnTo>
                  <a:lnTo>
                    <a:pt x="304" y="48"/>
                  </a:lnTo>
                  <a:lnTo>
                    <a:pt x="304" y="48"/>
                  </a:lnTo>
                  <a:lnTo>
                    <a:pt x="324" y="43"/>
                  </a:lnTo>
                  <a:lnTo>
                    <a:pt x="348" y="41"/>
                  </a:lnTo>
                  <a:lnTo>
                    <a:pt x="384" y="37"/>
                  </a:lnTo>
                  <a:lnTo>
                    <a:pt x="384" y="37"/>
                  </a:lnTo>
                  <a:lnTo>
                    <a:pt x="385" y="37"/>
                  </a:lnTo>
                  <a:lnTo>
                    <a:pt x="389" y="39"/>
                  </a:lnTo>
                  <a:lnTo>
                    <a:pt x="393" y="44"/>
                  </a:lnTo>
                  <a:lnTo>
                    <a:pt x="398" y="53"/>
                  </a:lnTo>
                  <a:lnTo>
                    <a:pt x="403" y="67"/>
                  </a:lnTo>
                  <a:lnTo>
                    <a:pt x="403" y="67"/>
                  </a:lnTo>
                  <a:lnTo>
                    <a:pt x="408" y="80"/>
                  </a:lnTo>
                  <a:lnTo>
                    <a:pt x="415" y="92"/>
                  </a:lnTo>
                  <a:lnTo>
                    <a:pt x="421" y="103"/>
                  </a:lnTo>
                  <a:lnTo>
                    <a:pt x="422" y="106"/>
                  </a:lnTo>
                  <a:lnTo>
                    <a:pt x="422" y="111"/>
                  </a:lnTo>
                  <a:lnTo>
                    <a:pt x="422" y="111"/>
                  </a:lnTo>
                  <a:lnTo>
                    <a:pt x="422" y="115"/>
                  </a:lnTo>
                  <a:lnTo>
                    <a:pt x="422" y="117"/>
                  </a:lnTo>
                  <a:lnTo>
                    <a:pt x="415" y="136"/>
                  </a:lnTo>
                  <a:lnTo>
                    <a:pt x="415" y="136"/>
                  </a:lnTo>
                  <a:lnTo>
                    <a:pt x="394" y="182"/>
                  </a:lnTo>
                  <a:lnTo>
                    <a:pt x="377" y="215"/>
                  </a:lnTo>
                  <a:lnTo>
                    <a:pt x="377" y="215"/>
                  </a:lnTo>
                  <a:lnTo>
                    <a:pt x="373" y="222"/>
                  </a:lnTo>
                  <a:lnTo>
                    <a:pt x="370" y="229"/>
                  </a:lnTo>
                  <a:lnTo>
                    <a:pt x="370" y="235"/>
                  </a:lnTo>
                  <a:lnTo>
                    <a:pt x="371" y="240"/>
                  </a:lnTo>
                  <a:lnTo>
                    <a:pt x="378" y="259"/>
                  </a:lnTo>
                  <a:lnTo>
                    <a:pt x="378" y="259"/>
                  </a:lnTo>
                  <a:lnTo>
                    <a:pt x="387" y="282"/>
                  </a:lnTo>
                  <a:lnTo>
                    <a:pt x="393" y="300"/>
                  </a:lnTo>
                  <a:lnTo>
                    <a:pt x="401" y="333"/>
                  </a:lnTo>
                  <a:lnTo>
                    <a:pt x="401" y="333"/>
                  </a:lnTo>
                  <a:lnTo>
                    <a:pt x="403" y="351"/>
                  </a:lnTo>
                  <a:lnTo>
                    <a:pt x="405" y="363"/>
                  </a:lnTo>
                  <a:lnTo>
                    <a:pt x="405" y="376"/>
                  </a:lnTo>
                  <a:lnTo>
                    <a:pt x="405" y="376"/>
                  </a:lnTo>
                  <a:lnTo>
                    <a:pt x="380" y="369"/>
                  </a:lnTo>
                  <a:lnTo>
                    <a:pt x="359" y="365"/>
                  </a:lnTo>
                  <a:lnTo>
                    <a:pt x="343" y="363"/>
                  </a:lnTo>
                  <a:lnTo>
                    <a:pt x="343" y="363"/>
                  </a:lnTo>
                  <a:lnTo>
                    <a:pt x="329" y="363"/>
                  </a:lnTo>
                  <a:lnTo>
                    <a:pt x="312" y="365"/>
                  </a:lnTo>
                  <a:lnTo>
                    <a:pt x="292" y="369"/>
                  </a:lnTo>
                  <a:lnTo>
                    <a:pt x="273" y="374"/>
                  </a:lnTo>
                  <a:lnTo>
                    <a:pt x="273" y="374"/>
                  </a:lnTo>
                  <a:lnTo>
                    <a:pt x="213" y="390"/>
                  </a:lnTo>
                  <a:lnTo>
                    <a:pt x="179" y="400"/>
                  </a:lnTo>
                  <a:lnTo>
                    <a:pt x="160" y="407"/>
                  </a:lnTo>
                  <a:lnTo>
                    <a:pt x="160" y="407"/>
                  </a:lnTo>
                  <a:lnTo>
                    <a:pt x="113" y="427"/>
                  </a:lnTo>
                  <a:lnTo>
                    <a:pt x="70" y="441"/>
                  </a:lnTo>
                  <a:lnTo>
                    <a:pt x="72" y="398"/>
                  </a:lnTo>
                  <a:lnTo>
                    <a:pt x="72" y="398"/>
                  </a:lnTo>
                  <a:lnTo>
                    <a:pt x="77" y="379"/>
                  </a:lnTo>
                  <a:lnTo>
                    <a:pt x="77" y="379"/>
                  </a:lnTo>
                  <a:lnTo>
                    <a:pt x="79" y="365"/>
                  </a:lnTo>
                  <a:lnTo>
                    <a:pt x="81" y="349"/>
                  </a:lnTo>
                  <a:lnTo>
                    <a:pt x="81" y="349"/>
                  </a:lnTo>
                  <a:lnTo>
                    <a:pt x="79" y="342"/>
                  </a:lnTo>
                  <a:lnTo>
                    <a:pt x="76" y="332"/>
                  </a:lnTo>
                  <a:lnTo>
                    <a:pt x="76" y="332"/>
                  </a:lnTo>
                  <a:lnTo>
                    <a:pt x="68" y="325"/>
                  </a:lnTo>
                  <a:lnTo>
                    <a:pt x="53" y="310"/>
                  </a:lnTo>
                  <a:lnTo>
                    <a:pt x="28" y="291"/>
                  </a:lnTo>
                  <a:lnTo>
                    <a:pt x="28" y="291"/>
                  </a:lnTo>
                  <a:lnTo>
                    <a:pt x="16" y="280"/>
                  </a:lnTo>
                  <a:lnTo>
                    <a:pt x="7" y="273"/>
                  </a:lnTo>
                  <a:lnTo>
                    <a:pt x="2" y="266"/>
                  </a:lnTo>
                  <a:lnTo>
                    <a:pt x="2" y="266"/>
                  </a:lnTo>
                  <a:lnTo>
                    <a:pt x="0" y="259"/>
                  </a:lnTo>
                  <a:lnTo>
                    <a:pt x="0" y="251"/>
                  </a:lnTo>
                  <a:lnTo>
                    <a:pt x="0" y="228"/>
                  </a:lnTo>
                  <a:lnTo>
                    <a:pt x="2" y="196"/>
                  </a:lnTo>
                  <a:lnTo>
                    <a:pt x="2" y="196"/>
                  </a:lnTo>
                  <a:lnTo>
                    <a:pt x="5" y="194"/>
                  </a:lnTo>
                  <a:lnTo>
                    <a:pt x="12" y="187"/>
                  </a:lnTo>
                  <a:lnTo>
                    <a:pt x="17" y="182"/>
                  </a:lnTo>
                  <a:lnTo>
                    <a:pt x="23" y="175"/>
                  </a:lnTo>
                  <a:lnTo>
                    <a:pt x="28" y="166"/>
                  </a:lnTo>
                  <a:lnTo>
                    <a:pt x="33" y="154"/>
                  </a:lnTo>
                  <a:lnTo>
                    <a:pt x="33" y="154"/>
                  </a:lnTo>
                  <a:lnTo>
                    <a:pt x="40" y="133"/>
                  </a:lnTo>
                  <a:lnTo>
                    <a:pt x="47" y="108"/>
                  </a:lnTo>
                  <a:lnTo>
                    <a:pt x="47" y="108"/>
                  </a:lnTo>
                  <a:lnTo>
                    <a:pt x="46" y="96"/>
                  </a:lnTo>
                  <a:lnTo>
                    <a:pt x="42" y="76"/>
                  </a:lnTo>
                  <a:lnTo>
                    <a:pt x="42" y="76"/>
                  </a:lnTo>
                  <a:lnTo>
                    <a:pt x="40" y="59"/>
                  </a:lnTo>
                  <a:lnTo>
                    <a:pt x="40" y="43"/>
                  </a:lnTo>
                  <a:lnTo>
                    <a:pt x="40" y="43"/>
                  </a:lnTo>
                  <a:lnTo>
                    <a:pt x="39" y="34"/>
                  </a:lnTo>
                  <a:lnTo>
                    <a:pt x="37" y="22"/>
                  </a:lnTo>
                  <a:lnTo>
                    <a:pt x="33" y="6"/>
                  </a:lnTo>
                  <a:lnTo>
                    <a:pt x="33" y="6"/>
                  </a:lnTo>
                  <a:lnTo>
                    <a:pt x="60" y="4"/>
                  </a:lnTo>
                  <a:lnTo>
                    <a:pt x="79" y="2"/>
                  </a:lnTo>
                  <a:lnTo>
                    <a:pt x="95" y="0"/>
                  </a:lnTo>
                  <a:lnTo>
                    <a:pt x="95" y="0"/>
                  </a:lnTo>
                  <a:lnTo>
                    <a:pt x="130" y="7"/>
                  </a:lnTo>
                  <a:lnTo>
                    <a:pt x="151" y="11"/>
                  </a:lnTo>
                  <a:lnTo>
                    <a:pt x="169" y="13"/>
                  </a:lnTo>
                  <a:lnTo>
                    <a:pt x="169" y="13"/>
                  </a:lnTo>
                  <a:lnTo>
                    <a:pt x="213" y="15"/>
                  </a:lnTo>
                  <a:lnTo>
                    <a:pt x="213" y="1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5" name="Freeform 19">
              <a:extLst>
                <a:ext uri="{FF2B5EF4-FFF2-40B4-BE49-F238E27FC236}">
                  <a16:creationId xmlns:a16="http://schemas.microsoft.com/office/drawing/2014/main" id="{E79A64AD-D182-4830-BE0E-EB83237945C2}"/>
                </a:ext>
              </a:extLst>
            </p:cNvPr>
            <p:cNvSpPr>
              <a:spLocks/>
            </p:cNvSpPr>
            <p:nvPr/>
          </p:nvSpPr>
          <p:spPr bwMode="auto">
            <a:xfrm>
              <a:off x="3236387" y="3123149"/>
              <a:ext cx="505029" cy="335497"/>
            </a:xfrm>
            <a:custGeom>
              <a:avLst/>
              <a:gdLst/>
              <a:ahLst/>
              <a:cxnLst>
                <a:cxn ang="0">
                  <a:pos x="567" y="211"/>
                </a:cxn>
                <a:cxn ang="0">
                  <a:pos x="560" y="246"/>
                </a:cxn>
                <a:cxn ang="0">
                  <a:pos x="551" y="253"/>
                </a:cxn>
                <a:cxn ang="0">
                  <a:pos x="505" y="253"/>
                </a:cxn>
                <a:cxn ang="0">
                  <a:pos x="479" y="260"/>
                </a:cxn>
                <a:cxn ang="0">
                  <a:pos x="449" y="280"/>
                </a:cxn>
                <a:cxn ang="0">
                  <a:pos x="442" y="287"/>
                </a:cxn>
                <a:cxn ang="0">
                  <a:pos x="428" y="292"/>
                </a:cxn>
                <a:cxn ang="0">
                  <a:pos x="359" y="278"/>
                </a:cxn>
                <a:cxn ang="0">
                  <a:pos x="303" y="271"/>
                </a:cxn>
                <a:cxn ang="0">
                  <a:pos x="215" y="276"/>
                </a:cxn>
                <a:cxn ang="0">
                  <a:pos x="201" y="283"/>
                </a:cxn>
                <a:cxn ang="0">
                  <a:pos x="180" y="315"/>
                </a:cxn>
                <a:cxn ang="0">
                  <a:pos x="178" y="356"/>
                </a:cxn>
                <a:cxn ang="0">
                  <a:pos x="172" y="366"/>
                </a:cxn>
                <a:cxn ang="0">
                  <a:pos x="153" y="364"/>
                </a:cxn>
                <a:cxn ang="0">
                  <a:pos x="100" y="371"/>
                </a:cxn>
                <a:cxn ang="0">
                  <a:pos x="77" y="375"/>
                </a:cxn>
                <a:cxn ang="0">
                  <a:pos x="62" y="371"/>
                </a:cxn>
                <a:cxn ang="0">
                  <a:pos x="40" y="354"/>
                </a:cxn>
                <a:cxn ang="0">
                  <a:pos x="23" y="334"/>
                </a:cxn>
                <a:cxn ang="0">
                  <a:pos x="7" y="327"/>
                </a:cxn>
                <a:cxn ang="0">
                  <a:pos x="2" y="317"/>
                </a:cxn>
                <a:cxn ang="0">
                  <a:pos x="23" y="248"/>
                </a:cxn>
                <a:cxn ang="0">
                  <a:pos x="44" y="209"/>
                </a:cxn>
                <a:cxn ang="0">
                  <a:pos x="83" y="153"/>
                </a:cxn>
                <a:cxn ang="0">
                  <a:pos x="114" y="134"/>
                </a:cxn>
                <a:cxn ang="0">
                  <a:pos x="141" y="120"/>
                </a:cxn>
                <a:cxn ang="0">
                  <a:pos x="150" y="100"/>
                </a:cxn>
                <a:cxn ang="0">
                  <a:pos x="178" y="76"/>
                </a:cxn>
                <a:cxn ang="0">
                  <a:pos x="225" y="46"/>
                </a:cxn>
                <a:cxn ang="0">
                  <a:pos x="250" y="30"/>
                </a:cxn>
                <a:cxn ang="0">
                  <a:pos x="336" y="0"/>
                </a:cxn>
                <a:cxn ang="0">
                  <a:pos x="377" y="2"/>
                </a:cxn>
                <a:cxn ang="0">
                  <a:pos x="401" y="10"/>
                </a:cxn>
                <a:cxn ang="0">
                  <a:pos x="398" y="14"/>
                </a:cxn>
                <a:cxn ang="0">
                  <a:pos x="398" y="30"/>
                </a:cxn>
                <a:cxn ang="0">
                  <a:pos x="412" y="60"/>
                </a:cxn>
                <a:cxn ang="0">
                  <a:pos x="444" y="100"/>
                </a:cxn>
                <a:cxn ang="0">
                  <a:pos x="456" y="113"/>
                </a:cxn>
                <a:cxn ang="0">
                  <a:pos x="465" y="128"/>
                </a:cxn>
                <a:cxn ang="0">
                  <a:pos x="495" y="158"/>
                </a:cxn>
                <a:cxn ang="0">
                  <a:pos x="528" y="172"/>
                </a:cxn>
                <a:cxn ang="0">
                  <a:pos x="565" y="201"/>
                </a:cxn>
              </a:cxnLst>
              <a:rect l="0" t="0" r="r" b="b"/>
              <a:pathLst>
                <a:path w="567" h="375">
                  <a:moveTo>
                    <a:pt x="567" y="204"/>
                  </a:moveTo>
                  <a:lnTo>
                    <a:pt x="567" y="204"/>
                  </a:lnTo>
                  <a:lnTo>
                    <a:pt x="567" y="211"/>
                  </a:lnTo>
                  <a:lnTo>
                    <a:pt x="565" y="229"/>
                  </a:lnTo>
                  <a:lnTo>
                    <a:pt x="563" y="238"/>
                  </a:lnTo>
                  <a:lnTo>
                    <a:pt x="560" y="246"/>
                  </a:lnTo>
                  <a:lnTo>
                    <a:pt x="556" y="252"/>
                  </a:lnTo>
                  <a:lnTo>
                    <a:pt x="553" y="253"/>
                  </a:lnTo>
                  <a:lnTo>
                    <a:pt x="551" y="253"/>
                  </a:lnTo>
                  <a:lnTo>
                    <a:pt x="551" y="253"/>
                  </a:lnTo>
                  <a:lnTo>
                    <a:pt x="519" y="253"/>
                  </a:lnTo>
                  <a:lnTo>
                    <a:pt x="505" y="253"/>
                  </a:lnTo>
                  <a:lnTo>
                    <a:pt x="491" y="255"/>
                  </a:lnTo>
                  <a:lnTo>
                    <a:pt x="491" y="255"/>
                  </a:lnTo>
                  <a:lnTo>
                    <a:pt x="479" y="260"/>
                  </a:lnTo>
                  <a:lnTo>
                    <a:pt x="468" y="266"/>
                  </a:lnTo>
                  <a:lnTo>
                    <a:pt x="458" y="275"/>
                  </a:lnTo>
                  <a:lnTo>
                    <a:pt x="449" y="280"/>
                  </a:lnTo>
                  <a:lnTo>
                    <a:pt x="449" y="280"/>
                  </a:lnTo>
                  <a:lnTo>
                    <a:pt x="444" y="283"/>
                  </a:lnTo>
                  <a:lnTo>
                    <a:pt x="442" y="287"/>
                  </a:lnTo>
                  <a:lnTo>
                    <a:pt x="437" y="290"/>
                  </a:lnTo>
                  <a:lnTo>
                    <a:pt x="433" y="292"/>
                  </a:lnTo>
                  <a:lnTo>
                    <a:pt x="428" y="292"/>
                  </a:lnTo>
                  <a:lnTo>
                    <a:pt x="410" y="289"/>
                  </a:lnTo>
                  <a:lnTo>
                    <a:pt x="410" y="289"/>
                  </a:lnTo>
                  <a:lnTo>
                    <a:pt x="359" y="278"/>
                  </a:lnTo>
                  <a:lnTo>
                    <a:pt x="333" y="275"/>
                  </a:lnTo>
                  <a:lnTo>
                    <a:pt x="303" y="271"/>
                  </a:lnTo>
                  <a:lnTo>
                    <a:pt x="303" y="271"/>
                  </a:lnTo>
                  <a:lnTo>
                    <a:pt x="269" y="271"/>
                  </a:lnTo>
                  <a:lnTo>
                    <a:pt x="239" y="273"/>
                  </a:lnTo>
                  <a:lnTo>
                    <a:pt x="215" y="276"/>
                  </a:lnTo>
                  <a:lnTo>
                    <a:pt x="206" y="280"/>
                  </a:lnTo>
                  <a:lnTo>
                    <a:pt x="201" y="283"/>
                  </a:lnTo>
                  <a:lnTo>
                    <a:pt x="201" y="283"/>
                  </a:lnTo>
                  <a:lnTo>
                    <a:pt x="190" y="294"/>
                  </a:lnTo>
                  <a:lnTo>
                    <a:pt x="183" y="305"/>
                  </a:lnTo>
                  <a:lnTo>
                    <a:pt x="180" y="315"/>
                  </a:lnTo>
                  <a:lnTo>
                    <a:pt x="178" y="327"/>
                  </a:lnTo>
                  <a:lnTo>
                    <a:pt x="178" y="327"/>
                  </a:lnTo>
                  <a:lnTo>
                    <a:pt x="178" y="356"/>
                  </a:lnTo>
                  <a:lnTo>
                    <a:pt x="180" y="368"/>
                  </a:lnTo>
                  <a:lnTo>
                    <a:pt x="180" y="368"/>
                  </a:lnTo>
                  <a:lnTo>
                    <a:pt x="172" y="366"/>
                  </a:lnTo>
                  <a:lnTo>
                    <a:pt x="165" y="364"/>
                  </a:lnTo>
                  <a:lnTo>
                    <a:pt x="153" y="364"/>
                  </a:lnTo>
                  <a:lnTo>
                    <a:pt x="153" y="364"/>
                  </a:lnTo>
                  <a:lnTo>
                    <a:pt x="123" y="368"/>
                  </a:lnTo>
                  <a:lnTo>
                    <a:pt x="109" y="370"/>
                  </a:lnTo>
                  <a:lnTo>
                    <a:pt x="100" y="371"/>
                  </a:lnTo>
                  <a:lnTo>
                    <a:pt x="100" y="371"/>
                  </a:lnTo>
                  <a:lnTo>
                    <a:pt x="86" y="375"/>
                  </a:lnTo>
                  <a:lnTo>
                    <a:pt x="77" y="375"/>
                  </a:lnTo>
                  <a:lnTo>
                    <a:pt x="70" y="373"/>
                  </a:lnTo>
                  <a:lnTo>
                    <a:pt x="70" y="373"/>
                  </a:lnTo>
                  <a:lnTo>
                    <a:pt x="62" y="371"/>
                  </a:lnTo>
                  <a:lnTo>
                    <a:pt x="54" y="366"/>
                  </a:lnTo>
                  <a:lnTo>
                    <a:pt x="46" y="361"/>
                  </a:lnTo>
                  <a:lnTo>
                    <a:pt x="40" y="354"/>
                  </a:lnTo>
                  <a:lnTo>
                    <a:pt x="40" y="354"/>
                  </a:lnTo>
                  <a:lnTo>
                    <a:pt x="32" y="345"/>
                  </a:lnTo>
                  <a:lnTo>
                    <a:pt x="23" y="334"/>
                  </a:lnTo>
                  <a:lnTo>
                    <a:pt x="18" y="331"/>
                  </a:lnTo>
                  <a:lnTo>
                    <a:pt x="12" y="327"/>
                  </a:lnTo>
                  <a:lnTo>
                    <a:pt x="7" y="327"/>
                  </a:lnTo>
                  <a:lnTo>
                    <a:pt x="0" y="327"/>
                  </a:lnTo>
                  <a:lnTo>
                    <a:pt x="0" y="327"/>
                  </a:lnTo>
                  <a:lnTo>
                    <a:pt x="2" y="317"/>
                  </a:lnTo>
                  <a:lnTo>
                    <a:pt x="10" y="287"/>
                  </a:lnTo>
                  <a:lnTo>
                    <a:pt x="16" y="268"/>
                  </a:lnTo>
                  <a:lnTo>
                    <a:pt x="23" y="248"/>
                  </a:lnTo>
                  <a:lnTo>
                    <a:pt x="32" y="229"/>
                  </a:lnTo>
                  <a:lnTo>
                    <a:pt x="44" y="209"/>
                  </a:lnTo>
                  <a:lnTo>
                    <a:pt x="44" y="209"/>
                  </a:lnTo>
                  <a:lnTo>
                    <a:pt x="62" y="181"/>
                  </a:lnTo>
                  <a:lnTo>
                    <a:pt x="76" y="160"/>
                  </a:lnTo>
                  <a:lnTo>
                    <a:pt x="83" y="153"/>
                  </a:lnTo>
                  <a:lnTo>
                    <a:pt x="91" y="146"/>
                  </a:lnTo>
                  <a:lnTo>
                    <a:pt x="102" y="141"/>
                  </a:lnTo>
                  <a:lnTo>
                    <a:pt x="114" y="134"/>
                  </a:lnTo>
                  <a:lnTo>
                    <a:pt x="114" y="134"/>
                  </a:lnTo>
                  <a:lnTo>
                    <a:pt x="134" y="125"/>
                  </a:lnTo>
                  <a:lnTo>
                    <a:pt x="141" y="120"/>
                  </a:lnTo>
                  <a:lnTo>
                    <a:pt x="144" y="114"/>
                  </a:lnTo>
                  <a:lnTo>
                    <a:pt x="150" y="100"/>
                  </a:lnTo>
                  <a:lnTo>
                    <a:pt x="150" y="100"/>
                  </a:lnTo>
                  <a:lnTo>
                    <a:pt x="151" y="98"/>
                  </a:lnTo>
                  <a:lnTo>
                    <a:pt x="160" y="90"/>
                  </a:lnTo>
                  <a:lnTo>
                    <a:pt x="178" y="76"/>
                  </a:lnTo>
                  <a:lnTo>
                    <a:pt x="208" y="56"/>
                  </a:lnTo>
                  <a:lnTo>
                    <a:pt x="208" y="56"/>
                  </a:lnTo>
                  <a:lnTo>
                    <a:pt x="225" y="46"/>
                  </a:lnTo>
                  <a:lnTo>
                    <a:pt x="239" y="37"/>
                  </a:lnTo>
                  <a:lnTo>
                    <a:pt x="250" y="30"/>
                  </a:lnTo>
                  <a:lnTo>
                    <a:pt x="250" y="30"/>
                  </a:lnTo>
                  <a:lnTo>
                    <a:pt x="294" y="16"/>
                  </a:lnTo>
                  <a:lnTo>
                    <a:pt x="336" y="0"/>
                  </a:lnTo>
                  <a:lnTo>
                    <a:pt x="336" y="0"/>
                  </a:lnTo>
                  <a:lnTo>
                    <a:pt x="345" y="0"/>
                  </a:lnTo>
                  <a:lnTo>
                    <a:pt x="361" y="0"/>
                  </a:lnTo>
                  <a:lnTo>
                    <a:pt x="377" y="2"/>
                  </a:lnTo>
                  <a:lnTo>
                    <a:pt x="389" y="5"/>
                  </a:lnTo>
                  <a:lnTo>
                    <a:pt x="389" y="5"/>
                  </a:lnTo>
                  <a:lnTo>
                    <a:pt x="401" y="10"/>
                  </a:lnTo>
                  <a:lnTo>
                    <a:pt x="401" y="10"/>
                  </a:lnTo>
                  <a:lnTo>
                    <a:pt x="400" y="12"/>
                  </a:lnTo>
                  <a:lnTo>
                    <a:pt x="398" y="14"/>
                  </a:lnTo>
                  <a:lnTo>
                    <a:pt x="396" y="17"/>
                  </a:lnTo>
                  <a:lnTo>
                    <a:pt x="396" y="23"/>
                  </a:lnTo>
                  <a:lnTo>
                    <a:pt x="398" y="30"/>
                  </a:lnTo>
                  <a:lnTo>
                    <a:pt x="403" y="39"/>
                  </a:lnTo>
                  <a:lnTo>
                    <a:pt x="403" y="39"/>
                  </a:lnTo>
                  <a:lnTo>
                    <a:pt x="412" y="60"/>
                  </a:lnTo>
                  <a:lnTo>
                    <a:pt x="424" y="79"/>
                  </a:lnTo>
                  <a:lnTo>
                    <a:pt x="435" y="93"/>
                  </a:lnTo>
                  <a:lnTo>
                    <a:pt x="444" y="100"/>
                  </a:lnTo>
                  <a:lnTo>
                    <a:pt x="444" y="100"/>
                  </a:lnTo>
                  <a:lnTo>
                    <a:pt x="449" y="105"/>
                  </a:lnTo>
                  <a:lnTo>
                    <a:pt x="456" y="113"/>
                  </a:lnTo>
                  <a:lnTo>
                    <a:pt x="460" y="120"/>
                  </a:lnTo>
                  <a:lnTo>
                    <a:pt x="465" y="128"/>
                  </a:lnTo>
                  <a:lnTo>
                    <a:pt x="465" y="128"/>
                  </a:lnTo>
                  <a:lnTo>
                    <a:pt x="470" y="137"/>
                  </a:lnTo>
                  <a:lnTo>
                    <a:pt x="481" y="148"/>
                  </a:lnTo>
                  <a:lnTo>
                    <a:pt x="495" y="158"/>
                  </a:lnTo>
                  <a:lnTo>
                    <a:pt x="511" y="164"/>
                  </a:lnTo>
                  <a:lnTo>
                    <a:pt x="511" y="164"/>
                  </a:lnTo>
                  <a:lnTo>
                    <a:pt x="528" y="172"/>
                  </a:lnTo>
                  <a:lnTo>
                    <a:pt x="548" y="185"/>
                  </a:lnTo>
                  <a:lnTo>
                    <a:pt x="562" y="195"/>
                  </a:lnTo>
                  <a:lnTo>
                    <a:pt x="565" y="201"/>
                  </a:lnTo>
                  <a:lnTo>
                    <a:pt x="567" y="204"/>
                  </a:lnTo>
                  <a:lnTo>
                    <a:pt x="567" y="2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6" name="Freeform 20">
              <a:extLst>
                <a:ext uri="{FF2B5EF4-FFF2-40B4-BE49-F238E27FC236}">
                  <a16:creationId xmlns:a16="http://schemas.microsoft.com/office/drawing/2014/main" id="{D0972589-4EAD-41E9-81F7-5BBCEA6421BD}"/>
                </a:ext>
              </a:extLst>
            </p:cNvPr>
            <p:cNvSpPr>
              <a:spLocks/>
            </p:cNvSpPr>
            <p:nvPr/>
          </p:nvSpPr>
          <p:spPr bwMode="auto">
            <a:xfrm>
              <a:off x="3604005" y="3372987"/>
              <a:ext cx="73166" cy="328358"/>
            </a:xfrm>
            <a:custGeom>
              <a:avLst/>
              <a:gdLst/>
              <a:ahLst/>
              <a:cxnLst>
                <a:cxn ang="0">
                  <a:pos x="83" y="352"/>
                </a:cxn>
                <a:cxn ang="0">
                  <a:pos x="83" y="352"/>
                </a:cxn>
                <a:cxn ang="0">
                  <a:pos x="62" y="359"/>
                </a:cxn>
                <a:cxn ang="0">
                  <a:pos x="44" y="363"/>
                </a:cxn>
                <a:cxn ang="0">
                  <a:pos x="30" y="366"/>
                </a:cxn>
                <a:cxn ang="0">
                  <a:pos x="30" y="366"/>
                </a:cxn>
                <a:cxn ang="0">
                  <a:pos x="23" y="350"/>
                </a:cxn>
                <a:cxn ang="0">
                  <a:pos x="18" y="335"/>
                </a:cxn>
                <a:cxn ang="0">
                  <a:pos x="16" y="327"/>
                </a:cxn>
                <a:cxn ang="0">
                  <a:pos x="16" y="317"/>
                </a:cxn>
                <a:cxn ang="0">
                  <a:pos x="16" y="317"/>
                </a:cxn>
                <a:cxn ang="0">
                  <a:pos x="18" y="243"/>
                </a:cxn>
                <a:cxn ang="0">
                  <a:pos x="18" y="243"/>
                </a:cxn>
                <a:cxn ang="0">
                  <a:pos x="18" y="217"/>
                </a:cxn>
                <a:cxn ang="0">
                  <a:pos x="19" y="201"/>
                </a:cxn>
                <a:cxn ang="0">
                  <a:pos x="19" y="181"/>
                </a:cxn>
                <a:cxn ang="0">
                  <a:pos x="19" y="181"/>
                </a:cxn>
                <a:cxn ang="0">
                  <a:pos x="16" y="162"/>
                </a:cxn>
                <a:cxn ang="0">
                  <a:pos x="12" y="141"/>
                </a:cxn>
                <a:cxn ang="0">
                  <a:pos x="7" y="121"/>
                </a:cxn>
                <a:cxn ang="0">
                  <a:pos x="5" y="102"/>
                </a:cxn>
                <a:cxn ang="0">
                  <a:pos x="5" y="102"/>
                </a:cxn>
                <a:cxn ang="0">
                  <a:pos x="0" y="28"/>
                </a:cxn>
                <a:cxn ang="0">
                  <a:pos x="0" y="28"/>
                </a:cxn>
                <a:cxn ang="0">
                  <a:pos x="2" y="10"/>
                </a:cxn>
                <a:cxn ang="0">
                  <a:pos x="2" y="10"/>
                </a:cxn>
                <a:cxn ang="0">
                  <a:pos x="19" y="12"/>
                </a:cxn>
                <a:cxn ang="0">
                  <a:pos x="19" y="12"/>
                </a:cxn>
                <a:cxn ang="0">
                  <a:pos x="26" y="12"/>
                </a:cxn>
                <a:cxn ang="0">
                  <a:pos x="32" y="3"/>
                </a:cxn>
                <a:cxn ang="0">
                  <a:pos x="37" y="0"/>
                </a:cxn>
                <a:cxn ang="0">
                  <a:pos x="37" y="0"/>
                </a:cxn>
                <a:cxn ang="0">
                  <a:pos x="46" y="12"/>
                </a:cxn>
                <a:cxn ang="0">
                  <a:pos x="51" y="23"/>
                </a:cxn>
                <a:cxn ang="0">
                  <a:pos x="53" y="28"/>
                </a:cxn>
                <a:cxn ang="0">
                  <a:pos x="55" y="32"/>
                </a:cxn>
                <a:cxn ang="0">
                  <a:pos x="55" y="32"/>
                </a:cxn>
                <a:cxn ang="0">
                  <a:pos x="55" y="49"/>
                </a:cxn>
                <a:cxn ang="0">
                  <a:pos x="56" y="60"/>
                </a:cxn>
                <a:cxn ang="0">
                  <a:pos x="60" y="65"/>
                </a:cxn>
                <a:cxn ang="0">
                  <a:pos x="60" y="65"/>
                </a:cxn>
                <a:cxn ang="0">
                  <a:pos x="65" y="70"/>
                </a:cxn>
                <a:cxn ang="0">
                  <a:pos x="70" y="81"/>
                </a:cxn>
                <a:cxn ang="0">
                  <a:pos x="76" y="93"/>
                </a:cxn>
                <a:cxn ang="0">
                  <a:pos x="77" y="111"/>
                </a:cxn>
                <a:cxn ang="0">
                  <a:pos x="77" y="111"/>
                </a:cxn>
                <a:cxn ang="0">
                  <a:pos x="77" y="127"/>
                </a:cxn>
                <a:cxn ang="0">
                  <a:pos x="77" y="139"/>
                </a:cxn>
                <a:cxn ang="0">
                  <a:pos x="74" y="180"/>
                </a:cxn>
                <a:cxn ang="0">
                  <a:pos x="74" y="180"/>
                </a:cxn>
                <a:cxn ang="0">
                  <a:pos x="74" y="208"/>
                </a:cxn>
                <a:cxn ang="0">
                  <a:pos x="76" y="231"/>
                </a:cxn>
                <a:cxn ang="0">
                  <a:pos x="79" y="252"/>
                </a:cxn>
                <a:cxn ang="0">
                  <a:pos x="79" y="269"/>
                </a:cxn>
                <a:cxn ang="0">
                  <a:pos x="79" y="269"/>
                </a:cxn>
                <a:cxn ang="0">
                  <a:pos x="79" y="320"/>
                </a:cxn>
                <a:cxn ang="0">
                  <a:pos x="81" y="342"/>
                </a:cxn>
                <a:cxn ang="0">
                  <a:pos x="83" y="352"/>
                </a:cxn>
                <a:cxn ang="0">
                  <a:pos x="83" y="352"/>
                </a:cxn>
              </a:cxnLst>
              <a:rect l="0" t="0" r="r" b="b"/>
              <a:pathLst>
                <a:path w="83" h="366">
                  <a:moveTo>
                    <a:pt x="83" y="352"/>
                  </a:moveTo>
                  <a:lnTo>
                    <a:pt x="83" y="352"/>
                  </a:lnTo>
                  <a:lnTo>
                    <a:pt x="62" y="359"/>
                  </a:lnTo>
                  <a:lnTo>
                    <a:pt x="44" y="363"/>
                  </a:lnTo>
                  <a:lnTo>
                    <a:pt x="30" y="366"/>
                  </a:lnTo>
                  <a:lnTo>
                    <a:pt x="30" y="366"/>
                  </a:lnTo>
                  <a:lnTo>
                    <a:pt x="23" y="350"/>
                  </a:lnTo>
                  <a:lnTo>
                    <a:pt x="18" y="335"/>
                  </a:lnTo>
                  <a:lnTo>
                    <a:pt x="16" y="327"/>
                  </a:lnTo>
                  <a:lnTo>
                    <a:pt x="16" y="317"/>
                  </a:lnTo>
                  <a:lnTo>
                    <a:pt x="16" y="317"/>
                  </a:lnTo>
                  <a:lnTo>
                    <a:pt x="18" y="243"/>
                  </a:lnTo>
                  <a:lnTo>
                    <a:pt x="18" y="243"/>
                  </a:lnTo>
                  <a:lnTo>
                    <a:pt x="18" y="217"/>
                  </a:lnTo>
                  <a:lnTo>
                    <a:pt x="19" y="201"/>
                  </a:lnTo>
                  <a:lnTo>
                    <a:pt x="19" y="181"/>
                  </a:lnTo>
                  <a:lnTo>
                    <a:pt x="19" y="181"/>
                  </a:lnTo>
                  <a:lnTo>
                    <a:pt x="16" y="162"/>
                  </a:lnTo>
                  <a:lnTo>
                    <a:pt x="12" y="141"/>
                  </a:lnTo>
                  <a:lnTo>
                    <a:pt x="7" y="121"/>
                  </a:lnTo>
                  <a:lnTo>
                    <a:pt x="5" y="102"/>
                  </a:lnTo>
                  <a:lnTo>
                    <a:pt x="5" y="102"/>
                  </a:lnTo>
                  <a:lnTo>
                    <a:pt x="0" y="28"/>
                  </a:lnTo>
                  <a:lnTo>
                    <a:pt x="0" y="28"/>
                  </a:lnTo>
                  <a:lnTo>
                    <a:pt x="2" y="10"/>
                  </a:lnTo>
                  <a:lnTo>
                    <a:pt x="2" y="10"/>
                  </a:lnTo>
                  <a:lnTo>
                    <a:pt x="19" y="12"/>
                  </a:lnTo>
                  <a:lnTo>
                    <a:pt x="19" y="12"/>
                  </a:lnTo>
                  <a:lnTo>
                    <a:pt x="26" y="12"/>
                  </a:lnTo>
                  <a:lnTo>
                    <a:pt x="32" y="3"/>
                  </a:lnTo>
                  <a:lnTo>
                    <a:pt x="37" y="0"/>
                  </a:lnTo>
                  <a:lnTo>
                    <a:pt x="37" y="0"/>
                  </a:lnTo>
                  <a:lnTo>
                    <a:pt x="46" y="12"/>
                  </a:lnTo>
                  <a:lnTo>
                    <a:pt x="51" y="23"/>
                  </a:lnTo>
                  <a:lnTo>
                    <a:pt x="53" y="28"/>
                  </a:lnTo>
                  <a:lnTo>
                    <a:pt x="55" y="32"/>
                  </a:lnTo>
                  <a:lnTo>
                    <a:pt x="55" y="32"/>
                  </a:lnTo>
                  <a:lnTo>
                    <a:pt x="55" y="49"/>
                  </a:lnTo>
                  <a:lnTo>
                    <a:pt x="56" y="60"/>
                  </a:lnTo>
                  <a:lnTo>
                    <a:pt x="60" y="65"/>
                  </a:lnTo>
                  <a:lnTo>
                    <a:pt x="60" y="65"/>
                  </a:lnTo>
                  <a:lnTo>
                    <a:pt x="65" y="70"/>
                  </a:lnTo>
                  <a:lnTo>
                    <a:pt x="70" y="81"/>
                  </a:lnTo>
                  <a:lnTo>
                    <a:pt x="76" y="93"/>
                  </a:lnTo>
                  <a:lnTo>
                    <a:pt x="77" y="111"/>
                  </a:lnTo>
                  <a:lnTo>
                    <a:pt x="77" y="111"/>
                  </a:lnTo>
                  <a:lnTo>
                    <a:pt x="77" y="127"/>
                  </a:lnTo>
                  <a:lnTo>
                    <a:pt x="77" y="139"/>
                  </a:lnTo>
                  <a:lnTo>
                    <a:pt x="74" y="180"/>
                  </a:lnTo>
                  <a:lnTo>
                    <a:pt x="74" y="180"/>
                  </a:lnTo>
                  <a:lnTo>
                    <a:pt x="74" y="208"/>
                  </a:lnTo>
                  <a:lnTo>
                    <a:pt x="76" y="231"/>
                  </a:lnTo>
                  <a:lnTo>
                    <a:pt x="79" y="252"/>
                  </a:lnTo>
                  <a:lnTo>
                    <a:pt x="79" y="269"/>
                  </a:lnTo>
                  <a:lnTo>
                    <a:pt x="79" y="269"/>
                  </a:lnTo>
                  <a:lnTo>
                    <a:pt x="79" y="320"/>
                  </a:lnTo>
                  <a:lnTo>
                    <a:pt x="81" y="342"/>
                  </a:lnTo>
                  <a:lnTo>
                    <a:pt x="83" y="352"/>
                  </a:lnTo>
                  <a:lnTo>
                    <a:pt x="83" y="35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7" name="Freeform 21">
              <a:extLst>
                <a:ext uri="{FF2B5EF4-FFF2-40B4-BE49-F238E27FC236}">
                  <a16:creationId xmlns:a16="http://schemas.microsoft.com/office/drawing/2014/main" id="{477C1BEF-CB86-4B7B-A9DD-0135BE929A8A}"/>
                </a:ext>
              </a:extLst>
            </p:cNvPr>
            <p:cNvSpPr>
              <a:spLocks/>
            </p:cNvSpPr>
            <p:nvPr/>
          </p:nvSpPr>
          <p:spPr bwMode="auto">
            <a:xfrm>
              <a:off x="3636128" y="3294467"/>
              <a:ext cx="173101" cy="394388"/>
            </a:xfrm>
            <a:custGeom>
              <a:avLst/>
              <a:gdLst/>
              <a:ahLst/>
              <a:cxnLst>
                <a:cxn ang="0">
                  <a:pos x="46" y="440"/>
                </a:cxn>
                <a:cxn ang="0">
                  <a:pos x="42" y="326"/>
                </a:cxn>
                <a:cxn ang="0">
                  <a:pos x="39" y="238"/>
                </a:cxn>
                <a:cxn ang="0">
                  <a:pos x="40" y="211"/>
                </a:cxn>
                <a:cxn ang="0">
                  <a:pos x="39" y="185"/>
                </a:cxn>
                <a:cxn ang="0">
                  <a:pos x="39" y="179"/>
                </a:cxn>
                <a:cxn ang="0">
                  <a:pos x="32" y="169"/>
                </a:cxn>
                <a:cxn ang="0">
                  <a:pos x="23" y="153"/>
                </a:cxn>
                <a:cxn ang="0">
                  <a:pos x="19" y="148"/>
                </a:cxn>
                <a:cxn ang="0">
                  <a:pos x="16" y="134"/>
                </a:cxn>
                <a:cxn ang="0">
                  <a:pos x="18" y="123"/>
                </a:cxn>
                <a:cxn ang="0">
                  <a:pos x="12" y="111"/>
                </a:cxn>
                <a:cxn ang="0">
                  <a:pos x="0" y="88"/>
                </a:cxn>
                <a:cxn ang="0">
                  <a:pos x="14" y="77"/>
                </a:cxn>
                <a:cxn ang="0">
                  <a:pos x="33" y="65"/>
                </a:cxn>
                <a:cxn ang="0">
                  <a:pos x="42" y="63"/>
                </a:cxn>
                <a:cxn ang="0">
                  <a:pos x="76" y="61"/>
                </a:cxn>
                <a:cxn ang="0">
                  <a:pos x="102" y="61"/>
                </a:cxn>
                <a:cxn ang="0">
                  <a:pos x="107" y="58"/>
                </a:cxn>
                <a:cxn ang="0">
                  <a:pos x="114" y="46"/>
                </a:cxn>
                <a:cxn ang="0">
                  <a:pos x="116" y="37"/>
                </a:cxn>
                <a:cxn ang="0">
                  <a:pos x="118" y="12"/>
                </a:cxn>
                <a:cxn ang="0">
                  <a:pos x="120" y="9"/>
                </a:cxn>
                <a:cxn ang="0">
                  <a:pos x="132" y="2"/>
                </a:cxn>
                <a:cxn ang="0">
                  <a:pos x="144" y="2"/>
                </a:cxn>
                <a:cxn ang="0">
                  <a:pos x="151" y="5"/>
                </a:cxn>
                <a:cxn ang="0">
                  <a:pos x="164" y="17"/>
                </a:cxn>
                <a:cxn ang="0">
                  <a:pos x="178" y="46"/>
                </a:cxn>
                <a:cxn ang="0">
                  <a:pos x="181" y="58"/>
                </a:cxn>
                <a:cxn ang="0">
                  <a:pos x="185" y="74"/>
                </a:cxn>
                <a:cxn ang="0">
                  <a:pos x="192" y="84"/>
                </a:cxn>
                <a:cxn ang="0">
                  <a:pos x="194" y="100"/>
                </a:cxn>
                <a:cxn ang="0">
                  <a:pos x="192" y="121"/>
                </a:cxn>
                <a:cxn ang="0">
                  <a:pos x="187" y="135"/>
                </a:cxn>
                <a:cxn ang="0">
                  <a:pos x="167" y="174"/>
                </a:cxn>
                <a:cxn ang="0">
                  <a:pos x="150" y="211"/>
                </a:cxn>
                <a:cxn ang="0">
                  <a:pos x="146" y="223"/>
                </a:cxn>
                <a:cxn ang="0">
                  <a:pos x="132" y="262"/>
                </a:cxn>
                <a:cxn ang="0">
                  <a:pos x="121" y="306"/>
                </a:cxn>
                <a:cxn ang="0">
                  <a:pos x="118" y="341"/>
                </a:cxn>
                <a:cxn ang="0">
                  <a:pos x="116" y="408"/>
                </a:cxn>
                <a:cxn ang="0">
                  <a:pos x="118" y="426"/>
                </a:cxn>
              </a:cxnLst>
              <a:rect l="0" t="0" r="r" b="b"/>
              <a:pathLst>
                <a:path w="194" h="440">
                  <a:moveTo>
                    <a:pt x="118" y="426"/>
                  </a:moveTo>
                  <a:lnTo>
                    <a:pt x="46" y="440"/>
                  </a:lnTo>
                  <a:lnTo>
                    <a:pt x="42" y="394"/>
                  </a:lnTo>
                  <a:lnTo>
                    <a:pt x="42" y="326"/>
                  </a:lnTo>
                  <a:lnTo>
                    <a:pt x="35" y="283"/>
                  </a:lnTo>
                  <a:lnTo>
                    <a:pt x="39" y="238"/>
                  </a:lnTo>
                  <a:lnTo>
                    <a:pt x="39" y="238"/>
                  </a:lnTo>
                  <a:lnTo>
                    <a:pt x="40" y="211"/>
                  </a:lnTo>
                  <a:lnTo>
                    <a:pt x="40" y="192"/>
                  </a:lnTo>
                  <a:lnTo>
                    <a:pt x="39" y="185"/>
                  </a:lnTo>
                  <a:lnTo>
                    <a:pt x="39" y="179"/>
                  </a:lnTo>
                  <a:lnTo>
                    <a:pt x="39" y="179"/>
                  </a:lnTo>
                  <a:lnTo>
                    <a:pt x="35" y="176"/>
                  </a:lnTo>
                  <a:lnTo>
                    <a:pt x="32" y="169"/>
                  </a:lnTo>
                  <a:lnTo>
                    <a:pt x="28" y="162"/>
                  </a:lnTo>
                  <a:lnTo>
                    <a:pt x="23" y="153"/>
                  </a:lnTo>
                  <a:lnTo>
                    <a:pt x="23" y="153"/>
                  </a:lnTo>
                  <a:lnTo>
                    <a:pt x="19" y="148"/>
                  </a:lnTo>
                  <a:lnTo>
                    <a:pt x="18" y="142"/>
                  </a:lnTo>
                  <a:lnTo>
                    <a:pt x="16" y="134"/>
                  </a:lnTo>
                  <a:lnTo>
                    <a:pt x="16" y="127"/>
                  </a:lnTo>
                  <a:lnTo>
                    <a:pt x="18" y="123"/>
                  </a:lnTo>
                  <a:lnTo>
                    <a:pt x="18" y="123"/>
                  </a:lnTo>
                  <a:lnTo>
                    <a:pt x="12" y="111"/>
                  </a:lnTo>
                  <a:lnTo>
                    <a:pt x="7" y="100"/>
                  </a:lnTo>
                  <a:lnTo>
                    <a:pt x="0" y="88"/>
                  </a:lnTo>
                  <a:lnTo>
                    <a:pt x="0" y="88"/>
                  </a:lnTo>
                  <a:lnTo>
                    <a:pt x="14" y="77"/>
                  </a:lnTo>
                  <a:lnTo>
                    <a:pt x="26" y="68"/>
                  </a:lnTo>
                  <a:lnTo>
                    <a:pt x="33" y="65"/>
                  </a:lnTo>
                  <a:lnTo>
                    <a:pt x="42" y="63"/>
                  </a:lnTo>
                  <a:lnTo>
                    <a:pt x="42" y="63"/>
                  </a:lnTo>
                  <a:lnTo>
                    <a:pt x="58" y="61"/>
                  </a:lnTo>
                  <a:lnTo>
                    <a:pt x="76" y="61"/>
                  </a:lnTo>
                  <a:lnTo>
                    <a:pt x="92" y="61"/>
                  </a:lnTo>
                  <a:lnTo>
                    <a:pt x="102" y="61"/>
                  </a:lnTo>
                  <a:lnTo>
                    <a:pt x="102" y="61"/>
                  </a:lnTo>
                  <a:lnTo>
                    <a:pt x="107" y="58"/>
                  </a:lnTo>
                  <a:lnTo>
                    <a:pt x="111" y="53"/>
                  </a:lnTo>
                  <a:lnTo>
                    <a:pt x="114" y="46"/>
                  </a:lnTo>
                  <a:lnTo>
                    <a:pt x="116" y="37"/>
                  </a:lnTo>
                  <a:lnTo>
                    <a:pt x="116" y="37"/>
                  </a:lnTo>
                  <a:lnTo>
                    <a:pt x="116" y="21"/>
                  </a:lnTo>
                  <a:lnTo>
                    <a:pt x="118" y="12"/>
                  </a:lnTo>
                  <a:lnTo>
                    <a:pt x="118" y="12"/>
                  </a:lnTo>
                  <a:lnTo>
                    <a:pt x="120" y="9"/>
                  </a:lnTo>
                  <a:lnTo>
                    <a:pt x="127" y="3"/>
                  </a:lnTo>
                  <a:lnTo>
                    <a:pt x="132" y="2"/>
                  </a:lnTo>
                  <a:lnTo>
                    <a:pt x="137" y="0"/>
                  </a:lnTo>
                  <a:lnTo>
                    <a:pt x="144" y="2"/>
                  </a:lnTo>
                  <a:lnTo>
                    <a:pt x="151" y="5"/>
                  </a:lnTo>
                  <a:lnTo>
                    <a:pt x="151" y="5"/>
                  </a:lnTo>
                  <a:lnTo>
                    <a:pt x="158" y="10"/>
                  </a:lnTo>
                  <a:lnTo>
                    <a:pt x="164" y="17"/>
                  </a:lnTo>
                  <a:lnTo>
                    <a:pt x="173" y="31"/>
                  </a:lnTo>
                  <a:lnTo>
                    <a:pt x="178" y="46"/>
                  </a:lnTo>
                  <a:lnTo>
                    <a:pt x="181" y="58"/>
                  </a:lnTo>
                  <a:lnTo>
                    <a:pt x="181" y="58"/>
                  </a:lnTo>
                  <a:lnTo>
                    <a:pt x="185" y="74"/>
                  </a:lnTo>
                  <a:lnTo>
                    <a:pt x="185" y="74"/>
                  </a:lnTo>
                  <a:lnTo>
                    <a:pt x="187" y="77"/>
                  </a:lnTo>
                  <a:lnTo>
                    <a:pt x="192" y="84"/>
                  </a:lnTo>
                  <a:lnTo>
                    <a:pt x="194" y="91"/>
                  </a:lnTo>
                  <a:lnTo>
                    <a:pt x="194" y="100"/>
                  </a:lnTo>
                  <a:lnTo>
                    <a:pt x="194" y="109"/>
                  </a:lnTo>
                  <a:lnTo>
                    <a:pt x="192" y="121"/>
                  </a:lnTo>
                  <a:lnTo>
                    <a:pt x="192" y="121"/>
                  </a:lnTo>
                  <a:lnTo>
                    <a:pt x="187" y="135"/>
                  </a:lnTo>
                  <a:lnTo>
                    <a:pt x="181" y="148"/>
                  </a:lnTo>
                  <a:lnTo>
                    <a:pt x="167" y="174"/>
                  </a:lnTo>
                  <a:lnTo>
                    <a:pt x="155" y="199"/>
                  </a:lnTo>
                  <a:lnTo>
                    <a:pt x="150" y="211"/>
                  </a:lnTo>
                  <a:lnTo>
                    <a:pt x="146" y="223"/>
                  </a:lnTo>
                  <a:lnTo>
                    <a:pt x="146" y="223"/>
                  </a:lnTo>
                  <a:lnTo>
                    <a:pt x="137" y="245"/>
                  </a:lnTo>
                  <a:lnTo>
                    <a:pt x="132" y="262"/>
                  </a:lnTo>
                  <a:lnTo>
                    <a:pt x="125" y="280"/>
                  </a:lnTo>
                  <a:lnTo>
                    <a:pt x="121" y="306"/>
                  </a:lnTo>
                  <a:lnTo>
                    <a:pt x="121" y="306"/>
                  </a:lnTo>
                  <a:lnTo>
                    <a:pt x="118" y="341"/>
                  </a:lnTo>
                  <a:lnTo>
                    <a:pt x="116" y="378"/>
                  </a:lnTo>
                  <a:lnTo>
                    <a:pt x="116" y="408"/>
                  </a:lnTo>
                  <a:lnTo>
                    <a:pt x="118" y="426"/>
                  </a:lnTo>
                  <a:lnTo>
                    <a:pt x="118" y="4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8" name="Freeform 22">
              <a:extLst>
                <a:ext uri="{FF2B5EF4-FFF2-40B4-BE49-F238E27FC236}">
                  <a16:creationId xmlns:a16="http://schemas.microsoft.com/office/drawing/2014/main" id="{160A0CFE-08AB-4D55-BEAA-8520B313254C}"/>
                </a:ext>
              </a:extLst>
            </p:cNvPr>
            <p:cNvSpPr>
              <a:spLocks/>
            </p:cNvSpPr>
            <p:nvPr/>
          </p:nvSpPr>
          <p:spPr bwMode="auto">
            <a:xfrm>
              <a:off x="3375582" y="3365849"/>
              <a:ext cx="255191" cy="405095"/>
            </a:xfrm>
            <a:custGeom>
              <a:avLst/>
              <a:gdLst/>
              <a:ahLst/>
              <a:cxnLst>
                <a:cxn ang="0">
                  <a:pos x="285" y="375"/>
                </a:cxn>
                <a:cxn ang="0">
                  <a:pos x="258" y="386"/>
                </a:cxn>
                <a:cxn ang="0">
                  <a:pos x="230" y="398"/>
                </a:cxn>
                <a:cxn ang="0">
                  <a:pos x="181" y="417"/>
                </a:cxn>
                <a:cxn ang="0">
                  <a:pos x="158" y="430"/>
                </a:cxn>
                <a:cxn ang="0">
                  <a:pos x="153" y="435"/>
                </a:cxn>
                <a:cxn ang="0">
                  <a:pos x="132" y="449"/>
                </a:cxn>
                <a:cxn ang="0">
                  <a:pos x="118" y="454"/>
                </a:cxn>
                <a:cxn ang="0">
                  <a:pos x="95" y="451"/>
                </a:cxn>
                <a:cxn ang="0">
                  <a:pos x="35" y="432"/>
                </a:cxn>
                <a:cxn ang="0">
                  <a:pos x="33" y="410"/>
                </a:cxn>
                <a:cxn ang="0">
                  <a:pos x="28" y="375"/>
                </a:cxn>
                <a:cxn ang="0">
                  <a:pos x="1" y="301"/>
                </a:cxn>
                <a:cxn ang="0">
                  <a:pos x="0" y="299"/>
                </a:cxn>
                <a:cxn ang="0">
                  <a:pos x="0" y="284"/>
                </a:cxn>
                <a:cxn ang="0">
                  <a:pos x="5" y="275"/>
                </a:cxn>
                <a:cxn ang="0">
                  <a:pos x="15" y="257"/>
                </a:cxn>
                <a:cxn ang="0">
                  <a:pos x="45" y="192"/>
                </a:cxn>
                <a:cxn ang="0">
                  <a:pos x="47" y="189"/>
                </a:cxn>
                <a:cxn ang="0">
                  <a:pos x="52" y="166"/>
                </a:cxn>
                <a:cxn ang="0">
                  <a:pos x="49" y="153"/>
                </a:cxn>
                <a:cxn ang="0">
                  <a:pos x="42" y="139"/>
                </a:cxn>
                <a:cxn ang="0">
                  <a:pos x="23" y="97"/>
                </a:cxn>
                <a:cxn ang="0">
                  <a:pos x="21" y="90"/>
                </a:cxn>
                <a:cxn ang="0">
                  <a:pos x="21" y="49"/>
                </a:cxn>
                <a:cxn ang="0">
                  <a:pos x="26" y="35"/>
                </a:cxn>
                <a:cxn ang="0">
                  <a:pos x="33" y="25"/>
                </a:cxn>
                <a:cxn ang="0">
                  <a:pos x="51" y="7"/>
                </a:cxn>
                <a:cxn ang="0">
                  <a:pos x="70" y="2"/>
                </a:cxn>
                <a:cxn ang="0">
                  <a:pos x="84" y="0"/>
                </a:cxn>
                <a:cxn ang="0">
                  <a:pos x="141" y="0"/>
                </a:cxn>
                <a:cxn ang="0">
                  <a:pos x="179" y="2"/>
                </a:cxn>
                <a:cxn ang="0">
                  <a:pos x="190" y="4"/>
                </a:cxn>
                <a:cxn ang="0">
                  <a:pos x="229" y="14"/>
                </a:cxn>
                <a:cxn ang="0">
                  <a:pos x="253" y="18"/>
                </a:cxn>
                <a:cxn ang="0">
                  <a:pos x="255" y="16"/>
                </a:cxn>
                <a:cxn ang="0">
                  <a:pos x="257" y="19"/>
                </a:cxn>
                <a:cxn ang="0">
                  <a:pos x="258" y="90"/>
                </a:cxn>
                <a:cxn ang="0">
                  <a:pos x="260" y="111"/>
                </a:cxn>
                <a:cxn ang="0">
                  <a:pos x="274" y="185"/>
                </a:cxn>
                <a:cxn ang="0">
                  <a:pos x="273" y="243"/>
                </a:cxn>
                <a:cxn ang="0">
                  <a:pos x="273" y="307"/>
                </a:cxn>
                <a:cxn ang="0">
                  <a:pos x="273" y="340"/>
                </a:cxn>
                <a:cxn ang="0">
                  <a:pos x="280" y="366"/>
                </a:cxn>
                <a:cxn ang="0">
                  <a:pos x="285" y="375"/>
                </a:cxn>
              </a:cxnLst>
              <a:rect l="0" t="0" r="r" b="b"/>
              <a:pathLst>
                <a:path w="285" h="454">
                  <a:moveTo>
                    <a:pt x="285" y="375"/>
                  </a:moveTo>
                  <a:lnTo>
                    <a:pt x="285" y="375"/>
                  </a:lnTo>
                  <a:lnTo>
                    <a:pt x="274" y="379"/>
                  </a:lnTo>
                  <a:lnTo>
                    <a:pt x="258" y="386"/>
                  </a:lnTo>
                  <a:lnTo>
                    <a:pt x="230" y="398"/>
                  </a:lnTo>
                  <a:lnTo>
                    <a:pt x="230" y="398"/>
                  </a:lnTo>
                  <a:lnTo>
                    <a:pt x="202" y="410"/>
                  </a:lnTo>
                  <a:lnTo>
                    <a:pt x="181" y="417"/>
                  </a:lnTo>
                  <a:lnTo>
                    <a:pt x="165" y="425"/>
                  </a:lnTo>
                  <a:lnTo>
                    <a:pt x="158" y="430"/>
                  </a:lnTo>
                  <a:lnTo>
                    <a:pt x="153" y="435"/>
                  </a:lnTo>
                  <a:lnTo>
                    <a:pt x="153" y="435"/>
                  </a:lnTo>
                  <a:lnTo>
                    <a:pt x="139" y="446"/>
                  </a:lnTo>
                  <a:lnTo>
                    <a:pt x="132" y="449"/>
                  </a:lnTo>
                  <a:lnTo>
                    <a:pt x="125" y="453"/>
                  </a:lnTo>
                  <a:lnTo>
                    <a:pt x="118" y="454"/>
                  </a:lnTo>
                  <a:lnTo>
                    <a:pt x="111" y="454"/>
                  </a:lnTo>
                  <a:lnTo>
                    <a:pt x="95" y="451"/>
                  </a:lnTo>
                  <a:lnTo>
                    <a:pt x="95" y="451"/>
                  </a:lnTo>
                  <a:lnTo>
                    <a:pt x="35" y="432"/>
                  </a:lnTo>
                  <a:lnTo>
                    <a:pt x="35" y="432"/>
                  </a:lnTo>
                  <a:lnTo>
                    <a:pt x="33" y="410"/>
                  </a:lnTo>
                  <a:lnTo>
                    <a:pt x="31" y="393"/>
                  </a:lnTo>
                  <a:lnTo>
                    <a:pt x="28" y="375"/>
                  </a:lnTo>
                  <a:lnTo>
                    <a:pt x="28" y="375"/>
                  </a:lnTo>
                  <a:lnTo>
                    <a:pt x="1" y="301"/>
                  </a:lnTo>
                  <a:lnTo>
                    <a:pt x="1" y="301"/>
                  </a:lnTo>
                  <a:lnTo>
                    <a:pt x="0" y="299"/>
                  </a:lnTo>
                  <a:lnTo>
                    <a:pt x="0" y="292"/>
                  </a:lnTo>
                  <a:lnTo>
                    <a:pt x="0" y="284"/>
                  </a:lnTo>
                  <a:lnTo>
                    <a:pt x="1" y="280"/>
                  </a:lnTo>
                  <a:lnTo>
                    <a:pt x="5" y="275"/>
                  </a:lnTo>
                  <a:lnTo>
                    <a:pt x="5" y="275"/>
                  </a:lnTo>
                  <a:lnTo>
                    <a:pt x="15" y="257"/>
                  </a:lnTo>
                  <a:lnTo>
                    <a:pt x="30" y="229"/>
                  </a:lnTo>
                  <a:lnTo>
                    <a:pt x="45" y="192"/>
                  </a:lnTo>
                  <a:lnTo>
                    <a:pt x="45" y="192"/>
                  </a:lnTo>
                  <a:lnTo>
                    <a:pt x="47" y="189"/>
                  </a:lnTo>
                  <a:lnTo>
                    <a:pt x="51" y="178"/>
                  </a:lnTo>
                  <a:lnTo>
                    <a:pt x="52" y="166"/>
                  </a:lnTo>
                  <a:lnTo>
                    <a:pt x="51" y="160"/>
                  </a:lnTo>
                  <a:lnTo>
                    <a:pt x="49" y="153"/>
                  </a:lnTo>
                  <a:lnTo>
                    <a:pt x="49" y="153"/>
                  </a:lnTo>
                  <a:lnTo>
                    <a:pt x="42" y="139"/>
                  </a:lnTo>
                  <a:lnTo>
                    <a:pt x="33" y="120"/>
                  </a:lnTo>
                  <a:lnTo>
                    <a:pt x="23" y="97"/>
                  </a:lnTo>
                  <a:lnTo>
                    <a:pt x="23" y="97"/>
                  </a:lnTo>
                  <a:lnTo>
                    <a:pt x="21" y="90"/>
                  </a:lnTo>
                  <a:lnTo>
                    <a:pt x="21" y="71"/>
                  </a:lnTo>
                  <a:lnTo>
                    <a:pt x="21" y="49"/>
                  </a:lnTo>
                  <a:lnTo>
                    <a:pt x="23" y="42"/>
                  </a:lnTo>
                  <a:lnTo>
                    <a:pt x="26" y="35"/>
                  </a:lnTo>
                  <a:lnTo>
                    <a:pt x="26" y="35"/>
                  </a:lnTo>
                  <a:lnTo>
                    <a:pt x="33" y="25"/>
                  </a:lnTo>
                  <a:lnTo>
                    <a:pt x="44" y="12"/>
                  </a:lnTo>
                  <a:lnTo>
                    <a:pt x="51" y="7"/>
                  </a:lnTo>
                  <a:lnTo>
                    <a:pt x="60" y="4"/>
                  </a:lnTo>
                  <a:lnTo>
                    <a:pt x="70" y="2"/>
                  </a:lnTo>
                  <a:lnTo>
                    <a:pt x="84" y="0"/>
                  </a:lnTo>
                  <a:lnTo>
                    <a:pt x="84" y="0"/>
                  </a:lnTo>
                  <a:lnTo>
                    <a:pt x="112" y="2"/>
                  </a:lnTo>
                  <a:lnTo>
                    <a:pt x="141" y="0"/>
                  </a:lnTo>
                  <a:lnTo>
                    <a:pt x="167" y="0"/>
                  </a:lnTo>
                  <a:lnTo>
                    <a:pt x="179" y="2"/>
                  </a:lnTo>
                  <a:lnTo>
                    <a:pt x="190" y="4"/>
                  </a:lnTo>
                  <a:lnTo>
                    <a:pt x="190" y="4"/>
                  </a:lnTo>
                  <a:lnTo>
                    <a:pt x="211" y="11"/>
                  </a:lnTo>
                  <a:lnTo>
                    <a:pt x="229" y="14"/>
                  </a:lnTo>
                  <a:lnTo>
                    <a:pt x="253" y="18"/>
                  </a:lnTo>
                  <a:lnTo>
                    <a:pt x="253" y="18"/>
                  </a:lnTo>
                  <a:lnTo>
                    <a:pt x="255" y="16"/>
                  </a:lnTo>
                  <a:lnTo>
                    <a:pt x="255" y="16"/>
                  </a:lnTo>
                  <a:lnTo>
                    <a:pt x="257" y="19"/>
                  </a:lnTo>
                  <a:lnTo>
                    <a:pt x="257" y="19"/>
                  </a:lnTo>
                  <a:lnTo>
                    <a:pt x="257" y="62"/>
                  </a:lnTo>
                  <a:lnTo>
                    <a:pt x="258" y="90"/>
                  </a:lnTo>
                  <a:lnTo>
                    <a:pt x="260" y="111"/>
                  </a:lnTo>
                  <a:lnTo>
                    <a:pt x="260" y="111"/>
                  </a:lnTo>
                  <a:lnTo>
                    <a:pt x="267" y="152"/>
                  </a:lnTo>
                  <a:lnTo>
                    <a:pt x="274" y="185"/>
                  </a:lnTo>
                  <a:lnTo>
                    <a:pt x="274" y="185"/>
                  </a:lnTo>
                  <a:lnTo>
                    <a:pt x="273" y="243"/>
                  </a:lnTo>
                  <a:lnTo>
                    <a:pt x="273" y="307"/>
                  </a:lnTo>
                  <a:lnTo>
                    <a:pt x="273" y="307"/>
                  </a:lnTo>
                  <a:lnTo>
                    <a:pt x="271" y="322"/>
                  </a:lnTo>
                  <a:lnTo>
                    <a:pt x="273" y="340"/>
                  </a:lnTo>
                  <a:lnTo>
                    <a:pt x="276" y="358"/>
                  </a:lnTo>
                  <a:lnTo>
                    <a:pt x="280" y="366"/>
                  </a:lnTo>
                  <a:lnTo>
                    <a:pt x="285" y="375"/>
                  </a:lnTo>
                  <a:lnTo>
                    <a:pt x="285" y="37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29" name="Freeform 23">
              <a:extLst>
                <a:ext uri="{FF2B5EF4-FFF2-40B4-BE49-F238E27FC236}">
                  <a16:creationId xmlns:a16="http://schemas.microsoft.com/office/drawing/2014/main" id="{7FDFFB61-D5D5-4156-BC74-B4C7DFFCD810}"/>
                </a:ext>
              </a:extLst>
            </p:cNvPr>
            <p:cNvSpPr>
              <a:spLocks/>
            </p:cNvSpPr>
            <p:nvPr/>
          </p:nvSpPr>
          <p:spPr bwMode="auto">
            <a:xfrm>
              <a:off x="3589729" y="2566368"/>
              <a:ext cx="952953" cy="751299"/>
            </a:xfrm>
            <a:custGeom>
              <a:avLst/>
              <a:gdLst/>
              <a:ahLst/>
              <a:cxnLst>
                <a:cxn ang="0">
                  <a:pos x="1020" y="68"/>
                </a:cxn>
                <a:cxn ang="0">
                  <a:pos x="1027" y="103"/>
                </a:cxn>
                <a:cxn ang="0">
                  <a:pos x="1032" y="172"/>
                </a:cxn>
                <a:cxn ang="0">
                  <a:pos x="1055" y="206"/>
                </a:cxn>
                <a:cxn ang="0">
                  <a:pos x="1067" y="232"/>
                </a:cxn>
                <a:cxn ang="0">
                  <a:pos x="1062" y="301"/>
                </a:cxn>
                <a:cxn ang="0">
                  <a:pos x="1055" y="357"/>
                </a:cxn>
                <a:cxn ang="0">
                  <a:pos x="1055" y="454"/>
                </a:cxn>
                <a:cxn ang="0">
                  <a:pos x="1025" y="502"/>
                </a:cxn>
                <a:cxn ang="0">
                  <a:pos x="963" y="563"/>
                </a:cxn>
                <a:cxn ang="0">
                  <a:pos x="926" y="630"/>
                </a:cxn>
                <a:cxn ang="0">
                  <a:pos x="916" y="664"/>
                </a:cxn>
                <a:cxn ang="0">
                  <a:pos x="860" y="736"/>
                </a:cxn>
                <a:cxn ang="0">
                  <a:pos x="817" y="753"/>
                </a:cxn>
                <a:cxn ang="0">
                  <a:pos x="766" y="755"/>
                </a:cxn>
                <a:cxn ang="0">
                  <a:pos x="705" y="745"/>
                </a:cxn>
                <a:cxn ang="0">
                  <a:pos x="669" y="766"/>
                </a:cxn>
                <a:cxn ang="0">
                  <a:pos x="650" y="797"/>
                </a:cxn>
                <a:cxn ang="0">
                  <a:pos x="606" y="785"/>
                </a:cxn>
                <a:cxn ang="0">
                  <a:pos x="502" y="746"/>
                </a:cxn>
                <a:cxn ang="0">
                  <a:pos x="458" y="748"/>
                </a:cxn>
                <a:cxn ang="0">
                  <a:pos x="425" y="748"/>
                </a:cxn>
                <a:cxn ang="0">
                  <a:pos x="386" y="723"/>
                </a:cxn>
                <a:cxn ang="0">
                  <a:pos x="356" y="720"/>
                </a:cxn>
                <a:cxn ang="0">
                  <a:pos x="317" y="730"/>
                </a:cxn>
                <a:cxn ang="0">
                  <a:pos x="273" y="773"/>
                </a:cxn>
                <a:cxn ang="0">
                  <a:pos x="236" y="820"/>
                </a:cxn>
                <a:cxn ang="0">
                  <a:pos x="213" y="829"/>
                </a:cxn>
                <a:cxn ang="0">
                  <a:pos x="192" y="817"/>
                </a:cxn>
                <a:cxn ang="0">
                  <a:pos x="171" y="829"/>
                </a:cxn>
                <a:cxn ang="0">
                  <a:pos x="132" y="796"/>
                </a:cxn>
                <a:cxn ang="0">
                  <a:pos x="79" y="767"/>
                </a:cxn>
                <a:cxn ang="0">
                  <a:pos x="60" y="736"/>
                </a:cxn>
                <a:cxn ang="0">
                  <a:pos x="34" y="713"/>
                </a:cxn>
                <a:cxn ang="0">
                  <a:pos x="9" y="667"/>
                </a:cxn>
                <a:cxn ang="0">
                  <a:pos x="5" y="635"/>
                </a:cxn>
                <a:cxn ang="0">
                  <a:pos x="46" y="621"/>
                </a:cxn>
                <a:cxn ang="0">
                  <a:pos x="90" y="602"/>
                </a:cxn>
                <a:cxn ang="0">
                  <a:pos x="160" y="595"/>
                </a:cxn>
                <a:cxn ang="0">
                  <a:pos x="231" y="588"/>
                </a:cxn>
                <a:cxn ang="0">
                  <a:pos x="245" y="581"/>
                </a:cxn>
                <a:cxn ang="0">
                  <a:pos x="259" y="531"/>
                </a:cxn>
                <a:cxn ang="0">
                  <a:pos x="280" y="445"/>
                </a:cxn>
                <a:cxn ang="0">
                  <a:pos x="784" y="0"/>
                </a:cxn>
                <a:cxn ang="0">
                  <a:pos x="828" y="3"/>
                </a:cxn>
                <a:cxn ang="0">
                  <a:pos x="884" y="8"/>
                </a:cxn>
                <a:cxn ang="0">
                  <a:pos x="914" y="29"/>
                </a:cxn>
                <a:cxn ang="0">
                  <a:pos x="941" y="68"/>
                </a:cxn>
                <a:cxn ang="0">
                  <a:pos x="976" y="72"/>
                </a:cxn>
              </a:cxnLst>
              <a:rect l="0" t="0" r="r" b="b"/>
              <a:pathLst>
                <a:path w="1067" h="841">
                  <a:moveTo>
                    <a:pt x="1013" y="58"/>
                  </a:moveTo>
                  <a:lnTo>
                    <a:pt x="1013" y="58"/>
                  </a:lnTo>
                  <a:lnTo>
                    <a:pt x="1014" y="61"/>
                  </a:lnTo>
                  <a:lnTo>
                    <a:pt x="1020" y="68"/>
                  </a:lnTo>
                  <a:lnTo>
                    <a:pt x="1025" y="82"/>
                  </a:lnTo>
                  <a:lnTo>
                    <a:pt x="1027" y="93"/>
                  </a:lnTo>
                  <a:lnTo>
                    <a:pt x="1027" y="103"/>
                  </a:lnTo>
                  <a:lnTo>
                    <a:pt x="1027" y="103"/>
                  </a:lnTo>
                  <a:lnTo>
                    <a:pt x="1025" y="142"/>
                  </a:lnTo>
                  <a:lnTo>
                    <a:pt x="1027" y="156"/>
                  </a:lnTo>
                  <a:lnTo>
                    <a:pt x="1032" y="172"/>
                  </a:lnTo>
                  <a:lnTo>
                    <a:pt x="1032" y="172"/>
                  </a:lnTo>
                  <a:lnTo>
                    <a:pt x="1036" y="179"/>
                  </a:lnTo>
                  <a:lnTo>
                    <a:pt x="1039" y="186"/>
                  </a:lnTo>
                  <a:lnTo>
                    <a:pt x="1050" y="199"/>
                  </a:lnTo>
                  <a:lnTo>
                    <a:pt x="1055" y="206"/>
                  </a:lnTo>
                  <a:lnTo>
                    <a:pt x="1060" y="213"/>
                  </a:lnTo>
                  <a:lnTo>
                    <a:pt x="1064" y="221"/>
                  </a:lnTo>
                  <a:lnTo>
                    <a:pt x="1067" y="232"/>
                  </a:lnTo>
                  <a:lnTo>
                    <a:pt x="1067" y="232"/>
                  </a:lnTo>
                  <a:lnTo>
                    <a:pt x="1067" y="244"/>
                  </a:lnTo>
                  <a:lnTo>
                    <a:pt x="1067" y="255"/>
                  </a:lnTo>
                  <a:lnTo>
                    <a:pt x="1066" y="278"/>
                  </a:lnTo>
                  <a:lnTo>
                    <a:pt x="1062" y="301"/>
                  </a:lnTo>
                  <a:lnTo>
                    <a:pt x="1057" y="325"/>
                  </a:lnTo>
                  <a:lnTo>
                    <a:pt x="1057" y="325"/>
                  </a:lnTo>
                  <a:lnTo>
                    <a:pt x="1055" y="341"/>
                  </a:lnTo>
                  <a:lnTo>
                    <a:pt x="1055" y="357"/>
                  </a:lnTo>
                  <a:lnTo>
                    <a:pt x="1057" y="392"/>
                  </a:lnTo>
                  <a:lnTo>
                    <a:pt x="1057" y="428"/>
                  </a:lnTo>
                  <a:lnTo>
                    <a:pt x="1057" y="442"/>
                  </a:lnTo>
                  <a:lnTo>
                    <a:pt x="1055" y="454"/>
                  </a:lnTo>
                  <a:lnTo>
                    <a:pt x="1055" y="454"/>
                  </a:lnTo>
                  <a:lnTo>
                    <a:pt x="1050" y="465"/>
                  </a:lnTo>
                  <a:lnTo>
                    <a:pt x="1043" y="477"/>
                  </a:lnTo>
                  <a:lnTo>
                    <a:pt x="1025" y="502"/>
                  </a:lnTo>
                  <a:lnTo>
                    <a:pt x="1000" y="528"/>
                  </a:lnTo>
                  <a:lnTo>
                    <a:pt x="976" y="551"/>
                  </a:lnTo>
                  <a:lnTo>
                    <a:pt x="976" y="551"/>
                  </a:lnTo>
                  <a:lnTo>
                    <a:pt x="963" y="563"/>
                  </a:lnTo>
                  <a:lnTo>
                    <a:pt x="953" y="575"/>
                  </a:lnTo>
                  <a:lnTo>
                    <a:pt x="944" y="591"/>
                  </a:lnTo>
                  <a:lnTo>
                    <a:pt x="937" y="605"/>
                  </a:lnTo>
                  <a:lnTo>
                    <a:pt x="926" y="630"/>
                  </a:lnTo>
                  <a:lnTo>
                    <a:pt x="925" y="646"/>
                  </a:lnTo>
                  <a:lnTo>
                    <a:pt x="925" y="646"/>
                  </a:lnTo>
                  <a:lnTo>
                    <a:pt x="921" y="653"/>
                  </a:lnTo>
                  <a:lnTo>
                    <a:pt x="916" y="664"/>
                  </a:lnTo>
                  <a:lnTo>
                    <a:pt x="895" y="693"/>
                  </a:lnTo>
                  <a:lnTo>
                    <a:pt x="882" y="709"/>
                  </a:lnTo>
                  <a:lnTo>
                    <a:pt x="870" y="723"/>
                  </a:lnTo>
                  <a:lnTo>
                    <a:pt x="860" y="736"/>
                  </a:lnTo>
                  <a:lnTo>
                    <a:pt x="849" y="741"/>
                  </a:lnTo>
                  <a:lnTo>
                    <a:pt x="849" y="741"/>
                  </a:lnTo>
                  <a:lnTo>
                    <a:pt x="833" y="748"/>
                  </a:lnTo>
                  <a:lnTo>
                    <a:pt x="817" y="753"/>
                  </a:lnTo>
                  <a:lnTo>
                    <a:pt x="800" y="757"/>
                  </a:lnTo>
                  <a:lnTo>
                    <a:pt x="779" y="757"/>
                  </a:lnTo>
                  <a:lnTo>
                    <a:pt x="779" y="757"/>
                  </a:lnTo>
                  <a:lnTo>
                    <a:pt x="766" y="755"/>
                  </a:lnTo>
                  <a:lnTo>
                    <a:pt x="754" y="752"/>
                  </a:lnTo>
                  <a:lnTo>
                    <a:pt x="729" y="746"/>
                  </a:lnTo>
                  <a:lnTo>
                    <a:pt x="717" y="745"/>
                  </a:lnTo>
                  <a:lnTo>
                    <a:pt x="705" y="745"/>
                  </a:lnTo>
                  <a:lnTo>
                    <a:pt x="692" y="748"/>
                  </a:lnTo>
                  <a:lnTo>
                    <a:pt x="680" y="755"/>
                  </a:lnTo>
                  <a:lnTo>
                    <a:pt x="680" y="755"/>
                  </a:lnTo>
                  <a:lnTo>
                    <a:pt x="669" y="766"/>
                  </a:lnTo>
                  <a:lnTo>
                    <a:pt x="664" y="775"/>
                  </a:lnTo>
                  <a:lnTo>
                    <a:pt x="659" y="790"/>
                  </a:lnTo>
                  <a:lnTo>
                    <a:pt x="655" y="794"/>
                  </a:lnTo>
                  <a:lnTo>
                    <a:pt x="650" y="797"/>
                  </a:lnTo>
                  <a:lnTo>
                    <a:pt x="639" y="796"/>
                  </a:lnTo>
                  <a:lnTo>
                    <a:pt x="625" y="792"/>
                  </a:lnTo>
                  <a:lnTo>
                    <a:pt x="625" y="792"/>
                  </a:lnTo>
                  <a:lnTo>
                    <a:pt x="606" y="785"/>
                  </a:lnTo>
                  <a:lnTo>
                    <a:pt x="587" y="776"/>
                  </a:lnTo>
                  <a:lnTo>
                    <a:pt x="544" y="759"/>
                  </a:lnTo>
                  <a:lnTo>
                    <a:pt x="523" y="752"/>
                  </a:lnTo>
                  <a:lnTo>
                    <a:pt x="502" y="746"/>
                  </a:lnTo>
                  <a:lnTo>
                    <a:pt x="479" y="745"/>
                  </a:lnTo>
                  <a:lnTo>
                    <a:pt x="469" y="746"/>
                  </a:lnTo>
                  <a:lnTo>
                    <a:pt x="458" y="748"/>
                  </a:lnTo>
                  <a:lnTo>
                    <a:pt x="458" y="748"/>
                  </a:lnTo>
                  <a:lnTo>
                    <a:pt x="447" y="750"/>
                  </a:lnTo>
                  <a:lnTo>
                    <a:pt x="439" y="750"/>
                  </a:lnTo>
                  <a:lnTo>
                    <a:pt x="432" y="750"/>
                  </a:lnTo>
                  <a:lnTo>
                    <a:pt x="425" y="748"/>
                  </a:lnTo>
                  <a:lnTo>
                    <a:pt x="414" y="743"/>
                  </a:lnTo>
                  <a:lnTo>
                    <a:pt x="405" y="736"/>
                  </a:lnTo>
                  <a:lnTo>
                    <a:pt x="395" y="729"/>
                  </a:lnTo>
                  <a:lnTo>
                    <a:pt x="386" y="723"/>
                  </a:lnTo>
                  <a:lnTo>
                    <a:pt x="379" y="722"/>
                  </a:lnTo>
                  <a:lnTo>
                    <a:pt x="372" y="720"/>
                  </a:lnTo>
                  <a:lnTo>
                    <a:pt x="365" y="720"/>
                  </a:lnTo>
                  <a:lnTo>
                    <a:pt x="356" y="720"/>
                  </a:lnTo>
                  <a:lnTo>
                    <a:pt x="356" y="720"/>
                  </a:lnTo>
                  <a:lnTo>
                    <a:pt x="338" y="723"/>
                  </a:lnTo>
                  <a:lnTo>
                    <a:pt x="326" y="727"/>
                  </a:lnTo>
                  <a:lnTo>
                    <a:pt x="317" y="730"/>
                  </a:lnTo>
                  <a:lnTo>
                    <a:pt x="308" y="736"/>
                  </a:lnTo>
                  <a:lnTo>
                    <a:pt x="301" y="743"/>
                  </a:lnTo>
                  <a:lnTo>
                    <a:pt x="294" y="750"/>
                  </a:lnTo>
                  <a:lnTo>
                    <a:pt x="273" y="773"/>
                  </a:lnTo>
                  <a:lnTo>
                    <a:pt x="273" y="773"/>
                  </a:lnTo>
                  <a:lnTo>
                    <a:pt x="261" y="785"/>
                  </a:lnTo>
                  <a:lnTo>
                    <a:pt x="250" y="799"/>
                  </a:lnTo>
                  <a:lnTo>
                    <a:pt x="236" y="820"/>
                  </a:lnTo>
                  <a:lnTo>
                    <a:pt x="227" y="836"/>
                  </a:lnTo>
                  <a:lnTo>
                    <a:pt x="224" y="841"/>
                  </a:lnTo>
                  <a:lnTo>
                    <a:pt x="224" y="841"/>
                  </a:lnTo>
                  <a:lnTo>
                    <a:pt x="213" y="829"/>
                  </a:lnTo>
                  <a:lnTo>
                    <a:pt x="203" y="820"/>
                  </a:lnTo>
                  <a:lnTo>
                    <a:pt x="197" y="819"/>
                  </a:lnTo>
                  <a:lnTo>
                    <a:pt x="192" y="817"/>
                  </a:lnTo>
                  <a:lnTo>
                    <a:pt x="192" y="817"/>
                  </a:lnTo>
                  <a:lnTo>
                    <a:pt x="183" y="819"/>
                  </a:lnTo>
                  <a:lnTo>
                    <a:pt x="176" y="822"/>
                  </a:lnTo>
                  <a:lnTo>
                    <a:pt x="171" y="829"/>
                  </a:lnTo>
                  <a:lnTo>
                    <a:pt x="171" y="829"/>
                  </a:lnTo>
                  <a:lnTo>
                    <a:pt x="159" y="815"/>
                  </a:lnTo>
                  <a:lnTo>
                    <a:pt x="146" y="804"/>
                  </a:lnTo>
                  <a:lnTo>
                    <a:pt x="139" y="799"/>
                  </a:lnTo>
                  <a:lnTo>
                    <a:pt x="132" y="796"/>
                  </a:lnTo>
                  <a:lnTo>
                    <a:pt x="132" y="796"/>
                  </a:lnTo>
                  <a:lnTo>
                    <a:pt x="104" y="783"/>
                  </a:lnTo>
                  <a:lnTo>
                    <a:pt x="90" y="776"/>
                  </a:lnTo>
                  <a:lnTo>
                    <a:pt x="79" y="767"/>
                  </a:lnTo>
                  <a:lnTo>
                    <a:pt x="79" y="767"/>
                  </a:lnTo>
                  <a:lnTo>
                    <a:pt x="72" y="759"/>
                  </a:lnTo>
                  <a:lnTo>
                    <a:pt x="65" y="746"/>
                  </a:lnTo>
                  <a:lnTo>
                    <a:pt x="60" y="736"/>
                  </a:lnTo>
                  <a:lnTo>
                    <a:pt x="55" y="730"/>
                  </a:lnTo>
                  <a:lnTo>
                    <a:pt x="55" y="730"/>
                  </a:lnTo>
                  <a:lnTo>
                    <a:pt x="42" y="720"/>
                  </a:lnTo>
                  <a:lnTo>
                    <a:pt x="34" y="713"/>
                  </a:lnTo>
                  <a:lnTo>
                    <a:pt x="27" y="702"/>
                  </a:lnTo>
                  <a:lnTo>
                    <a:pt x="27" y="702"/>
                  </a:lnTo>
                  <a:lnTo>
                    <a:pt x="18" y="686"/>
                  </a:lnTo>
                  <a:lnTo>
                    <a:pt x="9" y="667"/>
                  </a:lnTo>
                  <a:lnTo>
                    <a:pt x="0" y="644"/>
                  </a:lnTo>
                  <a:lnTo>
                    <a:pt x="0" y="644"/>
                  </a:lnTo>
                  <a:lnTo>
                    <a:pt x="2" y="639"/>
                  </a:lnTo>
                  <a:lnTo>
                    <a:pt x="5" y="635"/>
                  </a:lnTo>
                  <a:lnTo>
                    <a:pt x="11" y="634"/>
                  </a:lnTo>
                  <a:lnTo>
                    <a:pt x="11" y="634"/>
                  </a:lnTo>
                  <a:lnTo>
                    <a:pt x="23" y="630"/>
                  </a:lnTo>
                  <a:lnTo>
                    <a:pt x="46" y="621"/>
                  </a:lnTo>
                  <a:lnTo>
                    <a:pt x="69" y="612"/>
                  </a:lnTo>
                  <a:lnTo>
                    <a:pt x="85" y="605"/>
                  </a:lnTo>
                  <a:lnTo>
                    <a:pt x="85" y="605"/>
                  </a:lnTo>
                  <a:lnTo>
                    <a:pt x="90" y="602"/>
                  </a:lnTo>
                  <a:lnTo>
                    <a:pt x="97" y="602"/>
                  </a:lnTo>
                  <a:lnTo>
                    <a:pt x="115" y="600"/>
                  </a:lnTo>
                  <a:lnTo>
                    <a:pt x="136" y="598"/>
                  </a:lnTo>
                  <a:lnTo>
                    <a:pt x="160" y="595"/>
                  </a:lnTo>
                  <a:lnTo>
                    <a:pt x="160" y="595"/>
                  </a:lnTo>
                  <a:lnTo>
                    <a:pt x="208" y="590"/>
                  </a:lnTo>
                  <a:lnTo>
                    <a:pt x="231" y="588"/>
                  </a:lnTo>
                  <a:lnTo>
                    <a:pt x="231" y="588"/>
                  </a:lnTo>
                  <a:lnTo>
                    <a:pt x="233" y="590"/>
                  </a:lnTo>
                  <a:lnTo>
                    <a:pt x="240" y="588"/>
                  </a:lnTo>
                  <a:lnTo>
                    <a:pt x="243" y="586"/>
                  </a:lnTo>
                  <a:lnTo>
                    <a:pt x="245" y="581"/>
                  </a:lnTo>
                  <a:lnTo>
                    <a:pt x="248" y="574"/>
                  </a:lnTo>
                  <a:lnTo>
                    <a:pt x="250" y="563"/>
                  </a:lnTo>
                  <a:lnTo>
                    <a:pt x="250" y="563"/>
                  </a:lnTo>
                  <a:lnTo>
                    <a:pt x="259" y="531"/>
                  </a:lnTo>
                  <a:lnTo>
                    <a:pt x="271" y="487"/>
                  </a:lnTo>
                  <a:lnTo>
                    <a:pt x="271" y="487"/>
                  </a:lnTo>
                  <a:lnTo>
                    <a:pt x="277" y="470"/>
                  </a:lnTo>
                  <a:lnTo>
                    <a:pt x="280" y="445"/>
                  </a:lnTo>
                  <a:lnTo>
                    <a:pt x="284" y="413"/>
                  </a:lnTo>
                  <a:lnTo>
                    <a:pt x="289" y="331"/>
                  </a:lnTo>
                  <a:lnTo>
                    <a:pt x="370" y="310"/>
                  </a:lnTo>
                  <a:lnTo>
                    <a:pt x="784" y="0"/>
                  </a:lnTo>
                  <a:lnTo>
                    <a:pt x="784" y="0"/>
                  </a:lnTo>
                  <a:lnTo>
                    <a:pt x="798" y="1"/>
                  </a:lnTo>
                  <a:lnTo>
                    <a:pt x="810" y="3"/>
                  </a:lnTo>
                  <a:lnTo>
                    <a:pt x="828" y="3"/>
                  </a:lnTo>
                  <a:lnTo>
                    <a:pt x="828" y="3"/>
                  </a:lnTo>
                  <a:lnTo>
                    <a:pt x="845" y="3"/>
                  </a:lnTo>
                  <a:lnTo>
                    <a:pt x="867" y="5"/>
                  </a:lnTo>
                  <a:lnTo>
                    <a:pt x="884" y="8"/>
                  </a:lnTo>
                  <a:lnTo>
                    <a:pt x="896" y="12"/>
                  </a:lnTo>
                  <a:lnTo>
                    <a:pt x="896" y="12"/>
                  </a:lnTo>
                  <a:lnTo>
                    <a:pt x="905" y="19"/>
                  </a:lnTo>
                  <a:lnTo>
                    <a:pt x="914" y="29"/>
                  </a:lnTo>
                  <a:lnTo>
                    <a:pt x="925" y="44"/>
                  </a:lnTo>
                  <a:lnTo>
                    <a:pt x="933" y="59"/>
                  </a:lnTo>
                  <a:lnTo>
                    <a:pt x="933" y="59"/>
                  </a:lnTo>
                  <a:lnTo>
                    <a:pt x="941" y="68"/>
                  </a:lnTo>
                  <a:lnTo>
                    <a:pt x="948" y="72"/>
                  </a:lnTo>
                  <a:lnTo>
                    <a:pt x="955" y="73"/>
                  </a:lnTo>
                  <a:lnTo>
                    <a:pt x="965" y="73"/>
                  </a:lnTo>
                  <a:lnTo>
                    <a:pt x="976" y="72"/>
                  </a:lnTo>
                  <a:lnTo>
                    <a:pt x="988" y="68"/>
                  </a:lnTo>
                  <a:lnTo>
                    <a:pt x="1013" y="58"/>
                  </a:lnTo>
                  <a:lnTo>
                    <a:pt x="1013" y="5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0" name="Freeform 24">
              <a:extLst>
                <a:ext uri="{FF2B5EF4-FFF2-40B4-BE49-F238E27FC236}">
                  <a16:creationId xmlns:a16="http://schemas.microsoft.com/office/drawing/2014/main" id="{AF83D453-E3EE-48F2-A4BC-C9E15E29DD50}"/>
                </a:ext>
              </a:extLst>
            </p:cNvPr>
            <p:cNvSpPr>
              <a:spLocks/>
            </p:cNvSpPr>
            <p:nvPr/>
          </p:nvSpPr>
          <p:spPr bwMode="auto">
            <a:xfrm>
              <a:off x="4414194" y="2584213"/>
              <a:ext cx="619241" cy="1002921"/>
            </a:xfrm>
            <a:custGeom>
              <a:avLst/>
              <a:gdLst/>
              <a:ahLst/>
              <a:cxnLst>
                <a:cxn ang="0">
                  <a:pos x="694" y="546"/>
                </a:cxn>
                <a:cxn ang="0">
                  <a:pos x="664" y="560"/>
                </a:cxn>
                <a:cxn ang="0">
                  <a:pos x="635" y="590"/>
                </a:cxn>
                <a:cxn ang="0">
                  <a:pos x="609" y="644"/>
                </a:cxn>
                <a:cxn ang="0">
                  <a:pos x="600" y="683"/>
                </a:cxn>
                <a:cxn ang="0">
                  <a:pos x="600" y="718"/>
                </a:cxn>
                <a:cxn ang="0">
                  <a:pos x="605" y="759"/>
                </a:cxn>
                <a:cxn ang="0">
                  <a:pos x="618" y="787"/>
                </a:cxn>
                <a:cxn ang="0">
                  <a:pos x="644" y="852"/>
                </a:cxn>
                <a:cxn ang="0">
                  <a:pos x="635" y="873"/>
                </a:cxn>
                <a:cxn ang="0">
                  <a:pos x="620" y="879"/>
                </a:cxn>
                <a:cxn ang="0">
                  <a:pos x="586" y="877"/>
                </a:cxn>
                <a:cxn ang="0">
                  <a:pos x="574" y="884"/>
                </a:cxn>
                <a:cxn ang="0">
                  <a:pos x="532" y="946"/>
                </a:cxn>
                <a:cxn ang="0">
                  <a:pos x="491" y="988"/>
                </a:cxn>
                <a:cxn ang="0">
                  <a:pos x="436" y="1021"/>
                </a:cxn>
                <a:cxn ang="0">
                  <a:pos x="396" y="1032"/>
                </a:cxn>
                <a:cxn ang="0">
                  <a:pos x="369" y="1035"/>
                </a:cxn>
                <a:cxn ang="0">
                  <a:pos x="361" y="1048"/>
                </a:cxn>
                <a:cxn ang="0">
                  <a:pos x="343" y="1069"/>
                </a:cxn>
                <a:cxn ang="0">
                  <a:pos x="281" y="1101"/>
                </a:cxn>
                <a:cxn ang="0">
                  <a:pos x="246" y="1109"/>
                </a:cxn>
                <a:cxn ang="0">
                  <a:pos x="153" y="1123"/>
                </a:cxn>
                <a:cxn ang="0">
                  <a:pos x="132" y="1079"/>
                </a:cxn>
                <a:cxn ang="0">
                  <a:pos x="116" y="1046"/>
                </a:cxn>
                <a:cxn ang="0">
                  <a:pos x="97" y="1028"/>
                </a:cxn>
                <a:cxn ang="0">
                  <a:pos x="44" y="1007"/>
                </a:cxn>
                <a:cxn ang="0">
                  <a:pos x="33" y="1000"/>
                </a:cxn>
                <a:cxn ang="0">
                  <a:pos x="26" y="975"/>
                </a:cxn>
                <a:cxn ang="0">
                  <a:pos x="44" y="958"/>
                </a:cxn>
                <a:cxn ang="0">
                  <a:pos x="74" y="947"/>
                </a:cxn>
                <a:cxn ang="0">
                  <a:pos x="107" y="923"/>
                </a:cxn>
                <a:cxn ang="0">
                  <a:pos x="116" y="889"/>
                </a:cxn>
                <a:cxn ang="0">
                  <a:pos x="105" y="859"/>
                </a:cxn>
                <a:cxn ang="0">
                  <a:pos x="97" y="824"/>
                </a:cxn>
                <a:cxn ang="0">
                  <a:pos x="104" y="812"/>
                </a:cxn>
                <a:cxn ang="0">
                  <a:pos x="111" y="789"/>
                </a:cxn>
                <a:cxn ang="0">
                  <a:pos x="100" y="778"/>
                </a:cxn>
                <a:cxn ang="0">
                  <a:pos x="58" y="741"/>
                </a:cxn>
                <a:cxn ang="0">
                  <a:pos x="0" y="625"/>
                </a:cxn>
                <a:cxn ang="0">
                  <a:pos x="16" y="576"/>
                </a:cxn>
                <a:cxn ang="0">
                  <a:pos x="24" y="560"/>
                </a:cxn>
                <a:cxn ang="0">
                  <a:pos x="75" y="507"/>
                </a:cxn>
                <a:cxn ang="0">
                  <a:pos x="93" y="491"/>
                </a:cxn>
                <a:cxn ang="0">
                  <a:pos x="130" y="433"/>
                </a:cxn>
                <a:cxn ang="0">
                  <a:pos x="132" y="412"/>
                </a:cxn>
                <a:cxn ang="0">
                  <a:pos x="128" y="338"/>
                </a:cxn>
                <a:cxn ang="0">
                  <a:pos x="139" y="274"/>
                </a:cxn>
                <a:cxn ang="0">
                  <a:pos x="142" y="236"/>
                </a:cxn>
                <a:cxn ang="0">
                  <a:pos x="135" y="195"/>
                </a:cxn>
                <a:cxn ang="0">
                  <a:pos x="118" y="167"/>
                </a:cxn>
                <a:cxn ang="0">
                  <a:pos x="100" y="134"/>
                </a:cxn>
                <a:cxn ang="0">
                  <a:pos x="102" y="91"/>
                </a:cxn>
                <a:cxn ang="0">
                  <a:pos x="95" y="45"/>
                </a:cxn>
                <a:cxn ang="0">
                  <a:pos x="88" y="37"/>
                </a:cxn>
                <a:cxn ang="0">
                  <a:pos x="134" y="3"/>
                </a:cxn>
                <a:cxn ang="0">
                  <a:pos x="148" y="0"/>
                </a:cxn>
                <a:cxn ang="0">
                  <a:pos x="181" y="7"/>
                </a:cxn>
                <a:cxn ang="0">
                  <a:pos x="431" y="128"/>
                </a:cxn>
                <a:cxn ang="0">
                  <a:pos x="679" y="243"/>
                </a:cxn>
              </a:cxnLst>
              <a:rect l="0" t="0" r="r" b="b"/>
              <a:pathLst>
                <a:path w="694" h="1123">
                  <a:moveTo>
                    <a:pt x="690" y="246"/>
                  </a:moveTo>
                  <a:lnTo>
                    <a:pt x="694" y="546"/>
                  </a:lnTo>
                  <a:lnTo>
                    <a:pt x="694" y="546"/>
                  </a:lnTo>
                  <a:lnTo>
                    <a:pt x="686" y="547"/>
                  </a:lnTo>
                  <a:lnTo>
                    <a:pt x="672" y="553"/>
                  </a:lnTo>
                  <a:lnTo>
                    <a:pt x="664" y="560"/>
                  </a:lnTo>
                  <a:lnTo>
                    <a:pt x="653" y="567"/>
                  </a:lnTo>
                  <a:lnTo>
                    <a:pt x="644" y="577"/>
                  </a:lnTo>
                  <a:lnTo>
                    <a:pt x="635" y="590"/>
                  </a:lnTo>
                  <a:lnTo>
                    <a:pt x="635" y="590"/>
                  </a:lnTo>
                  <a:lnTo>
                    <a:pt x="621" y="618"/>
                  </a:lnTo>
                  <a:lnTo>
                    <a:pt x="609" y="644"/>
                  </a:lnTo>
                  <a:lnTo>
                    <a:pt x="604" y="657"/>
                  </a:lnTo>
                  <a:lnTo>
                    <a:pt x="600" y="669"/>
                  </a:lnTo>
                  <a:lnTo>
                    <a:pt x="600" y="683"/>
                  </a:lnTo>
                  <a:lnTo>
                    <a:pt x="600" y="695"/>
                  </a:lnTo>
                  <a:lnTo>
                    <a:pt x="600" y="695"/>
                  </a:lnTo>
                  <a:lnTo>
                    <a:pt x="600" y="718"/>
                  </a:lnTo>
                  <a:lnTo>
                    <a:pt x="602" y="738"/>
                  </a:lnTo>
                  <a:lnTo>
                    <a:pt x="604" y="748"/>
                  </a:lnTo>
                  <a:lnTo>
                    <a:pt x="605" y="759"/>
                  </a:lnTo>
                  <a:lnTo>
                    <a:pt x="611" y="773"/>
                  </a:lnTo>
                  <a:lnTo>
                    <a:pt x="618" y="787"/>
                  </a:lnTo>
                  <a:lnTo>
                    <a:pt x="618" y="787"/>
                  </a:lnTo>
                  <a:lnTo>
                    <a:pt x="632" y="817"/>
                  </a:lnTo>
                  <a:lnTo>
                    <a:pt x="642" y="842"/>
                  </a:lnTo>
                  <a:lnTo>
                    <a:pt x="644" y="852"/>
                  </a:lnTo>
                  <a:lnTo>
                    <a:pt x="644" y="861"/>
                  </a:lnTo>
                  <a:lnTo>
                    <a:pt x="642" y="868"/>
                  </a:lnTo>
                  <a:lnTo>
                    <a:pt x="635" y="873"/>
                  </a:lnTo>
                  <a:lnTo>
                    <a:pt x="635" y="873"/>
                  </a:lnTo>
                  <a:lnTo>
                    <a:pt x="628" y="877"/>
                  </a:lnTo>
                  <a:lnTo>
                    <a:pt x="620" y="879"/>
                  </a:lnTo>
                  <a:lnTo>
                    <a:pt x="602" y="877"/>
                  </a:lnTo>
                  <a:lnTo>
                    <a:pt x="595" y="877"/>
                  </a:lnTo>
                  <a:lnTo>
                    <a:pt x="586" y="877"/>
                  </a:lnTo>
                  <a:lnTo>
                    <a:pt x="581" y="879"/>
                  </a:lnTo>
                  <a:lnTo>
                    <a:pt x="574" y="884"/>
                  </a:lnTo>
                  <a:lnTo>
                    <a:pt x="574" y="884"/>
                  </a:lnTo>
                  <a:lnTo>
                    <a:pt x="560" y="903"/>
                  </a:lnTo>
                  <a:lnTo>
                    <a:pt x="542" y="931"/>
                  </a:lnTo>
                  <a:lnTo>
                    <a:pt x="532" y="946"/>
                  </a:lnTo>
                  <a:lnTo>
                    <a:pt x="519" y="961"/>
                  </a:lnTo>
                  <a:lnTo>
                    <a:pt x="505" y="975"/>
                  </a:lnTo>
                  <a:lnTo>
                    <a:pt x="491" y="988"/>
                  </a:lnTo>
                  <a:lnTo>
                    <a:pt x="491" y="988"/>
                  </a:lnTo>
                  <a:lnTo>
                    <a:pt x="461" y="1007"/>
                  </a:lnTo>
                  <a:lnTo>
                    <a:pt x="436" y="1021"/>
                  </a:lnTo>
                  <a:lnTo>
                    <a:pt x="415" y="1028"/>
                  </a:lnTo>
                  <a:lnTo>
                    <a:pt x="396" y="1032"/>
                  </a:lnTo>
                  <a:lnTo>
                    <a:pt x="396" y="1032"/>
                  </a:lnTo>
                  <a:lnTo>
                    <a:pt x="382" y="1032"/>
                  </a:lnTo>
                  <a:lnTo>
                    <a:pt x="373" y="1034"/>
                  </a:lnTo>
                  <a:lnTo>
                    <a:pt x="369" y="1035"/>
                  </a:lnTo>
                  <a:lnTo>
                    <a:pt x="366" y="1037"/>
                  </a:lnTo>
                  <a:lnTo>
                    <a:pt x="361" y="1048"/>
                  </a:lnTo>
                  <a:lnTo>
                    <a:pt x="361" y="1048"/>
                  </a:lnTo>
                  <a:lnTo>
                    <a:pt x="357" y="1055"/>
                  </a:lnTo>
                  <a:lnTo>
                    <a:pt x="352" y="1062"/>
                  </a:lnTo>
                  <a:lnTo>
                    <a:pt x="343" y="1069"/>
                  </a:lnTo>
                  <a:lnTo>
                    <a:pt x="333" y="1076"/>
                  </a:lnTo>
                  <a:lnTo>
                    <a:pt x="308" y="1090"/>
                  </a:lnTo>
                  <a:lnTo>
                    <a:pt x="281" y="1101"/>
                  </a:lnTo>
                  <a:lnTo>
                    <a:pt x="281" y="1101"/>
                  </a:lnTo>
                  <a:lnTo>
                    <a:pt x="266" y="1106"/>
                  </a:lnTo>
                  <a:lnTo>
                    <a:pt x="246" y="1109"/>
                  </a:lnTo>
                  <a:lnTo>
                    <a:pt x="204" y="1116"/>
                  </a:lnTo>
                  <a:lnTo>
                    <a:pt x="153" y="1123"/>
                  </a:lnTo>
                  <a:lnTo>
                    <a:pt x="153" y="1123"/>
                  </a:lnTo>
                  <a:lnTo>
                    <a:pt x="144" y="1106"/>
                  </a:lnTo>
                  <a:lnTo>
                    <a:pt x="132" y="1079"/>
                  </a:lnTo>
                  <a:lnTo>
                    <a:pt x="132" y="1079"/>
                  </a:lnTo>
                  <a:lnTo>
                    <a:pt x="126" y="1067"/>
                  </a:lnTo>
                  <a:lnTo>
                    <a:pt x="121" y="1053"/>
                  </a:lnTo>
                  <a:lnTo>
                    <a:pt x="116" y="1046"/>
                  </a:lnTo>
                  <a:lnTo>
                    <a:pt x="111" y="1039"/>
                  </a:lnTo>
                  <a:lnTo>
                    <a:pt x="104" y="1034"/>
                  </a:lnTo>
                  <a:lnTo>
                    <a:pt x="97" y="1028"/>
                  </a:lnTo>
                  <a:lnTo>
                    <a:pt x="97" y="1028"/>
                  </a:lnTo>
                  <a:lnTo>
                    <a:pt x="60" y="1014"/>
                  </a:lnTo>
                  <a:lnTo>
                    <a:pt x="44" y="1007"/>
                  </a:lnTo>
                  <a:lnTo>
                    <a:pt x="38" y="1004"/>
                  </a:lnTo>
                  <a:lnTo>
                    <a:pt x="33" y="1000"/>
                  </a:lnTo>
                  <a:lnTo>
                    <a:pt x="33" y="1000"/>
                  </a:lnTo>
                  <a:lnTo>
                    <a:pt x="28" y="990"/>
                  </a:lnTo>
                  <a:lnTo>
                    <a:pt x="26" y="982"/>
                  </a:lnTo>
                  <a:lnTo>
                    <a:pt x="26" y="975"/>
                  </a:lnTo>
                  <a:lnTo>
                    <a:pt x="28" y="968"/>
                  </a:lnTo>
                  <a:lnTo>
                    <a:pt x="33" y="963"/>
                  </a:lnTo>
                  <a:lnTo>
                    <a:pt x="44" y="958"/>
                  </a:lnTo>
                  <a:lnTo>
                    <a:pt x="58" y="953"/>
                  </a:lnTo>
                  <a:lnTo>
                    <a:pt x="58" y="953"/>
                  </a:lnTo>
                  <a:lnTo>
                    <a:pt x="74" y="947"/>
                  </a:lnTo>
                  <a:lnTo>
                    <a:pt x="86" y="940"/>
                  </a:lnTo>
                  <a:lnTo>
                    <a:pt x="98" y="931"/>
                  </a:lnTo>
                  <a:lnTo>
                    <a:pt x="107" y="923"/>
                  </a:lnTo>
                  <a:lnTo>
                    <a:pt x="112" y="910"/>
                  </a:lnTo>
                  <a:lnTo>
                    <a:pt x="116" y="900"/>
                  </a:lnTo>
                  <a:lnTo>
                    <a:pt x="116" y="889"/>
                  </a:lnTo>
                  <a:lnTo>
                    <a:pt x="114" y="879"/>
                  </a:lnTo>
                  <a:lnTo>
                    <a:pt x="114" y="879"/>
                  </a:lnTo>
                  <a:lnTo>
                    <a:pt x="105" y="859"/>
                  </a:lnTo>
                  <a:lnTo>
                    <a:pt x="98" y="842"/>
                  </a:lnTo>
                  <a:lnTo>
                    <a:pt x="95" y="827"/>
                  </a:lnTo>
                  <a:lnTo>
                    <a:pt x="97" y="824"/>
                  </a:lnTo>
                  <a:lnTo>
                    <a:pt x="97" y="820"/>
                  </a:lnTo>
                  <a:lnTo>
                    <a:pt x="97" y="820"/>
                  </a:lnTo>
                  <a:lnTo>
                    <a:pt x="104" y="812"/>
                  </a:lnTo>
                  <a:lnTo>
                    <a:pt x="109" y="801"/>
                  </a:lnTo>
                  <a:lnTo>
                    <a:pt x="111" y="794"/>
                  </a:lnTo>
                  <a:lnTo>
                    <a:pt x="111" y="789"/>
                  </a:lnTo>
                  <a:lnTo>
                    <a:pt x="107" y="783"/>
                  </a:lnTo>
                  <a:lnTo>
                    <a:pt x="100" y="778"/>
                  </a:lnTo>
                  <a:lnTo>
                    <a:pt x="100" y="778"/>
                  </a:lnTo>
                  <a:lnTo>
                    <a:pt x="84" y="768"/>
                  </a:lnTo>
                  <a:lnTo>
                    <a:pt x="70" y="755"/>
                  </a:lnTo>
                  <a:lnTo>
                    <a:pt x="58" y="741"/>
                  </a:lnTo>
                  <a:lnTo>
                    <a:pt x="47" y="724"/>
                  </a:lnTo>
                  <a:lnTo>
                    <a:pt x="47" y="724"/>
                  </a:lnTo>
                  <a:lnTo>
                    <a:pt x="0" y="625"/>
                  </a:lnTo>
                  <a:lnTo>
                    <a:pt x="0" y="625"/>
                  </a:lnTo>
                  <a:lnTo>
                    <a:pt x="7" y="597"/>
                  </a:lnTo>
                  <a:lnTo>
                    <a:pt x="16" y="576"/>
                  </a:lnTo>
                  <a:lnTo>
                    <a:pt x="19" y="567"/>
                  </a:lnTo>
                  <a:lnTo>
                    <a:pt x="24" y="560"/>
                  </a:lnTo>
                  <a:lnTo>
                    <a:pt x="24" y="560"/>
                  </a:lnTo>
                  <a:lnTo>
                    <a:pt x="45" y="535"/>
                  </a:lnTo>
                  <a:lnTo>
                    <a:pt x="60" y="521"/>
                  </a:lnTo>
                  <a:lnTo>
                    <a:pt x="75" y="507"/>
                  </a:lnTo>
                  <a:lnTo>
                    <a:pt x="75" y="507"/>
                  </a:lnTo>
                  <a:lnTo>
                    <a:pt x="84" y="500"/>
                  </a:lnTo>
                  <a:lnTo>
                    <a:pt x="93" y="491"/>
                  </a:lnTo>
                  <a:lnTo>
                    <a:pt x="109" y="470"/>
                  </a:lnTo>
                  <a:lnTo>
                    <a:pt x="121" y="449"/>
                  </a:lnTo>
                  <a:lnTo>
                    <a:pt x="130" y="433"/>
                  </a:lnTo>
                  <a:lnTo>
                    <a:pt x="130" y="433"/>
                  </a:lnTo>
                  <a:lnTo>
                    <a:pt x="132" y="424"/>
                  </a:lnTo>
                  <a:lnTo>
                    <a:pt x="132" y="412"/>
                  </a:lnTo>
                  <a:lnTo>
                    <a:pt x="132" y="380"/>
                  </a:lnTo>
                  <a:lnTo>
                    <a:pt x="128" y="338"/>
                  </a:lnTo>
                  <a:lnTo>
                    <a:pt x="128" y="338"/>
                  </a:lnTo>
                  <a:lnTo>
                    <a:pt x="132" y="308"/>
                  </a:lnTo>
                  <a:lnTo>
                    <a:pt x="135" y="287"/>
                  </a:lnTo>
                  <a:lnTo>
                    <a:pt x="139" y="274"/>
                  </a:lnTo>
                  <a:lnTo>
                    <a:pt x="139" y="274"/>
                  </a:lnTo>
                  <a:lnTo>
                    <a:pt x="141" y="260"/>
                  </a:lnTo>
                  <a:lnTo>
                    <a:pt x="142" y="236"/>
                  </a:lnTo>
                  <a:lnTo>
                    <a:pt x="141" y="222"/>
                  </a:lnTo>
                  <a:lnTo>
                    <a:pt x="139" y="207"/>
                  </a:lnTo>
                  <a:lnTo>
                    <a:pt x="135" y="195"/>
                  </a:lnTo>
                  <a:lnTo>
                    <a:pt x="130" y="183"/>
                  </a:lnTo>
                  <a:lnTo>
                    <a:pt x="130" y="183"/>
                  </a:lnTo>
                  <a:lnTo>
                    <a:pt x="118" y="167"/>
                  </a:lnTo>
                  <a:lnTo>
                    <a:pt x="109" y="155"/>
                  </a:lnTo>
                  <a:lnTo>
                    <a:pt x="104" y="144"/>
                  </a:lnTo>
                  <a:lnTo>
                    <a:pt x="100" y="134"/>
                  </a:lnTo>
                  <a:lnTo>
                    <a:pt x="100" y="134"/>
                  </a:lnTo>
                  <a:lnTo>
                    <a:pt x="102" y="119"/>
                  </a:lnTo>
                  <a:lnTo>
                    <a:pt x="102" y="91"/>
                  </a:lnTo>
                  <a:lnTo>
                    <a:pt x="102" y="74"/>
                  </a:lnTo>
                  <a:lnTo>
                    <a:pt x="100" y="60"/>
                  </a:lnTo>
                  <a:lnTo>
                    <a:pt x="95" y="45"/>
                  </a:lnTo>
                  <a:lnTo>
                    <a:pt x="91" y="42"/>
                  </a:lnTo>
                  <a:lnTo>
                    <a:pt x="88" y="37"/>
                  </a:lnTo>
                  <a:lnTo>
                    <a:pt x="88" y="37"/>
                  </a:lnTo>
                  <a:lnTo>
                    <a:pt x="109" y="21"/>
                  </a:lnTo>
                  <a:lnTo>
                    <a:pt x="126" y="8"/>
                  </a:lnTo>
                  <a:lnTo>
                    <a:pt x="134" y="3"/>
                  </a:lnTo>
                  <a:lnTo>
                    <a:pt x="139" y="1"/>
                  </a:lnTo>
                  <a:lnTo>
                    <a:pt x="139" y="1"/>
                  </a:lnTo>
                  <a:lnTo>
                    <a:pt x="148" y="0"/>
                  </a:lnTo>
                  <a:lnTo>
                    <a:pt x="156" y="0"/>
                  </a:lnTo>
                  <a:lnTo>
                    <a:pt x="169" y="1"/>
                  </a:lnTo>
                  <a:lnTo>
                    <a:pt x="181" y="7"/>
                  </a:lnTo>
                  <a:lnTo>
                    <a:pt x="181" y="7"/>
                  </a:lnTo>
                  <a:lnTo>
                    <a:pt x="264" y="47"/>
                  </a:lnTo>
                  <a:lnTo>
                    <a:pt x="431" y="128"/>
                  </a:lnTo>
                  <a:lnTo>
                    <a:pt x="600" y="209"/>
                  </a:lnTo>
                  <a:lnTo>
                    <a:pt x="660" y="236"/>
                  </a:lnTo>
                  <a:lnTo>
                    <a:pt x="679" y="243"/>
                  </a:lnTo>
                  <a:lnTo>
                    <a:pt x="690" y="246"/>
                  </a:lnTo>
                  <a:lnTo>
                    <a:pt x="690" y="24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1" name="Freeform 25">
              <a:extLst>
                <a:ext uri="{FF2B5EF4-FFF2-40B4-BE49-F238E27FC236}">
                  <a16:creationId xmlns:a16="http://schemas.microsoft.com/office/drawing/2014/main" id="{D149B879-7D9F-4D79-A6E6-345D043D5AE1}"/>
                </a:ext>
              </a:extLst>
            </p:cNvPr>
            <p:cNvSpPr>
              <a:spLocks/>
            </p:cNvSpPr>
            <p:nvPr/>
          </p:nvSpPr>
          <p:spPr bwMode="auto">
            <a:xfrm>
              <a:off x="3741416" y="3208808"/>
              <a:ext cx="710254" cy="587120"/>
            </a:xfrm>
            <a:custGeom>
              <a:avLst/>
              <a:gdLst/>
              <a:ahLst/>
              <a:cxnLst>
                <a:cxn ang="0">
                  <a:pos x="423" y="604"/>
                </a:cxn>
                <a:cxn ang="0">
                  <a:pos x="442" y="555"/>
                </a:cxn>
                <a:cxn ang="0">
                  <a:pos x="458" y="509"/>
                </a:cxn>
                <a:cxn ang="0">
                  <a:pos x="499" y="477"/>
                </a:cxn>
                <a:cxn ang="0">
                  <a:pos x="532" y="479"/>
                </a:cxn>
                <a:cxn ang="0">
                  <a:pos x="588" y="497"/>
                </a:cxn>
                <a:cxn ang="0">
                  <a:pos x="613" y="484"/>
                </a:cxn>
                <a:cxn ang="0">
                  <a:pos x="675" y="373"/>
                </a:cxn>
                <a:cxn ang="0">
                  <a:pos x="712" y="294"/>
                </a:cxn>
                <a:cxn ang="0">
                  <a:pos x="724" y="266"/>
                </a:cxn>
                <a:cxn ang="0">
                  <a:pos x="754" y="217"/>
                </a:cxn>
                <a:cxn ang="0">
                  <a:pos x="747" y="195"/>
                </a:cxn>
                <a:cxn ang="0">
                  <a:pos x="752" y="183"/>
                </a:cxn>
                <a:cxn ang="0">
                  <a:pos x="791" y="139"/>
                </a:cxn>
                <a:cxn ang="0">
                  <a:pos x="796" y="114"/>
                </a:cxn>
                <a:cxn ang="0">
                  <a:pos x="777" y="69"/>
                </a:cxn>
                <a:cxn ang="0">
                  <a:pos x="710" y="5"/>
                </a:cxn>
                <a:cxn ang="0">
                  <a:pos x="691" y="16"/>
                </a:cxn>
                <a:cxn ang="0">
                  <a:pos x="655" y="32"/>
                </a:cxn>
                <a:cxn ang="0">
                  <a:pos x="604" y="35"/>
                </a:cxn>
                <a:cxn ang="0">
                  <a:pos x="571" y="26"/>
                </a:cxn>
                <a:cxn ang="0">
                  <a:pos x="527" y="26"/>
                </a:cxn>
                <a:cxn ang="0">
                  <a:pos x="497" y="55"/>
                </a:cxn>
                <a:cxn ang="0">
                  <a:pos x="484" y="72"/>
                </a:cxn>
                <a:cxn ang="0">
                  <a:pos x="455" y="72"/>
                </a:cxn>
                <a:cxn ang="0">
                  <a:pos x="370" y="37"/>
                </a:cxn>
                <a:cxn ang="0">
                  <a:pos x="319" y="25"/>
                </a:cxn>
                <a:cxn ang="0">
                  <a:pos x="256" y="30"/>
                </a:cxn>
                <a:cxn ang="0">
                  <a:pos x="215" y="3"/>
                </a:cxn>
                <a:cxn ang="0">
                  <a:pos x="162" y="2"/>
                </a:cxn>
                <a:cxn ang="0">
                  <a:pos x="132" y="23"/>
                </a:cxn>
                <a:cxn ang="0">
                  <a:pos x="81" y="77"/>
                </a:cxn>
                <a:cxn ang="0">
                  <a:pos x="69" y="171"/>
                </a:cxn>
                <a:cxn ang="0">
                  <a:pos x="79" y="192"/>
                </a:cxn>
                <a:cxn ang="0">
                  <a:pos x="57" y="261"/>
                </a:cxn>
                <a:cxn ang="0">
                  <a:pos x="30" y="320"/>
                </a:cxn>
                <a:cxn ang="0">
                  <a:pos x="16" y="357"/>
                </a:cxn>
                <a:cxn ang="0">
                  <a:pos x="0" y="465"/>
                </a:cxn>
                <a:cxn ang="0">
                  <a:pos x="2" y="523"/>
                </a:cxn>
                <a:cxn ang="0">
                  <a:pos x="65" y="516"/>
                </a:cxn>
                <a:cxn ang="0">
                  <a:pos x="113" y="523"/>
                </a:cxn>
                <a:cxn ang="0">
                  <a:pos x="138" y="539"/>
                </a:cxn>
                <a:cxn ang="0">
                  <a:pos x="164" y="562"/>
                </a:cxn>
                <a:cxn ang="0">
                  <a:pos x="171" y="588"/>
                </a:cxn>
                <a:cxn ang="0">
                  <a:pos x="180" y="595"/>
                </a:cxn>
                <a:cxn ang="0">
                  <a:pos x="204" y="597"/>
                </a:cxn>
                <a:cxn ang="0">
                  <a:pos x="212" y="629"/>
                </a:cxn>
                <a:cxn ang="0">
                  <a:pos x="233" y="646"/>
                </a:cxn>
                <a:cxn ang="0">
                  <a:pos x="287" y="659"/>
                </a:cxn>
                <a:cxn ang="0">
                  <a:pos x="301" y="657"/>
                </a:cxn>
                <a:cxn ang="0">
                  <a:pos x="301" y="646"/>
                </a:cxn>
                <a:cxn ang="0">
                  <a:pos x="319" y="650"/>
                </a:cxn>
                <a:cxn ang="0">
                  <a:pos x="372" y="645"/>
                </a:cxn>
                <a:cxn ang="0">
                  <a:pos x="395" y="641"/>
                </a:cxn>
              </a:cxnLst>
              <a:rect l="0" t="0" r="r" b="b"/>
              <a:pathLst>
                <a:path w="796" h="659">
                  <a:moveTo>
                    <a:pt x="405" y="632"/>
                  </a:moveTo>
                  <a:lnTo>
                    <a:pt x="405" y="632"/>
                  </a:lnTo>
                  <a:lnTo>
                    <a:pt x="423" y="604"/>
                  </a:lnTo>
                  <a:lnTo>
                    <a:pt x="423" y="604"/>
                  </a:lnTo>
                  <a:lnTo>
                    <a:pt x="430" y="593"/>
                  </a:lnTo>
                  <a:lnTo>
                    <a:pt x="435" y="585"/>
                  </a:lnTo>
                  <a:lnTo>
                    <a:pt x="439" y="569"/>
                  </a:lnTo>
                  <a:lnTo>
                    <a:pt x="442" y="555"/>
                  </a:lnTo>
                  <a:lnTo>
                    <a:pt x="444" y="539"/>
                  </a:lnTo>
                  <a:lnTo>
                    <a:pt x="444" y="539"/>
                  </a:lnTo>
                  <a:lnTo>
                    <a:pt x="451" y="520"/>
                  </a:lnTo>
                  <a:lnTo>
                    <a:pt x="458" y="509"/>
                  </a:lnTo>
                  <a:lnTo>
                    <a:pt x="465" y="498"/>
                  </a:lnTo>
                  <a:lnTo>
                    <a:pt x="474" y="490"/>
                  </a:lnTo>
                  <a:lnTo>
                    <a:pt x="486" y="483"/>
                  </a:lnTo>
                  <a:lnTo>
                    <a:pt x="499" y="477"/>
                  </a:lnTo>
                  <a:lnTo>
                    <a:pt x="507" y="477"/>
                  </a:lnTo>
                  <a:lnTo>
                    <a:pt x="514" y="477"/>
                  </a:lnTo>
                  <a:lnTo>
                    <a:pt x="514" y="477"/>
                  </a:lnTo>
                  <a:lnTo>
                    <a:pt x="532" y="479"/>
                  </a:lnTo>
                  <a:lnTo>
                    <a:pt x="548" y="484"/>
                  </a:lnTo>
                  <a:lnTo>
                    <a:pt x="562" y="490"/>
                  </a:lnTo>
                  <a:lnTo>
                    <a:pt x="576" y="495"/>
                  </a:lnTo>
                  <a:lnTo>
                    <a:pt x="588" y="497"/>
                  </a:lnTo>
                  <a:lnTo>
                    <a:pt x="595" y="495"/>
                  </a:lnTo>
                  <a:lnTo>
                    <a:pt x="601" y="493"/>
                  </a:lnTo>
                  <a:lnTo>
                    <a:pt x="606" y="490"/>
                  </a:lnTo>
                  <a:lnTo>
                    <a:pt x="613" y="484"/>
                  </a:lnTo>
                  <a:lnTo>
                    <a:pt x="618" y="477"/>
                  </a:lnTo>
                  <a:lnTo>
                    <a:pt x="624" y="468"/>
                  </a:lnTo>
                  <a:lnTo>
                    <a:pt x="624" y="468"/>
                  </a:lnTo>
                  <a:lnTo>
                    <a:pt x="675" y="373"/>
                  </a:lnTo>
                  <a:lnTo>
                    <a:pt x="696" y="333"/>
                  </a:lnTo>
                  <a:lnTo>
                    <a:pt x="708" y="306"/>
                  </a:lnTo>
                  <a:lnTo>
                    <a:pt x="708" y="306"/>
                  </a:lnTo>
                  <a:lnTo>
                    <a:pt x="712" y="294"/>
                  </a:lnTo>
                  <a:lnTo>
                    <a:pt x="713" y="283"/>
                  </a:lnTo>
                  <a:lnTo>
                    <a:pt x="717" y="275"/>
                  </a:lnTo>
                  <a:lnTo>
                    <a:pt x="724" y="266"/>
                  </a:lnTo>
                  <a:lnTo>
                    <a:pt x="724" y="266"/>
                  </a:lnTo>
                  <a:lnTo>
                    <a:pt x="735" y="254"/>
                  </a:lnTo>
                  <a:lnTo>
                    <a:pt x="745" y="239"/>
                  </a:lnTo>
                  <a:lnTo>
                    <a:pt x="752" y="224"/>
                  </a:lnTo>
                  <a:lnTo>
                    <a:pt x="754" y="217"/>
                  </a:lnTo>
                  <a:lnTo>
                    <a:pt x="754" y="211"/>
                  </a:lnTo>
                  <a:lnTo>
                    <a:pt x="754" y="211"/>
                  </a:lnTo>
                  <a:lnTo>
                    <a:pt x="750" y="202"/>
                  </a:lnTo>
                  <a:lnTo>
                    <a:pt x="747" y="195"/>
                  </a:lnTo>
                  <a:lnTo>
                    <a:pt x="745" y="194"/>
                  </a:lnTo>
                  <a:lnTo>
                    <a:pt x="745" y="190"/>
                  </a:lnTo>
                  <a:lnTo>
                    <a:pt x="749" y="187"/>
                  </a:lnTo>
                  <a:lnTo>
                    <a:pt x="752" y="183"/>
                  </a:lnTo>
                  <a:lnTo>
                    <a:pt x="752" y="183"/>
                  </a:lnTo>
                  <a:lnTo>
                    <a:pt x="764" y="171"/>
                  </a:lnTo>
                  <a:lnTo>
                    <a:pt x="779" y="155"/>
                  </a:lnTo>
                  <a:lnTo>
                    <a:pt x="791" y="139"/>
                  </a:lnTo>
                  <a:lnTo>
                    <a:pt x="794" y="132"/>
                  </a:lnTo>
                  <a:lnTo>
                    <a:pt x="796" y="127"/>
                  </a:lnTo>
                  <a:lnTo>
                    <a:pt x="796" y="127"/>
                  </a:lnTo>
                  <a:lnTo>
                    <a:pt x="796" y="114"/>
                  </a:lnTo>
                  <a:lnTo>
                    <a:pt x="794" y="102"/>
                  </a:lnTo>
                  <a:lnTo>
                    <a:pt x="789" y="83"/>
                  </a:lnTo>
                  <a:lnTo>
                    <a:pt x="789" y="83"/>
                  </a:lnTo>
                  <a:lnTo>
                    <a:pt x="777" y="69"/>
                  </a:lnTo>
                  <a:lnTo>
                    <a:pt x="750" y="39"/>
                  </a:lnTo>
                  <a:lnTo>
                    <a:pt x="736" y="25"/>
                  </a:lnTo>
                  <a:lnTo>
                    <a:pt x="722" y="14"/>
                  </a:lnTo>
                  <a:lnTo>
                    <a:pt x="710" y="5"/>
                  </a:lnTo>
                  <a:lnTo>
                    <a:pt x="706" y="3"/>
                  </a:lnTo>
                  <a:lnTo>
                    <a:pt x="703" y="5"/>
                  </a:lnTo>
                  <a:lnTo>
                    <a:pt x="703" y="5"/>
                  </a:lnTo>
                  <a:lnTo>
                    <a:pt x="691" y="16"/>
                  </a:lnTo>
                  <a:lnTo>
                    <a:pt x="678" y="23"/>
                  </a:lnTo>
                  <a:lnTo>
                    <a:pt x="668" y="28"/>
                  </a:lnTo>
                  <a:lnTo>
                    <a:pt x="668" y="28"/>
                  </a:lnTo>
                  <a:lnTo>
                    <a:pt x="655" y="32"/>
                  </a:lnTo>
                  <a:lnTo>
                    <a:pt x="636" y="35"/>
                  </a:lnTo>
                  <a:lnTo>
                    <a:pt x="627" y="37"/>
                  </a:lnTo>
                  <a:lnTo>
                    <a:pt x="615" y="35"/>
                  </a:lnTo>
                  <a:lnTo>
                    <a:pt x="604" y="35"/>
                  </a:lnTo>
                  <a:lnTo>
                    <a:pt x="592" y="32"/>
                  </a:lnTo>
                  <a:lnTo>
                    <a:pt x="592" y="32"/>
                  </a:lnTo>
                  <a:lnTo>
                    <a:pt x="581" y="28"/>
                  </a:lnTo>
                  <a:lnTo>
                    <a:pt x="571" y="26"/>
                  </a:lnTo>
                  <a:lnTo>
                    <a:pt x="550" y="25"/>
                  </a:lnTo>
                  <a:lnTo>
                    <a:pt x="530" y="25"/>
                  </a:lnTo>
                  <a:lnTo>
                    <a:pt x="530" y="25"/>
                  </a:lnTo>
                  <a:lnTo>
                    <a:pt x="527" y="26"/>
                  </a:lnTo>
                  <a:lnTo>
                    <a:pt x="516" y="32"/>
                  </a:lnTo>
                  <a:lnTo>
                    <a:pt x="509" y="37"/>
                  </a:lnTo>
                  <a:lnTo>
                    <a:pt x="504" y="46"/>
                  </a:lnTo>
                  <a:lnTo>
                    <a:pt x="497" y="55"/>
                  </a:lnTo>
                  <a:lnTo>
                    <a:pt x="490" y="69"/>
                  </a:lnTo>
                  <a:lnTo>
                    <a:pt x="490" y="69"/>
                  </a:lnTo>
                  <a:lnTo>
                    <a:pt x="488" y="70"/>
                  </a:lnTo>
                  <a:lnTo>
                    <a:pt x="484" y="72"/>
                  </a:lnTo>
                  <a:lnTo>
                    <a:pt x="481" y="74"/>
                  </a:lnTo>
                  <a:lnTo>
                    <a:pt x="474" y="76"/>
                  </a:lnTo>
                  <a:lnTo>
                    <a:pt x="465" y="76"/>
                  </a:lnTo>
                  <a:lnTo>
                    <a:pt x="455" y="72"/>
                  </a:lnTo>
                  <a:lnTo>
                    <a:pt x="439" y="65"/>
                  </a:lnTo>
                  <a:lnTo>
                    <a:pt x="439" y="65"/>
                  </a:lnTo>
                  <a:lnTo>
                    <a:pt x="403" y="51"/>
                  </a:lnTo>
                  <a:lnTo>
                    <a:pt x="370" y="37"/>
                  </a:lnTo>
                  <a:lnTo>
                    <a:pt x="340" y="28"/>
                  </a:lnTo>
                  <a:lnTo>
                    <a:pt x="328" y="25"/>
                  </a:lnTo>
                  <a:lnTo>
                    <a:pt x="319" y="25"/>
                  </a:lnTo>
                  <a:lnTo>
                    <a:pt x="319" y="25"/>
                  </a:lnTo>
                  <a:lnTo>
                    <a:pt x="285" y="28"/>
                  </a:lnTo>
                  <a:lnTo>
                    <a:pt x="261" y="30"/>
                  </a:lnTo>
                  <a:lnTo>
                    <a:pt x="261" y="30"/>
                  </a:lnTo>
                  <a:lnTo>
                    <a:pt x="256" y="30"/>
                  </a:lnTo>
                  <a:lnTo>
                    <a:pt x="250" y="26"/>
                  </a:lnTo>
                  <a:lnTo>
                    <a:pt x="238" y="19"/>
                  </a:lnTo>
                  <a:lnTo>
                    <a:pt x="215" y="3"/>
                  </a:lnTo>
                  <a:lnTo>
                    <a:pt x="215" y="3"/>
                  </a:lnTo>
                  <a:lnTo>
                    <a:pt x="204" y="0"/>
                  </a:lnTo>
                  <a:lnTo>
                    <a:pt x="187" y="0"/>
                  </a:lnTo>
                  <a:lnTo>
                    <a:pt x="169" y="0"/>
                  </a:lnTo>
                  <a:lnTo>
                    <a:pt x="162" y="2"/>
                  </a:lnTo>
                  <a:lnTo>
                    <a:pt x="155" y="5"/>
                  </a:lnTo>
                  <a:lnTo>
                    <a:pt x="155" y="5"/>
                  </a:lnTo>
                  <a:lnTo>
                    <a:pt x="145" y="12"/>
                  </a:lnTo>
                  <a:lnTo>
                    <a:pt x="132" y="23"/>
                  </a:lnTo>
                  <a:lnTo>
                    <a:pt x="113" y="42"/>
                  </a:lnTo>
                  <a:lnTo>
                    <a:pt x="113" y="42"/>
                  </a:lnTo>
                  <a:lnTo>
                    <a:pt x="101" y="55"/>
                  </a:lnTo>
                  <a:lnTo>
                    <a:pt x="81" y="77"/>
                  </a:lnTo>
                  <a:lnTo>
                    <a:pt x="64" y="102"/>
                  </a:lnTo>
                  <a:lnTo>
                    <a:pt x="58" y="113"/>
                  </a:lnTo>
                  <a:lnTo>
                    <a:pt x="55" y="121"/>
                  </a:lnTo>
                  <a:lnTo>
                    <a:pt x="69" y="171"/>
                  </a:lnTo>
                  <a:lnTo>
                    <a:pt x="69" y="171"/>
                  </a:lnTo>
                  <a:lnTo>
                    <a:pt x="74" y="178"/>
                  </a:lnTo>
                  <a:lnTo>
                    <a:pt x="78" y="185"/>
                  </a:lnTo>
                  <a:lnTo>
                    <a:pt x="79" y="192"/>
                  </a:lnTo>
                  <a:lnTo>
                    <a:pt x="79" y="192"/>
                  </a:lnTo>
                  <a:lnTo>
                    <a:pt x="78" y="204"/>
                  </a:lnTo>
                  <a:lnTo>
                    <a:pt x="71" y="227"/>
                  </a:lnTo>
                  <a:lnTo>
                    <a:pt x="57" y="261"/>
                  </a:lnTo>
                  <a:lnTo>
                    <a:pt x="48" y="280"/>
                  </a:lnTo>
                  <a:lnTo>
                    <a:pt x="35" y="299"/>
                  </a:lnTo>
                  <a:lnTo>
                    <a:pt x="35" y="299"/>
                  </a:lnTo>
                  <a:lnTo>
                    <a:pt x="30" y="320"/>
                  </a:lnTo>
                  <a:lnTo>
                    <a:pt x="25" y="336"/>
                  </a:lnTo>
                  <a:lnTo>
                    <a:pt x="21" y="347"/>
                  </a:lnTo>
                  <a:lnTo>
                    <a:pt x="21" y="347"/>
                  </a:lnTo>
                  <a:lnTo>
                    <a:pt x="16" y="357"/>
                  </a:lnTo>
                  <a:lnTo>
                    <a:pt x="11" y="375"/>
                  </a:lnTo>
                  <a:lnTo>
                    <a:pt x="5" y="403"/>
                  </a:lnTo>
                  <a:lnTo>
                    <a:pt x="5" y="403"/>
                  </a:lnTo>
                  <a:lnTo>
                    <a:pt x="0" y="465"/>
                  </a:lnTo>
                  <a:lnTo>
                    <a:pt x="0" y="504"/>
                  </a:lnTo>
                  <a:lnTo>
                    <a:pt x="0" y="518"/>
                  </a:lnTo>
                  <a:lnTo>
                    <a:pt x="2" y="523"/>
                  </a:lnTo>
                  <a:lnTo>
                    <a:pt x="2" y="523"/>
                  </a:lnTo>
                  <a:lnTo>
                    <a:pt x="9" y="521"/>
                  </a:lnTo>
                  <a:lnTo>
                    <a:pt x="28" y="518"/>
                  </a:lnTo>
                  <a:lnTo>
                    <a:pt x="53" y="516"/>
                  </a:lnTo>
                  <a:lnTo>
                    <a:pt x="65" y="516"/>
                  </a:lnTo>
                  <a:lnTo>
                    <a:pt x="78" y="516"/>
                  </a:lnTo>
                  <a:lnTo>
                    <a:pt x="78" y="516"/>
                  </a:lnTo>
                  <a:lnTo>
                    <a:pt x="97" y="520"/>
                  </a:lnTo>
                  <a:lnTo>
                    <a:pt x="113" y="523"/>
                  </a:lnTo>
                  <a:lnTo>
                    <a:pt x="120" y="525"/>
                  </a:lnTo>
                  <a:lnTo>
                    <a:pt x="127" y="528"/>
                  </a:lnTo>
                  <a:lnTo>
                    <a:pt x="132" y="534"/>
                  </a:lnTo>
                  <a:lnTo>
                    <a:pt x="138" y="539"/>
                  </a:lnTo>
                  <a:lnTo>
                    <a:pt x="138" y="539"/>
                  </a:lnTo>
                  <a:lnTo>
                    <a:pt x="148" y="549"/>
                  </a:lnTo>
                  <a:lnTo>
                    <a:pt x="157" y="555"/>
                  </a:lnTo>
                  <a:lnTo>
                    <a:pt x="164" y="562"/>
                  </a:lnTo>
                  <a:lnTo>
                    <a:pt x="166" y="565"/>
                  </a:lnTo>
                  <a:lnTo>
                    <a:pt x="167" y="569"/>
                  </a:lnTo>
                  <a:lnTo>
                    <a:pt x="167" y="569"/>
                  </a:lnTo>
                  <a:lnTo>
                    <a:pt x="171" y="588"/>
                  </a:lnTo>
                  <a:lnTo>
                    <a:pt x="175" y="593"/>
                  </a:lnTo>
                  <a:lnTo>
                    <a:pt x="176" y="595"/>
                  </a:lnTo>
                  <a:lnTo>
                    <a:pt x="180" y="595"/>
                  </a:lnTo>
                  <a:lnTo>
                    <a:pt x="180" y="595"/>
                  </a:lnTo>
                  <a:lnTo>
                    <a:pt x="196" y="593"/>
                  </a:lnTo>
                  <a:lnTo>
                    <a:pt x="201" y="593"/>
                  </a:lnTo>
                  <a:lnTo>
                    <a:pt x="204" y="595"/>
                  </a:lnTo>
                  <a:lnTo>
                    <a:pt x="204" y="597"/>
                  </a:lnTo>
                  <a:lnTo>
                    <a:pt x="204" y="597"/>
                  </a:lnTo>
                  <a:lnTo>
                    <a:pt x="208" y="616"/>
                  </a:lnTo>
                  <a:lnTo>
                    <a:pt x="210" y="625"/>
                  </a:lnTo>
                  <a:lnTo>
                    <a:pt x="212" y="629"/>
                  </a:lnTo>
                  <a:lnTo>
                    <a:pt x="215" y="632"/>
                  </a:lnTo>
                  <a:lnTo>
                    <a:pt x="215" y="632"/>
                  </a:lnTo>
                  <a:lnTo>
                    <a:pt x="224" y="639"/>
                  </a:lnTo>
                  <a:lnTo>
                    <a:pt x="233" y="646"/>
                  </a:lnTo>
                  <a:lnTo>
                    <a:pt x="245" y="652"/>
                  </a:lnTo>
                  <a:lnTo>
                    <a:pt x="261" y="655"/>
                  </a:lnTo>
                  <a:lnTo>
                    <a:pt x="261" y="655"/>
                  </a:lnTo>
                  <a:lnTo>
                    <a:pt x="287" y="659"/>
                  </a:lnTo>
                  <a:lnTo>
                    <a:pt x="296" y="659"/>
                  </a:lnTo>
                  <a:lnTo>
                    <a:pt x="300" y="659"/>
                  </a:lnTo>
                  <a:lnTo>
                    <a:pt x="301" y="657"/>
                  </a:lnTo>
                  <a:lnTo>
                    <a:pt x="301" y="657"/>
                  </a:lnTo>
                  <a:lnTo>
                    <a:pt x="303" y="653"/>
                  </a:lnTo>
                  <a:lnTo>
                    <a:pt x="303" y="652"/>
                  </a:lnTo>
                  <a:lnTo>
                    <a:pt x="301" y="648"/>
                  </a:lnTo>
                  <a:lnTo>
                    <a:pt x="301" y="646"/>
                  </a:lnTo>
                  <a:lnTo>
                    <a:pt x="303" y="646"/>
                  </a:lnTo>
                  <a:lnTo>
                    <a:pt x="312" y="648"/>
                  </a:lnTo>
                  <a:lnTo>
                    <a:pt x="312" y="648"/>
                  </a:lnTo>
                  <a:lnTo>
                    <a:pt x="319" y="650"/>
                  </a:lnTo>
                  <a:lnTo>
                    <a:pt x="326" y="650"/>
                  </a:lnTo>
                  <a:lnTo>
                    <a:pt x="342" y="648"/>
                  </a:lnTo>
                  <a:lnTo>
                    <a:pt x="358" y="645"/>
                  </a:lnTo>
                  <a:lnTo>
                    <a:pt x="372" y="645"/>
                  </a:lnTo>
                  <a:lnTo>
                    <a:pt x="372" y="645"/>
                  </a:lnTo>
                  <a:lnTo>
                    <a:pt x="382" y="645"/>
                  </a:lnTo>
                  <a:lnTo>
                    <a:pt x="389" y="645"/>
                  </a:lnTo>
                  <a:lnTo>
                    <a:pt x="395" y="641"/>
                  </a:lnTo>
                  <a:lnTo>
                    <a:pt x="405" y="632"/>
                  </a:lnTo>
                  <a:lnTo>
                    <a:pt x="405" y="6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2" name="Freeform 26">
              <a:extLst>
                <a:ext uri="{FF2B5EF4-FFF2-40B4-BE49-F238E27FC236}">
                  <a16:creationId xmlns:a16="http://schemas.microsoft.com/office/drawing/2014/main" id="{2D890D1A-EE79-4F98-B0EF-580F9E662374}"/>
                </a:ext>
              </a:extLst>
            </p:cNvPr>
            <p:cNvSpPr>
              <a:spLocks/>
            </p:cNvSpPr>
            <p:nvPr/>
          </p:nvSpPr>
          <p:spPr bwMode="auto">
            <a:xfrm>
              <a:off x="4162571" y="3927984"/>
              <a:ext cx="132057" cy="76737"/>
            </a:xfrm>
            <a:custGeom>
              <a:avLst/>
              <a:gdLst/>
              <a:ahLst/>
              <a:cxnLst>
                <a:cxn ang="0">
                  <a:pos x="32" y="5"/>
                </a:cxn>
                <a:cxn ang="0">
                  <a:pos x="32" y="5"/>
                </a:cxn>
                <a:cxn ang="0">
                  <a:pos x="28" y="19"/>
                </a:cxn>
                <a:cxn ang="0">
                  <a:pos x="25" y="31"/>
                </a:cxn>
                <a:cxn ang="0">
                  <a:pos x="20" y="40"/>
                </a:cxn>
                <a:cxn ang="0">
                  <a:pos x="20" y="40"/>
                </a:cxn>
                <a:cxn ang="0">
                  <a:pos x="12" y="47"/>
                </a:cxn>
                <a:cxn ang="0">
                  <a:pos x="7" y="52"/>
                </a:cxn>
                <a:cxn ang="0">
                  <a:pos x="2" y="60"/>
                </a:cxn>
                <a:cxn ang="0">
                  <a:pos x="0" y="67"/>
                </a:cxn>
                <a:cxn ang="0">
                  <a:pos x="0" y="67"/>
                </a:cxn>
                <a:cxn ang="0">
                  <a:pos x="2" y="74"/>
                </a:cxn>
                <a:cxn ang="0">
                  <a:pos x="7" y="79"/>
                </a:cxn>
                <a:cxn ang="0">
                  <a:pos x="16" y="82"/>
                </a:cxn>
                <a:cxn ang="0">
                  <a:pos x="28" y="84"/>
                </a:cxn>
                <a:cxn ang="0">
                  <a:pos x="28" y="84"/>
                </a:cxn>
                <a:cxn ang="0">
                  <a:pos x="48" y="84"/>
                </a:cxn>
                <a:cxn ang="0">
                  <a:pos x="69" y="82"/>
                </a:cxn>
                <a:cxn ang="0">
                  <a:pos x="102" y="79"/>
                </a:cxn>
                <a:cxn ang="0">
                  <a:pos x="102" y="79"/>
                </a:cxn>
                <a:cxn ang="0">
                  <a:pos x="123" y="81"/>
                </a:cxn>
                <a:cxn ang="0">
                  <a:pos x="129" y="81"/>
                </a:cxn>
                <a:cxn ang="0">
                  <a:pos x="132" y="79"/>
                </a:cxn>
                <a:cxn ang="0">
                  <a:pos x="136" y="77"/>
                </a:cxn>
                <a:cxn ang="0">
                  <a:pos x="138" y="72"/>
                </a:cxn>
                <a:cxn ang="0">
                  <a:pos x="138" y="72"/>
                </a:cxn>
                <a:cxn ang="0">
                  <a:pos x="138" y="65"/>
                </a:cxn>
                <a:cxn ang="0">
                  <a:pos x="139" y="58"/>
                </a:cxn>
                <a:cxn ang="0">
                  <a:pos x="141" y="51"/>
                </a:cxn>
                <a:cxn ang="0">
                  <a:pos x="145" y="40"/>
                </a:cxn>
                <a:cxn ang="0">
                  <a:pos x="145" y="40"/>
                </a:cxn>
                <a:cxn ang="0">
                  <a:pos x="148" y="33"/>
                </a:cxn>
                <a:cxn ang="0">
                  <a:pos x="150" y="28"/>
                </a:cxn>
                <a:cxn ang="0">
                  <a:pos x="148" y="23"/>
                </a:cxn>
                <a:cxn ang="0">
                  <a:pos x="146" y="19"/>
                </a:cxn>
                <a:cxn ang="0">
                  <a:pos x="145" y="15"/>
                </a:cxn>
                <a:cxn ang="0">
                  <a:pos x="139" y="14"/>
                </a:cxn>
                <a:cxn ang="0">
                  <a:pos x="129" y="10"/>
                </a:cxn>
                <a:cxn ang="0">
                  <a:pos x="129" y="10"/>
                </a:cxn>
                <a:cxn ang="0">
                  <a:pos x="108" y="7"/>
                </a:cxn>
                <a:cxn ang="0">
                  <a:pos x="76" y="1"/>
                </a:cxn>
                <a:cxn ang="0">
                  <a:pos x="60" y="0"/>
                </a:cxn>
                <a:cxn ang="0">
                  <a:pos x="48" y="0"/>
                </a:cxn>
                <a:cxn ang="0">
                  <a:pos x="37" y="0"/>
                </a:cxn>
                <a:cxn ang="0">
                  <a:pos x="34" y="1"/>
                </a:cxn>
                <a:cxn ang="0">
                  <a:pos x="32" y="5"/>
                </a:cxn>
                <a:cxn ang="0">
                  <a:pos x="32" y="5"/>
                </a:cxn>
              </a:cxnLst>
              <a:rect l="0" t="0" r="r" b="b"/>
              <a:pathLst>
                <a:path w="150" h="84">
                  <a:moveTo>
                    <a:pt x="32" y="5"/>
                  </a:moveTo>
                  <a:lnTo>
                    <a:pt x="32" y="5"/>
                  </a:lnTo>
                  <a:lnTo>
                    <a:pt x="28" y="19"/>
                  </a:lnTo>
                  <a:lnTo>
                    <a:pt x="25" y="31"/>
                  </a:lnTo>
                  <a:lnTo>
                    <a:pt x="20" y="40"/>
                  </a:lnTo>
                  <a:lnTo>
                    <a:pt x="20" y="40"/>
                  </a:lnTo>
                  <a:lnTo>
                    <a:pt x="12" y="47"/>
                  </a:lnTo>
                  <a:lnTo>
                    <a:pt x="7" y="52"/>
                  </a:lnTo>
                  <a:lnTo>
                    <a:pt x="2" y="60"/>
                  </a:lnTo>
                  <a:lnTo>
                    <a:pt x="0" y="67"/>
                  </a:lnTo>
                  <a:lnTo>
                    <a:pt x="0" y="67"/>
                  </a:lnTo>
                  <a:lnTo>
                    <a:pt x="2" y="74"/>
                  </a:lnTo>
                  <a:lnTo>
                    <a:pt x="7" y="79"/>
                  </a:lnTo>
                  <a:lnTo>
                    <a:pt x="16" y="82"/>
                  </a:lnTo>
                  <a:lnTo>
                    <a:pt x="28" y="84"/>
                  </a:lnTo>
                  <a:lnTo>
                    <a:pt x="28" y="84"/>
                  </a:lnTo>
                  <a:lnTo>
                    <a:pt x="48" y="84"/>
                  </a:lnTo>
                  <a:lnTo>
                    <a:pt x="69" y="82"/>
                  </a:lnTo>
                  <a:lnTo>
                    <a:pt x="102" y="79"/>
                  </a:lnTo>
                  <a:lnTo>
                    <a:pt x="102" y="79"/>
                  </a:lnTo>
                  <a:lnTo>
                    <a:pt x="123" y="81"/>
                  </a:lnTo>
                  <a:lnTo>
                    <a:pt x="129" y="81"/>
                  </a:lnTo>
                  <a:lnTo>
                    <a:pt x="132" y="79"/>
                  </a:lnTo>
                  <a:lnTo>
                    <a:pt x="136" y="77"/>
                  </a:lnTo>
                  <a:lnTo>
                    <a:pt x="138" y="72"/>
                  </a:lnTo>
                  <a:lnTo>
                    <a:pt x="138" y="72"/>
                  </a:lnTo>
                  <a:lnTo>
                    <a:pt x="138" y="65"/>
                  </a:lnTo>
                  <a:lnTo>
                    <a:pt x="139" y="58"/>
                  </a:lnTo>
                  <a:lnTo>
                    <a:pt x="141" y="51"/>
                  </a:lnTo>
                  <a:lnTo>
                    <a:pt x="145" y="40"/>
                  </a:lnTo>
                  <a:lnTo>
                    <a:pt x="145" y="40"/>
                  </a:lnTo>
                  <a:lnTo>
                    <a:pt x="148" y="33"/>
                  </a:lnTo>
                  <a:lnTo>
                    <a:pt x="150" y="28"/>
                  </a:lnTo>
                  <a:lnTo>
                    <a:pt x="148" y="23"/>
                  </a:lnTo>
                  <a:lnTo>
                    <a:pt x="146" y="19"/>
                  </a:lnTo>
                  <a:lnTo>
                    <a:pt x="145" y="15"/>
                  </a:lnTo>
                  <a:lnTo>
                    <a:pt x="139" y="14"/>
                  </a:lnTo>
                  <a:lnTo>
                    <a:pt x="129" y="10"/>
                  </a:lnTo>
                  <a:lnTo>
                    <a:pt x="129" y="10"/>
                  </a:lnTo>
                  <a:lnTo>
                    <a:pt x="108" y="7"/>
                  </a:lnTo>
                  <a:lnTo>
                    <a:pt x="76" y="1"/>
                  </a:lnTo>
                  <a:lnTo>
                    <a:pt x="60" y="0"/>
                  </a:lnTo>
                  <a:lnTo>
                    <a:pt x="48" y="0"/>
                  </a:lnTo>
                  <a:lnTo>
                    <a:pt x="37" y="0"/>
                  </a:lnTo>
                  <a:lnTo>
                    <a:pt x="34" y="1"/>
                  </a:lnTo>
                  <a:lnTo>
                    <a:pt x="32" y="5"/>
                  </a:lnTo>
                  <a:lnTo>
                    <a:pt x="32"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3" name="Freeform 27">
              <a:extLst>
                <a:ext uri="{FF2B5EF4-FFF2-40B4-BE49-F238E27FC236}">
                  <a16:creationId xmlns:a16="http://schemas.microsoft.com/office/drawing/2014/main" id="{6CF2E408-1471-43E5-8D83-AEB00E45FFF6}"/>
                </a:ext>
              </a:extLst>
            </p:cNvPr>
            <p:cNvSpPr>
              <a:spLocks/>
            </p:cNvSpPr>
            <p:nvPr/>
          </p:nvSpPr>
          <p:spPr bwMode="auto">
            <a:xfrm>
              <a:off x="4101896" y="3142779"/>
              <a:ext cx="488969" cy="806620"/>
            </a:xfrm>
            <a:custGeom>
              <a:avLst/>
              <a:gdLst/>
              <a:ahLst/>
              <a:cxnLst>
                <a:cxn ang="0">
                  <a:pos x="481" y="546"/>
                </a:cxn>
                <a:cxn ang="0">
                  <a:pos x="458" y="583"/>
                </a:cxn>
                <a:cxn ang="0">
                  <a:pos x="428" y="632"/>
                </a:cxn>
                <a:cxn ang="0">
                  <a:pos x="439" y="662"/>
                </a:cxn>
                <a:cxn ang="0">
                  <a:pos x="458" y="703"/>
                </a:cxn>
                <a:cxn ang="0">
                  <a:pos x="456" y="731"/>
                </a:cxn>
                <a:cxn ang="0">
                  <a:pos x="469" y="752"/>
                </a:cxn>
                <a:cxn ang="0">
                  <a:pos x="539" y="826"/>
                </a:cxn>
                <a:cxn ang="0">
                  <a:pos x="548" y="856"/>
                </a:cxn>
                <a:cxn ang="0">
                  <a:pos x="532" y="889"/>
                </a:cxn>
                <a:cxn ang="0">
                  <a:pos x="507" y="904"/>
                </a:cxn>
                <a:cxn ang="0">
                  <a:pos x="356" y="893"/>
                </a:cxn>
                <a:cxn ang="0">
                  <a:pos x="226" y="900"/>
                </a:cxn>
                <a:cxn ang="0">
                  <a:pos x="210" y="896"/>
                </a:cxn>
                <a:cxn ang="0">
                  <a:pos x="183" y="889"/>
                </a:cxn>
                <a:cxn ang="0">
                  <a:pos x="127" y="879"/>
                </a:cxn>
                <a:cxn ang="0">
                  <a:pos x="99" y="886"/>
                </a:cxn>
                <a:cxn ang="0">
                  <a:pos x="97" y="833"/>
                </a:cxn>
                <a:cxn ang="0">
                  <a:pos x="88" y="805"/>
                </a:cxn>
                <a:cxn ang="0">
                  <a:pos x="90" y="782"/>
                </a:cxn>
                <a:cxn ang="0">
                  <a:pos x="76" y="775"/>
                </a:cxn>
                <a:cxn ang="0">
                  <a:pos x="69" y="764"/>
                </a:cxn>
                <a:cxn ang="0">
                  <a:pos x="55" y="761"/>
                </a:cxn>
                <a:cxn ang="0">
                  <a:pos x="41" y="761"/>
                </a:cxn>
                <a:cxn ang="0">
                  <a:pos x="18" y="731"/>
                </a:cxn>
                <a:cxn ang="0">
                  <a:pos x="0" y="706"/>
                </a:cxn>
                <a:cxn ang="0">
                  <a:pos x="18" y="682"/>
                </a:cxn>
                <a:cxn ang="0">
                  <a:pos x="35" y="643"/>
                </a:cxn>
                <a:cxn ang="0">
                  <a:pos x="44" y="590"/>
                </a:cxn>
                <a:cxn ang="0">
                  <a:pos x="71" y="564"/>
                </a:cxn>
                <a:cxn ang="0">
                  <a:pos x="106" y="548"/>
                </a:cxn>
                <a:cxn ang="0">
                  <a:pos x="152" y="560"/>
                </a:cxn>
                <a:cxn ang="0">
                  <a:pos x="178" y="569"/>
                </a:cxn>
                <a:cxn ang="0">
                  <a:pos x="208" y="555"/>
                </a:cxn>
                <a:cxn ang="0">
                  <a:pos x="293" y="405"/>
                </a:cxn>
                <a:cxn ang="0">
                  <a:pos x="308" y="359"/>
                </a:cxn>
                <a:cxn ang="0">
                  <a:pos x="324" y="333"/>
                </a:cxn>
                <a:cxn ang="0">
                  <a:pos x="345" y="303"/>
                </a:cxn>
                <a:cxn ang="0">
                  <a:pos x="342" y="269"/>
                </a:cxn>
                <a:cxn ang="0">
                  <a:pos x="356" y="248"/>
                </a:cxn>
                <a:cxn ang="0">
                  <a:pos x="388" y="210"/>
                </a:cxn>
                <a:cxn ang="0">
                  <a:pos x="393" y="178"/>
                </a:cxn>
                <a:cxn ang="0">
                  <a:pos x="386" y="153"/>
                </a:cxn>
                <a:cxn ang="0">
                  <a:pos x="298" y="79"/>
                </a:cxn>
                <a:cxn ang="0">
                  <a:pos x="347" y="7"/>
                </a:cxn>
                <a:cxn ang="0">
                  <a:pos x="389" y="86"/>
                </a:cxn>
                <a:cxn ang="0">
                  <a:pos x="423" y="132"/>
                </a:cxn>
                <a:cxn ang="0">
                  <a:pos x="458" y="157"/>
                </a:cxn>
                <a:cxn ang="0">
                  <a:pos x="463" y="173"/>
                </a:cxn>
                <a:cxn ang="0">
                  <a:pos x="451" y="192"/>
                </a:cxn>
                <a:cxn ang="0">
                  <a:pos x="448" y="217"/>
                </a:cxn>
                <a:cxn ang="0">
                  <a:pos x="465" y="255"/>
                </a:cxn>
                <a:cxn ang="0">
                  <a:pos x="467" y="276"/>
                </a:cxn>
                <a:cxn ang="0">
                  <a:pos x="440" y="313"/>
                </a:cxn>
                <a:cxn ang="0">
                  <a:pos x="389" y="336"/>
                </a:cxn>
                <a:cxn ang="0">
                  <a:pos x="377" y="352"/>
                </a:cxn>
                <a:cxn ang="0">
                  <a:pos x="388" y="379"/>
                </a:cxn>
                <a:cxn ang="0">
                  <a:pos x="432" y="398"/>
                </a:cxn>
                <a:cxn ang="0">
                  <a:pos x="467" y="421"/>
                </a:cxn>
                <a:cxn ang="0">
                  <a:pos x="490" y="477"/>
                </a:cxn>
                <a:cxn ang="0">
                  <a:pos x="500" y="498"/>
                </a:cxn>
              </a:cxnLst>
              <a:rect l="0" t="0" r="r" b="b"/>
              <a:pathLst>
                <a:path w="548" h="904">
                  <a:moveTo>
                    <a:pt x="500" y="498"/>
                  </a:moveTo>
                  <a:lnTo>
                    <a:pt x="500" y="498"/>
                  </a:lnTo>
                  <a:lnTo>
                    <a:pt x="490" y="525"/>
                  </a:lnTo>
                  <a:lnTo>
                    <a:pt x="481" y="546"/>
                  </a:lnTo>
                  <a:lnTo>
                    <a:pt x="470" y="565"/>
                  </a:lnTo>
                  <a:lnTo>
                    <a:pt x="470" y="565"/>
                  </a:lnTo>
                  <a:lnTo>
                    <a:pt x="465" y="574"/>
                  </a:lnTo>
                  <a:lnTo>
                    <a:pt x="458" y="583"/>
                  </a:lnTo>
                  <a:lnTo>
                    <a:pt x="442" y="601"/>
                  </a:lnTo>
                  <a:lnTo>
                    <a:pt x="435" y="611"/>
                  </a:lnTo>
                  <a:lnTo>
                    <a:pt x="432" y="622"/>
                  </a:lnTo>
                  <a:lnTo>
                    <a:pt x="428" y="632"/>
                  </a:lnTo>
                  <a:lnTo>
                    <a:pt x="430" y="643"/>
                  </a:lnTo>
                  <a:lnTo>
                    <a:pt x="430" y="643"/>
                  </a:lnTo>
                  <a:lnTo>
                    <a:pt x="433" y="653"/>
                  </a:lnTo>
                  <a:lnTo>
                    <a:pt x="439" y="662"/>
                  </a:lnTo>
                  <a:lnTo>
                    <a:pt x="446" y="673"/>
                  </a:lnTo>
                  <a:lnTo>
                    <a:pt x="453" y="683"/>
                  </a:lnTo>
                  <a:lnTo>
                    <a:pt x="455" y="692"/>
                  </a:lnTo>
                  <a:lnTo>
                    <a:pt x="458" y="703"/>
                  </a:lnTo>
                  <a:lnTo>
                    <a:pt x="458" y="703"/>
                  </a:lnTo>
                  <a:lnTo>
                    <a:pt x="458" y="713"/>
                  </a:lnTo>
                  <a:lnTo>
                    <a:pt x="458" y="720"/>
                  </a:lnTo>
                  <a:lnTo>
                    <a:pt x="456" y="731"/>
                  </a:lnTo>
                  <a:lnTo>
                    <a:pt x="456" y="734"/>
                  </a:lnTo>
                  <a:lnTo>
                    <a:pt x="458" y="740"/>
                  </a:lnTo>
                  <a:lnTo>
                    <a:pt x="462" y="745"/>
                  </a:lnTo>
                  <a:lnTo>
                    <a:pt x="469" y="752"/>
                  </a:lnTo>
                  <a:lnTo>
                    <a:pt x="469" y="752"/>
                  </a:lnTo>
                  <a:lnTo>
                    <a:pt x="529" y="815"/>
                  </a:lnTo>
                  <a:lnTo>
                    <a:pt x="529" y="815"/>
                  </a:lnTo>
                  <a:lnTo>
                    <a:pt x="539" y="826"/>
                  </a:lnTo>
                  <a:lnTo>
                    <a:pt x="543" y="833"/>
                  </a:lnTo>
                  <a:lnTo>
                    <a:pt x="546" y="840"/>
                  </a:lnTo>
                  <a:lnTo>
                    <a:pt x="548" y="849"/>
                  </a:lnTo>
                  <a:lnTo>
                    <a:pt x="548" y="856"/>
                  </a:lnTo>
                  <a:lnTo>
                    <a:pt x="546" y="865"/>
                  </a:lnTo>
                  <a:lnTo>
                    <a:pt x="541" y="874"/>
                  </a:lnTo>
                  <a:lnTo>
                    <a:pt x="541" y="874"/>
                  </a:lnTo>
                  <a:lnTo>
                    <a:pt x="532" y="889"/>
                  </a:lnTo>
                  <a:lnTo>
                    <a:pt x="525" y="898"/>
                  </a:lnTo>
                  <a:lnTo>
                    <a:pt x="521" y="902"/>
                  </a:lnTo>
                  <a:lnTo>
                    <a:pt x="514" y="904"/>
                  </a:lnTo>
                  <a:lnTo>
                    <a:pt x="507" y="904"/>
                  </a:lnTo>
                  <a:lnTo>
                    <a:pt x="497" y="904"/>
                  </a:lnTo>
                  <a:lnTo>
                    <a:pt x="497" y="904"/>
                  </a:lnTo>
                  <a:lnTo>
                    <a:pt x="442" y="898"/>
                  </a:lnTo>
                  <a:lnTo>
                    <a:pt x="356" y="893"/>
                  </a:lnTo>
                  <a:lnTo>
                    <a:pt x="312" y="893"/>
                  </a:lnTo>
                  <a:lnTo>
                    <a:pt x="270" y="893"/>
                  </a:lnTo>
                  <a:lnTo>
                    <a:pt x="238" y="896"/>
                  </a:lnTo>
                  <a:lnTo>
                    <a:pt x="226" y="900"/>
                  </a:lnTo>
                  <a:lnTo>
                    <a:pt x="217" y="904"/>
                  </a:lnTo>
                  <a:lnTo>
                    <a:pt x="217" y="904"/>
                  </a:lnTo>
                  <a:lnTo>
                    <a:pt x="215" y="900"/>
                  </a:lnTo>
                  <a:lnTo>
                    <a:pt x="210" y="896"/>
                  </a:lnTo>
                  <a:lnTo>
                    <a:pt x="199" y="891"/>
                  </a:lnTo>
                  <a:lnTo>
                    <a:pt x="192" y="889"/>
                  </a:lnTo>
                  <a:lnTo>
                    <a:pt x="183" y="889"/>
                  </a:lnTo>
                  <a:lnTo>
                    <a:pt x="183" y="889"/>
                  </a:lnTo>
                  <a:lnTo>
                    <a:pt x="166" y="888"/>
                  </a:lnTo>
                  <a:lnTo>
                    <a:pt x="148" y="884"/>
                  </a:lnTo>
                  <a:lnTo>
                    <a:pt x="136" y="881"/>
                  </a:lnTo>
                  <a:lnTo>
                    <a:pt x="127" y="879"/>
                  </a:lnTo>
                  <a:lnTo>
                    <a:pt x="127" y="879"/>
                  </a:lnTo>
                  <a:lnTo>
                    <a:pt x="111" y="882"/>
                  </a:lnTo>
                  <a:lnTo>
                    <a:pt x="99" y="886"/>
                  </a:lnTo>
                  <a:lnTo>
                    <a:pt x="99" y="886"/>
                  </a:lnTo>
                  <a:lnTo>
                    <a:pt x="101" y="877"/>
                  </a:lnTo>
                  <a:lnTo>
                    <a:pt x="99" y="858"/>
                  </a:lnTo>
                  <a:lnTo>
                    <a:pt x="99" y="858"/>
                  </a:lnTo>
                  <a:lnTo>
                    <a:pt x="97" y="833"/>
                  </a:lnTo>
                  <a:lnTo>
                    <a:pt x="95" y="822"/>
                  </a:lnTo>
                  <a:lnTo>
                    <a:pt x="92" y="814"/>
                  </a:lnTo>
                  <a:lnTo>
                    <a:pt x="92" y="814"/>
                  </a:lnTo>
                  <a:lnTo>
                    <a:pt x="88" y="805"/>
                  </a:lnTo>
                  <a:lnTo>
                    <a:pt x="90" y="794"/>
                  </a:lnTo>
                  <a:lnTo>
                    <a:pt x="90" y="794"/>
                  </a:lnTo>
                  <a:lnTo>
                    <a:pt x="90" y="787"/>
                  </a:lnTo>
                  <a:lnTo>
                    <a:pt x="90" y="782"/>
                  </a:lnTo>
                  <a:lnTo>
                    <a:pt x="88" y="777"/>
                  </a:lnTo>
                  <a:lnTo>
                    <a:pt x="81" y="775"/>
                  </a:lnTo>
                  <a:lnTo>
                    <a:pt x="81" y="775"/>
                  </a:lnTo>
                  <a:lnTo>
                    <a:pt x="76" y="775"/>
                  </a:lnTo>
                  <a:lnTo>
                    <a:pt x="72" y="775"/>
                  </a:lnTo>
                  <a:lnTo>
                    <a:pt x="71" y="771"/>
                  </a:lnTo>
                  <a:lnTo>
                    <a:pt x="69" y="764"/>
                  </a:lnTo>
                  <a:lnTo>
                    <a:pt x="69" y="764"/>
                  </a:lnTo>
                  <a:lnTo>
                    <a:pt x="65" y="757"/>
                  </a:lnTo>
                  <a:lnTo>
                    <a:pt x="64" y="756"/>
                  </a:lnTo>
                  <a:lnTo>
                    <a:pt x="60" y="757"/>
                  </a:lnTo>
                  <a:lnTo>
                    <a:pt x="55" y="761"/>
                  </a:lnTo>
                  <a:lnTo>
                    <a:pt x="55" y="761"/>
                  </a:lnTo>
                  <a:lnTo>
                    <a:pt x="50" y="764"/>
                  </a:lnTo>
                  <a:lnTo>
                    <a:pt x="46" y="764"/>
                  </a:lnTo>
                  <a:lnTo>
                    <a:pt x="41" y="761"/>
                  </a:lnTo>
                  <a:lnTo>
                    <a:pt x="34" y="754"/>
                  </a:lnTo>
                  <a:lnTo>
                    <a:pt x="34" y="754"/>
                  </a:lnTo>
                  <a:lnTo>
                    <a:pt x="25" y="741"/>
                  </a:lnTo>
                  <a:lnTo>
                    <a:pt x="18" y="731"/>
                  </a:lnTo>
                  <a:lnTo>
                    <a:pt x="18" y="731"/>
                  </a:lnTo>
                  <a:lnTo>
                    <a:pt x="7" y="715"/>
                  </a:lnTo>
                  <a:lnTo>
                    <a:pt x="0" y="706"/>
                  </a:lnTo>
                  <a:lnTo>
                    <a:pt x="0" y="706"/>
                  </a:lnTo>
                  <a:lnTo>
                    <a:pt x="4" y="699"/>
                  </a:lnTo>
                  <a:lnTo>
                    <a:pt x="13" y="689"/>
                  </a:lnTo>
                  <a:lnTo>
                    <a:pt x="13" y="689"/>
                  </a:lnTo>
                  <a:lnTo>
                    <a:pt x="18" y="682"/>
                  </a:lnTo>
                  <a:lnTo>
                    <a:pt x="25" y="669"/>
                  </a:lnTo>
                  <a:lnTo>
                    <a:pt x="32" y="655"/>
                  </a:lnTo>
                  <a:lnTo>
                    <a:pt x="35" y="643"/>
                  </a:lnTo>
                  <a:lnTo>
                    <a:pt x="35" y="643"/>
                  </a:lnTo>
                  <a:lnTo>
                    <a:pt x="37" y="629"/>
                  </a:lnTo>
                  <a:lnTo>
                    <a:pt x="39" y="609"/>
                  </a:lnTo>
                  <a:lnTo>
                    <a:pt x="42" y="601"/>
                  </a:lnTo>
                  <a:lnTo>
                    <a:pt x="44" y="590"/>
                  </a:lnTo>
                  <a:lnTo>
                    <a:pt x="50" y="583"/>
                  </a:lnTo>
                  <a:lnTo>
                    <a:pt x="57" y="576"/>
                  </a:lnTo>
                  <a:lnTo>
                    <a:pt x="57" y="576"/>
                  </a:lnTo>
                  <a:lnTo>
                    <a:pt x="71" y="564"/>
                  </a:lnTo>
                  <a:lnTo>
                    <a:pt x="78" y="557"/>
                  </a:lnTo>
                  <a:lnTo>
                    <a:pt x="87" y="553"/>
                  </a:lnTo>
                  <a:lnTo>
                    <a:pt x="97" y="549"/>
                  </a:lnTo>
                  <a:lnTo>
                    <a:pt x="106" y="548"/>
                  </a:lnTo>
                  <a:lnTo>
                    <a:pt x="118" y="548"/>
                  </a:lnTo>
                  <a:lnTo>
                    <a:pt x="131" y="551"/>
                  </a:lnTo>
                  <a:lnTo>
                    <a:pt x="131" y="551"/>
                  </a:lnTo>
                  <a:lnTo>
                    <a:pt x="152" y="560"/>
                  </a:lnTo>
                  <a:lnTo>
                    <a:pt x="162" y="565"/>
                  </a:lnTo>
                  <a:lnTo>
                    <a:pt x="169" y="567"/>
                  </a:lnTo>
                  <a:lnTo>
                    <a:pt x="178" y="569"/>
                  </a:lnTo>
                  <a:lnTo>
                    <a:pt x="178" y="569"/>
                  </a:lnTo>
                  <a:lnTo>
                    <a:pt x="190" y="567"/>
                  </a:lnTo>
                  <a:lnTo>
                    <a:pt x="196" y="565"/>
                  </a:lnTo>
                  <a:lnTo>
                    <a:pt x="203" y="562"/>
                  </a:lnTo>
                  <a:lnTo>
                    <a:pt x="208" y="555"/>
                  </a:lnTo>
                  <a:lnTo>
                    <a:pt x="217" y="544"/>
                  </a:lnTo>
                  <a:lnTo>
                    <a:pt x="236" y="511"/>
                  </a:lnTo>
                  <a:lnTo>
                    <a:pt x="236" y="511"/>
                  </a:lnTo>
                  <a:lnTo>
                    <a:pt x="293" y="405"/>
                  </a:lnTo>
                  <a:lnTo>
                    <a:pt x="293" y="405"/>
                  </a:lnTo>
                  <a:lnTo>
                    <a:pt x="300" y="384"/>
                  </a:lnTo>
                  <a:lnTo>
                    <a:pt x="308" y="359"/>
                  </a:lnTo>
                  <a:lnTo>
                    <a:pt x="308" y="359"/>
                  </a:lnTo>
                  <a:lnTo>
                    <a:pt x="312" y="350"/>
                  </a:lnTo>
                  <a:lnTo>
                    <a:pt x="314" y="347"/>
                  </a:lnTo>
                  <a:lnTo>
                    <a:pt x="314" y="347"/>
                  </a:lnTo>
                  <a:lnTo>
                    <a:pt x="324" y="333"/>
                  </a:lnTo>
                  <a:lnTo>
                    <a:pt x="335" y="322"/>
                  </a:lnTo>
                  <a:lnTo>
                    <a:pt x="342" y="312"/>
                  </a:lnTo>
                  <a:lnTo>
                    <a:pt x="342" y="312"/>
                  </a:lnTo>
                  <a:lnTo>
                    <a:pt x="345" y="303"/>
                  </a:lnTo>
                  <a:lnTo>
                    <a:pt x="347" y="292"/>
                  </a:lnTo>
                  <a:lnTo>
                    <a:pt x="347" y="282"/>
                  </a:lnTo>
                  <a:lnTo>
                    <a:pt x="345" y="276"/>
                  </a:lnTo>
                  <a:lnTo>
                    <a:pt x="342" y="269"/>
                  </a:lnTo>
                  <a:lnTo>
                    <a:pt x="342" y="269"/>
                  </a:lnTo>
                  <a:lnTo>
                    <a:pt x="342" y="266"/>
                  </a:lnTo>
                  <a:lnTo>
                    <a:pt x="345" y="259"/>
                  </a:lnTo>
                  <a:lnTo>
                    <a:pt x="356" y="248"/>
                  </a:lnTo>
                  <a:lnTo>
                    <a:pt x="372" y="231"/>
                  </a:lnTo>
                  <a:lnTo>
                    <a:pt x="372" y="231"/>
                  </a:lnTo>
                  <a:lnTo>
                    <a:pt x="381" y="218"/>
                  </a:lnTo>
                  <a:lnTo>
                    <a:pt x="388" y="210"/>
                  </a:lnTo>
                  <a:lnTo>
                    <a:pt x="391" y="201"/>
                  </a:lnTo>
                  <a:lnTo>
                    <a:pt x="391" y="201"/>
                  </a:lnTo>
                  <a:lnTo>
                    <a:pt x="393" y="192"/>
                  </a:lnTo>
                  <a:lnTo>
                    <a:pt x="393" y="178"/>
                  </a:lnTo>
                  <a:lnTo>
                    <a:pt x="391" y="164"/>
                  </a:lnTo>
                  <a:lnTo>
                    <a:pt x="389" y="158"/>
                  </a:lnTo>
                  <a:lnTo>
                    <a:pt x="386" y="153"/>
                  </a:lnTo>
                  <a:lnTo>
                    <a:pt x="386" y="153"/>
                  </a:lnTo>
                  <a:lnTo>
                    <a:pt x="375" y="139"/>
                  </a:lnTo>
                  <a:lnTo>
                    <a:pt x="359" y="123"/>
                  </a:lnTo>
                  <a:lnTo>
                    <a:pt x="338" y="104"/>
                  </a:lnTo>
                  <a:lnTo>
                    <a:pt x="298" y="79"/>
                  </a:lnTo>
                  <a:lnTo>
                    <a:pt x="298" y="79"/>
                  </a:lnTo>
                  <a:lnTo>
                    <a:pt x="322" y="46"/>
                  </a:lnTo>
                  <a:lnTo>
                    <a:pt x="340" y="19"/>
                  </a:lnTo>
                  <a:lnTo>
                    <a:pt x="347" y="7"/>
                  </a:lnTo>
                  <a:lnTo>
                    <a:pt x="351" y="0"/>
                  </a:lnTo>
                  <a:lnTo>
                    <a:pt x="351" y="0"/>
                  </a:lnTo>
                  <a:lnTo>
                    <a:pt x="372" y="49"/>
                  </a:lnTo>
                  <a:lnTo>
                    <a:pt x="389" y="86"/>
                  </a:lnTo>
                  <a:lnTo>
                    <a:pt x="402" y="107"/>
                  </a:lnTo>
                  <a:lnTo>
                    <a:pt x="402" y="107"/>
                  </a:lnTo>
                  <a:lnTo>
                    <a:pt x="411" y="120"/>
                  </a:lnTo>
                  <a:lnTo>
                    <a:pt x="423" y="132"/>
                  </a:lnTo>
                  <a:lnTo>
                    <a:pt x="437" y="144"/>
                  </a:lnTo>
                  <a:lnTo>
                    <a:pt x="451" y="153"/>
                  </a:lnTo>
                  <a:lnTo>
                    <a:pt x="451" y="153"/>
                  </a:lnTo>
                  <a:lnTo>
                    <a:pt x="458" y="157"/>
                  </a:lnTo>
                  <a:lnTo>
                    <a:pt x="462" y="160"/>
                  </a:lnTo>
                  <a:lnTo>
                    <a:pt x="463" y="164"/>
                  </a:lnTo>
                  <a:lnTo>
                    <a:pt x="463" y="169"/>
                  </a:lnTo>
                  <a:lnTo>
                    <a:pt x="463" y="173"/>
                  </a:lnTo>
                  <a:lnTo>
                    <a:pt x="462" y="178"/>
                  </a:lnTo>
                  <a:lnTo>
                    <a:pt x="456" y="185"/>
                  </a:lnTo>
                  <a:lnTo>
                    <a:pt x="456" y="185"/>
                  </a:lnTo>
                  <a:lnTo>
                    <a:pt x="451" y="192"/>
                  </a:lnTo>
                  <a:lnTo>
                    <a:pt x="448" y="197"/>
                  </a:lnTo>
                  <a:lnTo>
                    <a:pt x="448" y="206"/>
                  </a:lnTo>
                  <a:lnTo>
                    <a:pt x="448" y="217"/>
                  </a:lnTo>
                  <a:lnTo>
                    <a:pt x="448" y="217"/>
                  </a:lnTo>
                  <a:lnTo>
                    <a:pt x="451" y="224"/>
                  </a:lnTo>
                  <a:lnTo>
                    <a:pt x="455" y="232"/>
                  </a:lnTo>
                  <a:lnTo>
                    <a:pt x="462" y="247"/>
                  </a:lnTo>
                  <a:lnTo>
                    <a:pt x="465" y="255"/>
                  </a:lnTo>
                  <a:lnTo>
                    <a:pt x="469" y="262"/>
                  </a:lnTo>
                  <a:lnTo>
                    <a:pt x="469" y="269"/>
                  </a:lnTo>
                  <a:lnTo>
                    <a:pt x="467" y="276"/>
                  </a:lnTo>
                  <a:lnTo>
                    <a:pt x="467" y="276"/>
                  </a:lnTo>
                  <a:lnTo>
                    <a:pt x="460" y="289"/>
                  </a:lnTo>
                  <a:lnTo>
                    <a:pt x="453" y="301"/>
                  </a:lnTo>
                  <a:lnTo>
                    <a:pt x="448" y="308"/>
                  </a:lnTo>
                  <a:lnTo>
                    <a:pt x="440" y="313"/>
                  </a:lnTo>
                  <a:lnTo>
                    <a:pt x="432" y="319"/>
                  </a:lnTo>
                  <a:lnTo>
                    <a:pt x="421" y="324"/>
                  </a:lnTo>
                  <a:lnTo>
                    <a:pt x="421" y="324"/>
                  </a:lnTo>
                  <a:lnTo>
                    <a:pt x="389" y="336"/>
                  </a:lnTo>
                  <a:lnTo>
                    <a:pt x="382" y="340"/>
                  </a:lnTo>
                  <a:lnTo>
                    <a:pt x="379" y="343"/>
                  </a:lnTo>
                  <a:lnTo>
                    <a:pt x="379" y="343"/>
                  </a:lnTo>
                  <a:lnTo>
                    <a:pt x="377" y="352"/>
                  </a:lnTo>
                  <a:lnTo>
                    <a:pt x="377" y="359"/>
                  </a:lnTo>
                  <a:lnTo>
                    <a:pt x="379" y="365"/>
                  </a:lnTo>
                  <a:lnTo>
                    <a:pt x="382" y="372"/>
                  </a:lnTo>
                  <a:lnTo>
                    <a:pt x="388" y="379"/>
                  </a:lnTo>
                  <a:lnTo>
                    <a:pt x="396" y="384"/>
                  </a:lnTo>
                  <a:lnTo>
                    <a:pt x="409" y="389"/>
                  </a:lnTo>
                  <a:lnTo>
                    <a:pt x="409" y="389"/>
                  </a:lnTo>
                  <a:lnTo>
                    <a:pt x="432" y="398"/>
                  </a:lnTo>
                  <a:lnTo>
                    <a:pt x="442" y="402"/>
                  </a:lnTo>
                  <a:lnTo>
                    <a:pt x="451" y="407"/>
                  </a:lnTo>
                  <a:lnTo>
                    <a:pt x="460" y="412"/>
                  </a:lnTo>
                  <a:lnTo>
                    <a:pt x="467" y="421"/>
                  </a:lnTo>
                  <a:lnTo>
                    <a:pt x="474" y="433"/>
                  </a:lnTo>
                  <a:lnTo>
                    <a:pt x="479" y="449"/>
                  </a:lnTo>
                  <a:lnTo>
                    <a:pt x="479" y="449"/>
                  </a:lnTo>
                  <a:lnTo>
                    <a:pt x="490" y="477"/>
                  </a:lnTo>
                  <a:lnTo>
                    <a:pt x="495" y="493"/>
                  </a:lnTo>
                  <a:lnTo>
                    <a:pt x="499" y="498"/>
                  </a:lnTo>
                  <a:lnTo>
                    <a:pt x="500" y="498"/>
                  </a:lnTo>
                  <a:lnTo>
                    <a:pt x="500" y="49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4" name="Freeform 28">
              <a:extLst>
                <a:ext uri="{FF2B5EF4-FFF2-40B4-BE49-F238E27FC236}">
                  <a16:creationId xmlns:a16="http://schemas.microsoft.com/office/drawing/2014/main" id="{99336FEB-3AE5-4F81-A2C2-C2B673E41727}"/>
                </a:ext>
              </a:extLst>
            </p:cNvPr>
            <p:cNvSpPr>
              <a:spLocks/>
            </p:cNvSpPr>
            <p:nvPr/>
          </p:nvSpPr>
          <p:spPr bwMode="auto">
            <a:xfrm>
              <a:off x="4110820" y="3938691"/>
              <a:ext cx="380110" cy="374757"/>
            </a:xfrm>
            <a:custGeom>
              <a:avLst/>
              <a:gdLst/>
              <a:ahLst/>
              <a:cxnLst>
                <a:cxn ang="0">
                  <a:pos x="164" y="421"/>
                </a:cxn>
                <a:cxn ang="0">
                  <a:pos x="167" y="407"/>
                </a:cxn>
                <a:cxn ang="0">
                  <a:pos x="188" y="404"/>
                </a:cxn>
                <a:cxn ang="0">
                  <a:pos x="206" y="409"/>
                </a:cxn>
                <a:cxn ang="0">
                  <a:pos x="222" y="418"/>
                </a:cxn>
                <a:cxn ang="0">
                  <a:pos x="231" y="416"/>
                </a:cxn>
                <a:cxn ang="0">
                  <a:pos x="241" y="404"/>
                </a:cxn>
                <a:cxn ang="0">
                  <a:pos x="234" y="372"/>
                </a:cxn>
                <a:cxn ang="0">
                  <a:pos x="225" y="361"/>
                </a:cxn>
                <a:cxn ang="0">
                  <a:pos x="215" y="345"/>
                </a:cxn>
                <a:cxn ang="0">
                  <a:pos x="224" y="337"/>
                </a:cxn>
                <a:cxn ang="0">
                  <a:pos x="277" y="291"/>
                </a:cxn>
                <a:cxn ang="0">
                  <a:pos x="284" y="287"/>
                </a:cxn>
                <a:cxn ang="0">
                  <a:pos x="312" y="308"/>
                </a:cxn>
                <a:cxn ang="0">
                  <a:pos x="342" y="331"/>
                </a:cxn>
                <a:cxn ang="0">
                  <a:pos x="366" y="338"/>
                </a:cxn>
                <a:cxn ang="0">
                  <a:pos x="382" y="331"/>
                </a:cxn>
                <a:cxn ang="0">
                  <a:pos x="416" y="300"/>
                </a:cxn>
                <a:cxn ang="0">
                  <a:pos x="428" y="270"/>
                </a:cxn>
                <a:cxn ang="0">
                  <a:pos x="421" y="234"/>
                </a:cxn>
                <a:cxn ang="0">
                  <a:pos x="410" y="194"/>
                </a:cxn>
                <a:cxn ang="0">
                  <a:pos x="400" y="178"/>
                </a:cxn>
                <a:cxn ang="0">
                  <a:pos x="372" y="150"/>
                </a:cxn>
                <a:cxn ang="0">
                  <a:pos x="370" y="131"/>
                </a:cxn>
                <a:cxn ang="0">
                  <a:pos x="391" y="111"/>
                </a:cxn>
                <a:cxn ang="0">
                  <a:pos x="409" y="85"/>
                </a:cxn>
                <a:cxn ang="0">
                  <a:pos x="400" y="62"/>
                </a:cxn>
                <a:cxn ang="0">
                  <a:pos x="382" y="57"/>
                </a:cxn>
                <a:cxn ang="0">
                  <a:pos x="352" y="67"/>
                </a:cxn>
                <a:cxn ang="0">
                  <a:pos x="340" y="72"/>
                </a:cxn>
                <a:cxn ang="0">
                  <a:pos x="324" y="72"/>
                </a:cxn>
                <a:cxn ang="0">
                  <a:pos x="315" y="58"/>
                </a:cxn>
                <a:cxn ang="0">
                  <a:pos x="292" y="0"/>
                </a:cxn>
                <a:cxn ang="0">
                  <a:pos x="222" y="7"/>
                </a:cxn>
                <a:cxn ang="0">
                  <a:pos x="208" y="13"/>
                </a:cxn>
                <a:cxn ang="0">
                  <a:pos x="203" y="30"/>
                </a:cxn>
                <a:cxn ang="0">
                  <a:pos x="196" y="62"/>
                </a:cxn>
                <a:cxn ang="0">
                  <a:pos x="180" y="71"/>
                </a:cxn>
                <a:cxn ang="0">
                  <a:pos x="143" y="72"/>
                </a:cxn>
                <a:cxn ang="0">
                  <a:pos x="102" y="72"/>
                </a:cxn>
                <a:cxn ang="0">
                  <a:pos x="78" y="71"/>
                </a:cxn>
                <a:cxn ang="0">
                  <a:pos x="58" y="62"/>
                </a:cxn>
                <a:cxn ang="0">
                  <a:pos x="62" y="101"/>
                </a:cxn>
                <a:cxn ang="0">
                  <a:pos x="55" y="134"/>
                </a:cxn>
                <a:cxn ang="0">
                  <a:pos x="44" y="173"/>
                </a:cxn>
                <a:cxn ang="0">
                  <a:pos x="21" y="212"/>
                </a:cxn>
                <a:cxn ang="0">
                  <a:pos x="11" y="212"/>
                </a:cxn>
                <a:cxn ang="0">
                  <a:pos x="0" y="210"/>
                </a:cxn>
                <a:cxn ang="0">
                  <a:pos x="2" y="217"/>
                </a:cxn>
                <a:cxn ang="0">
                  <a:pos x="16" y="245"/>
                </a:cxn>
                <a:cxn ang="0">
                  <a:pos x="16" y="254"/>
                </a:cxn>
                <a:cxn ang="0">
                  <a:pos x="16" y="264"/>
                </a:cxn>
                <a:cxn ang="0">
                  <a:pos x="37" y="300"/>
                </a:cxn>
                <a:cxn ang="0">
                  <a:pos x="72" y="347"/>
                </a:cxn>
                <a:cxn ang="0">
                  <a:pos x="113" y="388"/>
                </a:cxn>
                <a:cxn ang="0">
                  <a:pos x="148" y="416"/>
                </a:cxn>
              </a:cxnLst>
              <a:rect l="0" t="0" r="r" b="b"/>
              <a:pathLst>
                <a:path w="428" h="421">
                  <a:moveTo>
                    <a:pt x="160" y="421"/>
                  </a:moveTo>
                  <a:lnTo>
                    <a:pt x="160" y="421"/>
                  </a:lnTo>
                  <a:lnTo>
                    <a:pt x="164" y="421"/>
                  </a:lnTo>
                  <a:lnTo>
                    <a:pt x="164" y="419"/>
                  </a:lnTo>
                  <a:lnTo>
                    <a:pt x="166" y="412"/>
                  </a:lnTo>
                  <a:lnTo>
                    <a:pt x="167" y="407"/>
                  </a:lnTo>
                  <a:lnTo>
                    <a:pt x="171" y="404"/>
                  </a:lnTo>
                  <a:lnTo>
                    <a:pt x="178" y="402"/>
                  </a:lnTo>
                  <a:lnTo>
                    <a:pt x="188" y="404"/>
                  </a:lnTo>
                  <a:lnTo>
                    <a:pt x="188" y="404"/>
                  </a:lnTo>
                  <a:lnTo>
                    <a:pt x="199" y="405"/>
                  </a:lnTo>
                  <a:lnTo>
                    <a:pt x="206" y="409"/>
                  </a:lnTo>
                  <a:lnTo>
                    <a:pt x="217" y="414"/>
                  </a:lnTo>
                  <a:lnTo>
                    <a:pt x="218" y="418"/>
                  </a:lnTo>
                  <a:lnTo>
                    <a:pt x="222" y="418"/>
                  </a:lnTo>
                  <a:lnTo>
                    <a:pt x="225" y="418"/>
                  </a:lnTo>
                  <a:lnTo>
                    <a:pt x="231" y="416"/>
                  </a:lnTo>
                  <a:lnTo>
                    <a:pt x="231" y="416"/>
                  </a:lnTo>
                  <a:lnTo>
                    <a:pt x="236" y="412"/>
                  </a:lnTo>
                  <a:lnTo>
                    <a:pt x="240" y="407"/>
                  </a:lnTo>
                  <a:lnTo>
                    <a:pt x="241" y="404"/>
                  </a:lnTo>
                  <a:lnTo>
                    <a:pt x="243" y="398"/>
                  </a:lnTo>
                  <a:lnTo>
                    <a:pt x="241" y="386"/>
                  </a:lnTo>
                  <a:lnTo>
                    <a:pt x="234" y="372"/>
                  </a:lnTo>
                  <a:lnTo>
                    <a:pt x="234" y="372"/>
                  </a:lnTo>
                  <a:lnTo>
                    <a:pt x="231" y="367"/>
                  </a:lnTo>
                  <a:lnTo>
                    <a:pt x="225" y="361"/>
                  </a:lnTo>
                  <a:lnTo>
                    <a:pt x="218" y="352"/>
                  </a:lnTo>
                  <a:lnTo>
                    <a:pt x="215" y="349"/>
                  </a:lnTo>
                  <a:lnTo>
                    <a:pt x="215" y="345"/>
                  </a:lnTo>
                  <a:lnTo>
                    <a:pt x="218" y="342"/>
                  </a:lnTo>
                  <a:lnTo>
                    <a:pt x="224" y="337"/>
                  </a:lnTo>
                  <a:lnTo>
                    <a:pt x="224" y="337"/>
                  </a:lnTo>
                  <a:lnTo>
                    <a:pt x="241" y="324"/>
                  </a:lnTo>
                  <a:lnTo>
                    <a:pt x="255" y="310"/>
                  </a:lnTo>
                  <a:lnTo>
                    <a:pt x="277" y="291"/>
                  </a:lnTo>
                  <a:lnTo>
                    <a:pt x="277" y="291"/>
                  </a:lnTo>
                  <a:lnTo>
                    <a:pt x="282" y="287"/>
                  </a:lnTo>
                  <a:lnTo>
                    <a:pt x="284" y="287"/>
                  </a:lnTo>
                  <a:lnTo>
                    <a:pt x="285" y="289"/>
                  </a:lnTo>
                  <a:lnTo>
                    <a:pt x="294" y="294"/>
                  </a:lnTo>
                  <a:lnTo>
                    <a:pt x="312" y="308"/>
                  </a:lnTo>
                  <a:lnTo>
                    <a:pt x="312" y="308"/>
                  </a:lnTo>
                  <a:lnTo>
                    <a:pt x="333" y="324"/>
                  </a:lnTo>
                  <a:lnTo>
                    <a:pt x="342" y="331"/>
                  </a:lnTo>
                  <a:lnTo>
                    <a:pt x="350" y="337"/>
                  </a:lnTo>
                  <a:lnTo>
                    <a:pt x="358" y="338"/>
                  </a:lnTo>
                  <a:lnTo>
                    <a:pt x="366" y="338"/>
                  </a:lnTo>
                  <a:lnTo>
                    <a:pt x="373" y="337"/>
                  </a:lnTo>
                  <a:lnTo>
                    <a:pt x="382" y="331"/>
                  </a:lnTo>
                  <a:lnTo>
                    <a:pt x="382" y="331"/>
                  </a:lnTo>
                  <a:lnTo>
                    <a:pt x="400" y="317"/>
                  </a:lnTo>
                  <a:lnTo>
                    <a:pt x="409" y="308"/>
                  </a:lnTo>
                  <a:lnTo>
                    <a:pt x="416" y="300"/>
                  </a:lnTo>
                  <a:lnTo>
                    <a:pt x="423" y="291"/>
                  </a:lnTo>
                  <a:lnTo>
                    <a:pt x="426" y="282"/>
                  </a:lnTo>
                  <a:lnTo>
                    <a:pt x="428" y="270"/>
                  </a:lnTo>
                  <a:lnTo>
                    <a:pt x="426" y="259"/>
                  </a:lnTo>
                  <a:lnTo>
                    <a:pt x="426" y="259"/>
                  </a:lnTo>
                  <a:lnTo>
                    <a:pt x="421" y="234"/>
                  </a:lnTo>
                  <a:lnTo>
                    <a:pt x="417" y="213"/>
                  </a:lnTo>
                  <a:lnTo>
                    <a:pt x="414" y="203"/>
                  </a:lnTo>
                  <a:lnTo>
                    <a:pt x="410" y="194"/>
                  </a:lnTo>
                  <a:lnTo>
                    <a:pt x="407" y="185"/>
                  </a:lnTo>
                  <a:lnTo>
                    <a:pt x="400" y="178"/>
                  </a:lnTo>
                  <a:lnTo>
                    <a:pt x="400" y="178"/>
                  </a:lnTo>
                  <a:lnTo>
                    <a:pt x="384" y="164"/>
                  </a:lnTo>
                  <a:lnTo>
                    <a:pt x="377" y="157"/>
                  </a:lnTo>
                  <a:lnTo>
                    <a:pt x="372" y="150"/>
                  </a:lnTo>
                  <a:lnTo>
                    <a:pt x="368" y="143"/>
                  </a:lnTo>
                  <a:lnTo>
                    <a:pt x="366" y="138"/>
                  </a:lnTo>
                  <a:lnTo>
                    <a:pt x="370" y="131"/>
                  </a:lnTo>
                  <a:lnTo>
                    <a:pt x="375" y="125"/>
                  </a:lnTo>
                  <a:lnTo>
                    <a:pt x="375" y="125"/>
                  </a:lnTo>
                  <a:lnTo>
                    <a:pt x="391" y="111"/>
                  </a:lnTo>
                  <a:lnTo>
                    <a:pt x="398" y="102"/>
                  </a:lnTo>
                  <a:lnTo>
                    <a:pt x="403" y="94"/>
                  </a:lnTo>
                  <a:lnTo>
                    <a:pt x="409" y="85"/>
                  </a:lnTo>
                  <a:lnTo>
                    <a:pt x="409" y="76"/>
                  </a:lnTo>
                  <a:lnTo>
                    <a:pt x="407" y="69"/>
                  </a:lnTo>
                  <a:lnTo>
                    <a:pt x="400" y="62"/>
                  </a:lnTo>
                  <a:lnTo>
                    <a:pt x="400" y="62"/>
                  </a:lnTo>
                  <a:lnTo>
                    <a:pt x="391" y="58"/>
                  </a:lnTo>
                  <a:lnTo>
                    <a:pt x="382" y="57"/>
                  </a:lnTo>
                  <a:lnTo>
                    <a:pt x="373" y="58"/>
                  </a:lnTo>
                  <a:lnTo>
                    <a:pt x="366" y="60"/>
                  </a:lnTo>
                  <a:lnTo>
                    <a:pt x="352" y="67"/>
                  </a:lnTo>
                  <a:lnTo>
                    <a:pt x="345" y="71"/>
                  </a:lnTo>
                  <a:lnTo>
                    <a:pt x="340" y="72"/>
                  </a:lnTo>
                  <a:lnTo>
                    <a:pt x="340" y="72"/>
                  </a:lnTo>
                  <a:lnTo>
                    <a:pt x="333" y="74"/>
                  </a:lnTo>
                  <a:lnTo>
                    <a:pt x="328" y="74"/>
                  </a:lnTo>
                  <a:lnTo>
                    <a:pt x="324" y="72"/>
                  </a:lnTo>
                  <a:lnTo>
                    <a:pt x="322" y="71"/>
                  </a:lnTo>
                  <a:lnTo>
                    <a:pt x="315" y="58"/>
                  </a:lnTo>
                  <a:lnTo>
                    <a:pt x="315" y="58"/>
                  </a:lnTo>
                  <a:lnTo>
                    <a:pt x="306" y="41"/>
                  </a:lnTo>
                  <a:lnTo>
                    <a:pt x="299" y="21"/>
                  </a:lnTo>
                  <a:lnTo>
                    <a:pt x="292" y="0"/>
                  </a:lnTo>
                  <a:lnTo>
                    <a:pt x="292" y="0"/>
                  </a:lnTo>
                  <a:lnTo>
                    <a:pt x="252" y="4"/>
                  </a:lnTo>
                  <a:lnTo>
                    <a:pt x="222" y="7"/>
                  </a:lnTo>
                  <a:lnTo>
                    <a:pt x="213" y="9"/>
                  </a:lnTo>
                  <a:lnTo>
                    <a:pt x="208" y="13"/>
                  </a:lnTo>
                  <a:lnTo>
                    <a:pt x="208" y="13"/>
                  </a:lnTo>
                  <a:lnTo>
                    <a:pt x="206" y="18"/>
                  </a:lnTo>
                  <a:lnTo>
                    <a:pt x="203" y="30"/>
                  </a:lnTo>
                  <a:lnTo>
                    <a:pt x="203" y="30"/>
                  </a:lnTo>
                  <a:lnTo>
                    <a:pt x="197" y="48"/>
                  </a:lnTo>
                  <a:lnTo>
                    <a:pt x="196" y="62"/>
                  </a:lnTo>
                  <a:lnTo>
                    <a:pt x="196" y="62"/>
                  </a:lnTo>
                  <a:lnTo>
                    <a:pt x="194" y="65"/>
                  </a:lnTo>
                  <a:lnTo>
                    <a:pt x="188" y="69"/>
                  </a:lnTo>
                  <a:lnTo>
                    <a:pt x="180" y="71"/>
                  </a:lnTo>
                  <a:lnTo>
                    <a:pt x="167" y="71"/>
                  </a:lnTo>
                  <a:lnTo>
                    <a:pt x="167" y="71"/>
                  </a:lnTo>
                  <a:lnTo>
                    <a:pt x="143" y="72"/>
                  </a:lnTo>
                  <a:lnTo>
                    <a:pt x="125" y="72"/>
                  </a:lnTo>
                  <a:lnTo>
                    <a:pt x="125" y="72"/>
                  </a:lnTo>
                  <a:lnTo>
                    <a:pt x="102" y="72"/>
                  </a:lnTo>
                  <a:lnTo>
                    <a:pt x="88" y="72"/>
                  </a:lnTo>
                  <a:lnTo>
                    <a:pt x="78" y="71"/>
                  </a:lnTo>
                  <a:lnTo>
                    <a:pt x="78" y="71"/>
                  </a:lnTo>
                  <a:lnTo>
                    <a:pt x="63" y="65"/>
                  </a:lnTo>
                  <a:lnTo>
                    <a:pt x="58" y="62"/>
                  </a:lnTo>
                  <a:lnTo>
                    <a:pt x="58" y="62"/>
                  </a:lnTo>
                  <a:lnTo>
                    <a:pt x="62" y="74"/>
                  </a:lnTo>
                  <a:lnTo>
                    <a:pt x="63" y="86"/>
                  </a:lnTo>
                  <a:lnTo>
                    <a:pt x="62" y="101"/>
                  </a:lnTo>
                  <a:lnTo>
                    <a:pt x="62" y="101"/>
                  </a:lnTo>
                  <a:lnTo>
                    <a:pt x="58" y="115"/>
                  </a:lnTo>
                  <a:lnTo>
                    <a:pt x="55" y="134"/>
                  </a:lnTo>
                  <a:lnTo>
                    <a:pt x="51" y="155"/>
                  </a:lnTo>
                  <a:lnTo>
                    <a:pt x="44" y="173"/>
                  </a:lnTo>
                  <a:lnTo>
                    <a:pt x="44" y="173"/>
                  </a:lnTo>
                  <a:lnTo>
                    <a:pt x="30" y="201"/>
                  </a:lnTo>
                  <a:lnTo>
                    <a:pt x="25" y="210"/>
                  </a:lnTo>
                  <a:lnTo>
                    <a:pt x="21" y="212"/>
                  </a:lnTo>
                  <a:lnTo>
                    <a:pt x="18" y="213"/>
                  </a:lnTo>
                  <a:lnTo>
                    <a:pt x="18" y="213"/>
                  </a:lnTo>
                  <a:lnTo>
                    <a:pt x="11" y="212"/>
                  </a:lnTo>
                  <a:lnTo>
                    <a:pt x="4" y="210"/>
                  </a:lnTo>
                  <a:lnTo>
                    <a:pt x="2" y="210"/>
                  </a:lnTo>
                  <a:lnTo>
                    <a:pt x="0" y="210"/>
                  </a:lnTo>
                  <a:lnTo>
                    <a:pt x="0" y="213"/>
                  </a:lnTo>
                  <a:lnTo>
                    <a:pt x="2" y="217"/>
                  </a:lnTo>
                  <a:lnTo>
                    <a:pt x="2" y="217"/>
                  </a:lnTo>
                  <a:lnTo>
                    <a:pt x="7" y="229"/>
                  </a:lnTo>
                  <a:lnTo>
                    <a:pt x="12" y="238"/>
                  </a:lnTo>
                  <a:lnTo>
                    <a:pt x="16" y="245"/>
                  </a:lnTo>
                  <a:lnTo>
                    <a:pt x="18" y="250"/>
                  </a:lnTo>
                  <a:lnTo>
                    <a:pt x="18" y="250"/>
                  </a:lnTo>
                  <a:lnTo>
                    <a:pt x="16" y="254"/>
                  </a:lnTo>
                  <a:lnTo>
                    <a:pt x="12" y="256"/>
                  </a:lnTo>
                  <a:lnTo>
                    <a:pt x="12" y="259"/>
                  </a:lnTo>
                  <a:lnTo>
                    <a:pt x="16" y="264"/>
                  </a:lnTo>
                  <a:lnTo>
                    <a:pt x="16" y="264"/>
                  </a:lnTo>
                  <a:lnTo>
                    <a:pt x="25" y="278"/>
                  </a:lnTo>
                  <a:lnTo>
                    <a:pt x="37" y="300"/>
                  </a:lnTo>
                  <a:lnTo>
                    <a:pt x="55" y="324"/>
                  </a:lnTo>
                  <a:lnTo>
                    <a:pt x="62" y="337"/>
                  </a:lnTo>
                  <a:lnTo>
                    <a:pt x="72" y="347"/>
                  </a:lnTo>
                  <a:lnTo>
                    <a:pt x="72" y="347"/>
                  </a:lnTo>
                  <a:lnTo>
                    <a:pt x="92" y="367"/>
                  </a:lnTo>
                  <a:lnTo>
                    <a:pt x="113" y="388"/>
                  </a:lnTo>
                  <a:lnTo>
                    <a:pt x="123" y="398"/>
                  </a:lnTo>
                  <a:lnTo>
                    <a:pt x="136" y="407"/>
                  </a:lnTo>
                  <a:lnTo>
                    <a:pt x="148" y="416"/>
                  </a:lnTo>
                  <a:lnTo>
                    <a:pt x="160" y="421"/>
                  </a:lnTo>
                  <a:lnTo>
                    <a:pt x="160" y="4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5" name="Freeform 29">
              <a:extLst>
                <a:ext uri="{FF2B5EF4-FFF2-40B4-BE49-F238E27FC236}">
                  <a16:creationId xmlns:a16="http://schemas.microsoft.com/office/drawing/2014/main" id="{8A5441B1-137B-42C6-8D26-607782346316}"/>
                </a:ext>
              </a:extLst>
            </p:cNvPr>
            <p:cNvSpPr>
              <a:spLocks/>
            </p:cNvSpPr>
            <p:nvPr/>
          </p:nvSpPr>
          <p:spPr bwMode="auto">
            <a:xfrm>
              <a:off x="4253584" y="3836972"/>
              <a:ext cx="474692" cy="576412"/>
            </a:xfrm>
            <a:custGeom>
              <a:avLst/>
              <a:gdLst/>
              <a:ahLst/>
              <a:cxnLst>
                <a:cxn ang="0">
                  <a:pos x="523" y="27"/>
                </a:cxn>
                <a:cxn ang="0">
                  <a:pos x="500" y="11"/>
                </a:cxn>
                <a:cxn ang="0">
                  <a:pos x="451" y="0"/>
                </a:cxn>
                <a:cxn ang="0">
                  <a:pos x="426" y="9"/>
                </a:cxn>
                <a:cxn ang="0">
                  <a:pos x="405" y="43"/>
                </a:cxn>
                <a:cxn ang="0">
                  <a:pos x="382" y="74"/>
                </a:cxn>
                <a:cxn ang="0">
                  <a:pos x="360" y="113"/>
                </a:cxn>
                <a:cxn ang="0">
                  <a:pos x="342" y="124"/>
                </a:cxn>
                <a:cxn ang="0">
                  <a:pos x="132" y="113"/>
                </a:cxn>
                <a:cxn ang="0">
                  <a:pos x="166" y="185"/>
                </a:cxn>
                <a:cxn ang="0">
                  <a:pos x="189" y="182"/>
                </a:cxn>
                <a:cxn ang="0">
                  <a:pos x="222" y="168"/>
                </a:cxn>
                <a:cxn ang="0">
                  <a:pos x="250" y="182"/>
                </a:cxn>
                <a:cxn ang="0">
                  <a:pos x="243" y="207"/>
                </a:cxn>
                <a:cxn ang="0">
                  <a:pos x="215" y="235"/>
                </a:cxn>
                <a:cxn ang="0">
                  <a:pos x="208" y="252"/>
                </a:cxn>
                <a:cxn ang="0">
                  <a:pos x="227" y="281"/>
                </a:cxn>
                <a:cxn ang="0">
                  <a:pos x="256" y="321"/>
                </a:cxn>
                <a:cxn ang="0">
                  <a:pos x="264" y="365"/>
                </a:cxn>
                <a:cxn ang="0">
                  <a:pos x="268" y="393"/>
                </a:cxn>
                <a:cxn ang="0">
                  <a:pos x="247" y="423"/>
                </a:cxn>
                <a:cxn ang="0">
                  <a:pos x="212" y="450"/>
                </a:cxn>
                <a:cxn ang="0">
                  <a:pos x="189" y="448"/>
                </a:cxn>
                <a:cxn ang="0">
                  <a:pos x="148" y="416"/>
                </a:cxn>
                <a:cxn ang="0">
                  <a:pos x="120" y="402"/>
                </a:cxn>
                <a:cxn ang="0">
                  <a:pos x="74" y="443"/>
                </a:cxn>
                <a:cxn ang="0">
                  <a:pos x="57" y="457"/>
                </a:cxn>
                <a:cxn ang="0">
                  <a:pos x="58" y="467"/>
                </a:cxn>
                <a:cxn ang="0">
                  <a:pos x="81" y="502"/>
                </a:cxn>
                <a:cxn ang="0">
                  <a:pos x="80" y="522"/>
                </a:cxn>
                <a:cxn ang="0">
                  <a:pos x="62" y="531"/>
                </a:cxn>
                <a:cxn ang="0">
                  <a:pos x="44" y="518"/>
                </a:cxn>
                <a:cxn ang="0">
                  <a:pos x="9" y="520"/>
                </a:cxn>
                <a:cxn ang="0">
                  <a:pos x="36" y="575"/>
                </a:cxn>
                <a:cxn ang="0">
                  <a:pos x="60" y="619"/>
                </a:cxn>
                <a:cxn ang="0">
                  <a:pos x="67" y="647"/>
                </a:cxn>
                <a:cxn ang="0">
                  <a:pos x="95" y="628"/>
                </a:cxn>
                <a:cxn ang="0">
                  <a:pos x="120" y="596"/>
                </a:cxn>
                <a:cxn ang="0">
                  <a:pos x="185" y="592"/>
                </a:cxn>
                <a:cxn ang="0">
                  <a:pos x="219" y="589"/>
                </a:cxn>
                <a:cxn ang="0">
                  <a:pos x="300" y="546"/>
                </a:cxn>
                <a:cxn ang="0">
                  <a:pos x="321" y="531"/>
                </a:cxn>
                <a:cxn ang="0">
                  <a:pos x="338" y="517"/>
                </a:cxn>
                <a:cxn ang="0">
                  <a:pos x="351" y="473"/>
                </a:cxn>
                <a:cxn ang="0">
                  <a:pos x="372" y="430"/>
                </a:cxn>
                <a:cxn ang="0">
                  <a:pos x="382" y="404"/>
                </a:cxn>
                <a:cxn ang="0">
                  <a:pos x="388" y="369"/>
                </a:cxn>
                <a:cxn ang="0">
                  <a:pos x="414" y="344"/>
                </a:cxn>
                <a:cxn ang="0">
                  <a:pos x="455" y="309"/>
                </a:cxn>
                <a:cxn ang="0">
                  <a:pos x="483" y="251"/>
                </a:cxn>
                <a:cxn ang="0">
                  <a:pos x="495" y="140"/>
                </a:cxn>
                <a:cxn ang="0">
                  <a:pos x="532" y="55"/>
                </a:cxn>
              </a:cxnLst>
              <a:rect l="0" t="0" r="r" b="b"/>
              <a:pathLst>
                <a:path w="532" h="647">
                  <a:moveTo>
                    <a:pt x="525" y="30"/>
                  </a:moveTo>
                  <a:lnTo>
                    <a:pt x="525" y="30"/>
                  </a:lnTo>
                  <a:lnTo>
                    <a:pt x="525" y="29"/>
                  </a:lnTo>
                  <a:lnTo>
                    <a:pt x="523" y="27"/>
                  </a:lnTo>
                  <a:lnTo>
                    <a:pt x="522" y="23"/>
                  </a:lnTo>
                  <a:lnTo>
                    <a:pt x="516" y="20"/>
                  </a:lnTo>
                  <a:lnTo>
                    <a:pt x="511" y="15"/>
                  </a:lnTo>
                  <a:lnTo>
                    <a:pt x="500" y="11"/>
                  </a:lnTo>
                  <a:lnTo>
                    <a:pt x="486" y="8"/>
                  </a:lnTo>
                  <a:lnTo>
                    <a:pt x="486" y="8"/>
                  </a:lnTo>
                  <a:lnTo>
                    <a:pt x="462" y="2"/>
                  </a:lnTo>
                  <a:lnTo>
                    <a:pt x="451" y="0"/>
                  </a:lnTo>
                  <a:lnTo>
                    <a:pt x="444" y="2"/>
                  </a:lnTo>
                  <a:lnTo>
                    <a:pt x="437" y="2"/>
                  </a:lnTo>
                  <a:lnTo>
                    <a:pt x="432" y="6"/>
                  </a:lnTo>
                  <a:lnTo>
                    <a:pt x="426" y="9"/>
                  </a:lnTo>
                  <a:lnTo>
                    <a:pt x="421" y="16"/>
                  </a:lnTo>
                  <a:lnTo>
                    <a:pt x="421" y="16"/>
                  </a:lnTo>
                  <a:lnTo>
                    <a:pt x="412" y="29"/>
                  </a:lnTo>
                  <a:lnTo>
                    <a:pt x="405" y="43"/>
                  </a:lnTo>
                  <a:lnTo>
                    <a:pt x="398" y="53"/>
                  </a:lnTo>
                  <a:lnTo>
                    <a:pt x="391" y="62"/>
                  </a:lnTo>
                  <a:lnTo>
                    <a:pt x="391" y="62"/>
                  </a:lnTo>
                  <a:lnTo>
                    <a:pt x="382" y="74"/>
                  </a:lnTo>
                  <a:lnTo>
                    <a:pt x="379" y="80"/>
                  </a:lnTo>
                  <a:lnTo>
                    <a:pt x="363" y="108"/>
                  </a:lnTo>
                  <a:lnTo>
                    <a:pt x="363" y="108"/>
                  </a:lnTo>
                  <a:lnTo>
                    <a:pt x="360" y="113"/>
                  </a:lnTo>
                  <a:lnTo>
                    <a:pt x="354" y="118"/>
                  </a:lnTo>
                  <a:lnTo>
                    <a:pt x="349" y="122"/>
                  </a:lnTo>
                  <a:lnTo>
                    <a:pt x="349" y="122"/>
                  </a:lnTo>
                  <a:lnTo>
                    <a:pt x="342" y="124"/>
                  </a:lnTo>
                  <a:lnTo>
                    <a:pt x="331" y="124"/>
                  </a:lnTo>
                  <a:lnTo>
                    <a:pt x="301" y="122"/>
                  </a:lnTo>
                  <a:lnTo>
                    <a:pt x="263" y="118"/>
                  </a:lnTo>
                  <a:lnTo>
                    <a:pt x="132" y="113"/>
                  </a:lnTo>
                  <a:lnTo>
                    <a:pt x="159" y="180"/>
                  </a:lnTo>
                  <a:lnTo>
                    <a:pt x="159" y="180"/>
                  </a:lnTo>
                  <a:lnTo>
                    <a:pt x="161" y="182"/>
                  </a:lnTo>
                  <a:lnTo>
                    <a:pt x="166" y="185"/>
                  </a:lnTo>
                  <a:lnTo>
                    <a:pt x="169" y="185"/>
                  </a:lnTo>
                  <a:lnTo>
                    <a:pt x="175" y="185"/>
                  </a:lnTo>
                  <a:lnTo>
                    <a:pt x="182" y="185"/>
                  </a:lnTo>
                  <a:lnTo>
                    <a:pt x="189" y="182"/>
                  </a:lnTo>
                  <a:lnTo>
                    <a:pt x="189" y="182"/>
                  </a:lnTo>
                  <a:lnTo>
                    <a:pt x="205" y="175"/>
                  </a:lnTo>
                  <a:lnTo>
                    <a:pt x="213" y="171"/>
                  </a:lnTo>
                  <a:lnTo>
                    <a:pt x="222" y="168"/>
                  </a:lnTo>
                  <a:lnTo>
                    <a:pt x="229" y="168"/>
                  </a:lnTo>
                  <a:lnTo>
                    <a:pt x="236" y="170"/>
                  </a:lnTo>
                  <a:lnTo>
                    <a:pt x="243" y="173"/>
                  </a:lnTo>
                  <a:lnTo>
                    <a:pt x="250" y="182"/>
                  </a:lnTo>
                  <a:lnTo>
                    <a:pt x="250" y="182"/>
                  </a:lnTo>
                  <a:lnTo>
                    <a:pt x="249" y="185"/>
                  </a:lnTo>
                  <a:lnTo>
                    <a:pt x="247" y="194"/>
                  </a:lnTo>
                  <a:lnTo>
                    <a:pt x="243" y="207"/>
                  </a:lnTo>
                  <a:lnTo>
                    <a:pt x="240" y="212"/>
                  </a:lnTo>
                  <a:lnTo>
                    <a:pt x="234" y="217"/>
                  </a:lnTo>
                  <a:lnTo>
                    <a:pt x="234" y="217"/>
                  </a:lnTo>
                  <a:lnTo>
                    <a:pt x="215" y="235"/>
                  </a:lnTo>
                  <a:lnTo>
                    <a:pt x="208" y="242"/>
                  </a:lnTo>
                  <a:lnTo>
                    <a:pt x="206" y="247"/>
                  </a:lnTo>
                  <a:lnTo>
                    <a:pt x="206" y="247"/>
                  </a:lnTo>
                  <a:lnTo>
                    <a:pt x="208" y="252"/>
                  </a:lnTo>
                  <a:lnTo>
                    <a:pt x="212" y="261"/>
                  </a:lnTo>
                  <a:lnTo>
                    <a:pt x="217" y="270"/>
                  </a:lnTo>
                  <a:lnTo>
                    <a:pt x="227" y="281"/>
                  </a:lnTo>
                  <a:lnTo>
                    <a:pt x="227" y="281"/>
                  </a:lnTo>
                  <a:lnTo>
                    <a:pt x="238" y="289"/>
                  </a:lnTo>
                  <a:lnTo>
                    <a:pt x="247" y="302"/>
                  </a:lnTo>
                  <a:lnTo>
                    <a:pt x="254" y="312"/>
                  </a:lnTo>
                  <a:lnTo>
                    <a:pt x="256" y="321"/>
                  </a:lnTo>
                  <a:lnTo>
                    <a:pt x="256" y="321"/>
                  </a:lnTo>
                  <a:lnTo>
                    <a:pt x="259" y="346"/>
                  </a:lnTo>
                  <a:lnTo>
                    <a:pt x="264" y="365"/>
                  </a:lnTo>
                  <a:lnTo>
                    <a:pt x="264" y="365"/>
                  </a:lnTo>
                  <a:lnTo>
                    <a:pt x="266" y="370"/>
                  </a:lnTo>
                  <a:lnTo>
                    <a:pt x="268" y="381"/>
                  </a:lnTo>
                  <a:lnTo>
                    <a:pt x="268" y="386"/>
                  </a:lnTo>
                  <a:lnTo>
                    <a:pt x="268" y="393"/>
                  </a:lnTo>
                  <a:lnTo>
                    <a:pt x="264" y="400"/>
                  </a:lnTo>
                  <a:lnTo>
                    <a:pt x="261" y="407"/>
                  </a:lnTo>
                  <a:lnTo>
                    <a:pt x="261" y="407"/>
                  </a:lnTo>
                  <a:lnTo>
                    <a:pt x="247" y="423"/>
                  </a:lnTo>
                  <a:lnTo>
                    <a:pt x="231" y="436"/>
                  </a:lnTo>
                  <a:lnTo>
                    <a:pt x="215" y="450"/>
                  </a:lnTo>
                  <a:lnTo>
                    <a:pt x="215" y="450"/>
                  </a:lnTo>
                  <a:lnTo>
                    <a:pt x="212" y="450"/>
                  </a:lnTo>
                  <a:lnTo>
                    <a:pt x="205" y="451"/>
                  </a:lnTo>
                  <a:lnTo>
                    <a:pt x="199" y="451"/>
                  </a:lnTo>
                  <a:lnTo>
                    <a:pt x="194" y="451"/>
                  </a:lnTo>
                  <a:lnTo>
                    <a:pt x="189" y="448"/>
                  </a:lnTo>
                  <a:lnTo>
                    <a:pt x="182" y="443"/>
                  </a:lnTo>
                  <a:lnTo>
                    <a:pt x="182" y="443"/>
                  </a:lnTo>
                  <a:lnTo>
                    <a:pt x="166" y="430"/>
                  </a:lnTo>
                  <a:lnTo>
                    <a:pt x="148" y="416"/>
                  </a:lnTo>
                  <a:lnTo>
                    <a:pt x="129" y="402"/>
                  </a:lnTo>
                  <a:lnTo>
                    <a:pt x="129" y="402"/>
                  </a:lnTo>
                  <a:lnTo>
                    <a:pt x="124" y="402"/>
                  </a:lnTo>
                  <a:lnTo>
                    <a:pt x="120" y="402"/>
                  </a:lnTo>
                  <a:lnTo>
                    <a:pt x="117" y="404"/>
                  </a:lnTo>
                  <a:lnTo>
                    <a:pt x="117" y="404"/>
                  </a:lnTo>
                  <a:lnTo>
                    <a:pt x="92" y="428"/>
                  </a:lnTo>
                  <a:lnTo>
                    <a:pt x="74" y="443"/>
                  </a:lnTo>
                  <a:lnTo>
                    <a:pt x="64" y="450"/>
                  </a:lnTo>
                  <a:lnTo>
                    <a:pt x="64" y="450"/>
                  </a:lnTo>
                  <a:lnTo>
                    <a:pt x="60" y="451"/>
                  </a:lnTo>
                  <a:lnTo>
                    <a:pt x="57" y="457"/>
                  </a:lnTo>
                  <a:lnTo>
                    <a:pt x="55" y="462"/>
                  </a:lnTo>
                  <a:lnTo>
                    <a:pt x="57" y="464"/>
                  </a:lnTo>
                  <a:lnTo>
                    <a:pt x="58" y="467"/>
                  </a:lnTo>
                  <a:lnTo>
                    <a:pt x="58" y="467"/>
                  </a:lnTo>
                  <a:lnTo>
                    <a:pt x="65" y="474"/>
                  </a:lnTo>
                  <a:lnTo>
                    <a:pt x="74" y="485"/>
                  </a:lnTo>
                  <a:lnTo>
                    <a:pt x="80" y="495"/>
                  </a:lnTo>
                  <a:lnTo>
                    <a:pt x="81" y="502"/>
                  </a:lnTo>
                  <a:lnTo>
                    <a:pt x="81" y="502"/>
                  </a:lnTo>
                  <a:lnTo>
                    <a:pt x="81" y="508"/>
                  </a:lnTo>
                  <a:lnTo>
                    <a:pt x="81" y="517"/>
                  </a:lnTo>
                  <a:lnTo>
                    <a:pt x="80" y="522"/>
                  </a:lnTo>
                  <a:lnTo>
                    <a:pt x="76" y="525"/>
                  </a:lnTo>
                  <a:lnTo>
                    <a:pt x="71" y="529"/>
                  </a:lnTo>
                  <a:lnTo>
                    <a:pt x="62" y="531"/>
                  </a:lnTo>
                  <a:lnTo>
                    <a:pt x="62" y="531"/>
                  </a:lnTo>
                  <a:lnTo>
                    <a:pt x="57" y="525"/>
                  </a:lnTo>
                  <a:lnTo>
                    <a:pt x="51" y="520"/>
                  </a:lnTo>
                  <a:lnTo>
                    <a:pt x="44" y="518"/>
                  </a:lnTo>
                  <a:lnTo>
                    <a:pt x="44" y="518"/>
                  </a:lnTo>
                  <a:lnTo>
                    <a:pt x="18" y="515"/>
                  </a:lnTo>
                  <a:lnTo>
                    <a:pt x="18" y="515"/>
                  </a:lnTo>
                  <a:lnTo>
                    <a:pt x="13" y="517"/>
                  </a:lnTo>
                  <a:lnTo>
                    <a:pt x="9" y="520"/>
                  </a:lnTo>
                  <a:lnTo>
                    <a:pt x="4" y="525"/>
                  </a:lnTo>
                  <a:lnTo>
                    <a:pt x="0" y="534"/>
                  </a:lnTo>
                  <a:lnTo>
                    <a:pt x="0" y="534"/>
                  </a:lnTo>
                  <a:lnTo>
                    <a:pt x="36" y="575"/>
                  </a:lnTo>
                  <a:lnTo>
                    <a:pt x="36" y="575"/>
                  </a:lnTo>
                  <a:lnTo>
                    <a:pt x="48" y="591"/>
                  </a:lnTo>
                  <a:lnTo>
                    <a:pt x="55" y="603"/>
                  </a:lnTo>
                  <a:lnTo>
                    <a:pt x="60" y="619"/>
                  </a:lnTo>
                  <a:lnTo>
                    <a:pt x="60" y="619"/>
                  </a:lnTo>
                  <a:lnTo>
                    <a:pt x="67" y="642"/>
                  </a:lnTo>
                  <a:lnTo>
                    <a:pt x="67" y="647"/>
                  </a:lnTo>
                  <a:lnTo>
                    <a:pt x="67" y="647"/>
                  </a:lnTo>
                  <a:lnTo>
                    <a:pt x="78" y="642"/>
                  </a:lnTo>
                  <a:lnTo>
                    <a:pt x="87" y="636"/>
                  </a:lnTo>
                  <a:lnTo>
                    <a:pt x="95" y="628"/>
                  </a:lnTo>
                  <a:lnTo>
                    <a:pt x="95" y="628"/>
                  </a:lnTo>
                  <a:lnTo>
                    <a:pt x="102" y="617"/>
                  </a:lnTo>
                  <a:lnTo>
                    <a:pt x="109" y="605"/>
                  </a:lnTo>
                  <a:lnTo>
                    <a:pt x="113" y="601"/>
                  </a:lnTo>
                  <a:lnTo>
                    <a:pt x="120" y="596"/>
                  </a:lnTo>
                  <a:lnTo>
                    <a:pt x="127" y="594"/>
                  </a:lnTo>
                  <a:lnTo>
                    <a:pt x="138" y="592"/>
                  </a:lnTo>
                  <a:lnTo>
                    <a:pt x="138" y="592"/>
                  </a:lnTo>
                  <a:lnTo>
                    <a:pt x="185" y="592"/>
                  </a:lnTo>
                  <a:lnTo>
                    <a:pt x="206" y="592"/>
                  </a:lnTo>
                  <a:lnTo>
                    <a:pt x="213" y="591"/>
                  </a:lnTo>
                  <a:lnTo>
                    <a:pt x="219" y="589"/>
                  </a:lnTo>
                  <a:lnTo>
                    <a:pt x="219" y="589"/>
                  </a:lnTo>
                  <a:lnTo>
                    <a:pt x="257" y="575"/>
                  </a:lnTo>
                  <a:lnTo>
                    <a:pt x="282" y="562"/>
                  </a:lnTo>
                  <a:lnTo>
                    <a:pt x="293" y="555"/>
                  </a:lnTo>
                  <a:lnTo>
                    <a:pt x="300" y="546"/>
                  </a:lnTo>
                  <a:lnTo>
                    <a:pt x="300" y="546"/>
                  </a:lnTo>
                  <a:lnTo>
                    <a:pt x="307" y="539"/>
                  </a:lnTo>
                  <a:lnTo>
                    <a:pt x="312" y="536"/>
                  </a:lnTo>
                  <a:lnTo>
                    <a:pt x="321" y="531"/>
                  </a:lnTo>
                  <a:lnTo>
                    <a:pt x="330" y="527"/>
                  </a:lnTo>
                  <a:lnTo>
                    <a:pt x="333" y="524"/>
                  </a:lnTo>
                  <a:lnTo>
                    <a:pt x="338" y="517"/>
                  </a:lnTo>
                  <a:lnTo>
                    <a:pt x="338" y="517"/>
                  </a:lnTo>
                  <a:lnTo>
                    <a:pt x="342" y="509"/>
                  </a:lnTo>
                  <a:lnTo>
                    <a:pt x="345" y="502"/>
                  </a:lnTo>
                  <a:lnTo>
                    <a:pt x="347" y="487"/>
                  </a:lnTo>
                  <a:lnTo>
                    <a:pt x="351" y="473"/>
                  </a:lnTo>
                  <a:lnTo>
                    <a:pt x="352" y="465"/>
                  </a:lnTo>
                  <a:lnTo>
                    <a:pt x="356" y="458"/>
                  </a:lnTo>
                  <a:lnTo>
                    <a:pt x="356" y="458"/>
                  </a:lnTo>
                  <a:lnTo>
                    <a:pt x="372" y="430"/>
                  </a:lnTo>
                  <a:lnTo>
                    <a:pt x="379" y="416"/>
                  </a:lnTo>
                  <a:lnTo>
                    <a:pt x="382" y="409"/>
                  </a:lnTo>
                  <a:lnTo>
                    <a:pt x="382" y="404"/>
                  </a:lnTo>
                  <a:lnTo>
                    <a:pt x="382" y="404"/>
                  </a:lnTo>
                  <a:lnTo>
                    <a:pt x="382" y="391"/>
                  </a:lnTo>
                  <a:lnTo>
                    <a:pt x="384" y="381"/>
                  </a:lnTo>
                  <a:lnTo>
                    <a:pt x="386" y="374"/>
                  </a:lnTo>
                  <a:lnTo>
                    <a:pt x="388" y="369"/>
                  </a:lnTo>
                  <a:lnTo>
                    <a:pt x="393" y="363"/>
                  </a:lnTo>
                  <a:lnTo>
                    <a:pt x="398" y="356"/>
                  </a:lnTo>
                  <a:lnTo>
                    <a:pt x="398" y="356"/>
                  </a:lnTo>
                  <a:lnTo>
                    <a:pt x="414" y="344"/>
                  </a:lnTo>
                  <a:lnTo>
                    <a:pt x="428" y="332"/>
                  </a:lnTo>
                  <a:lnTo>
                    <a:pt x="442" y="319"/>
                  </a:lnTo>
                  <a:lnTo>
                    <a:pt x="455" y="309"/>
                  </a:lnTo>
                  <a:lnTo>
                    <a:pt x="455" y="309"/>
                  </a:lnTo>
                  <a:lnTo>
                    <a:pt x="463" y="295"/>
                  </a:lnTo>
                  <a:lnTo>
                    <a:pt x="474" y="279"/>
                  </a:lnTo>
                  <a:lnTo>
                    <a:pt x="481" y="263"/>
                  </a:lnTo>
                  <a:lnTo>
                    <a:pt x="483" y="251"/>
                  </a:lnTo>
                  <a:lnTo>
                    <a:pt x="483" y="251"/>
                  </a:lnTo>
                  <a:lnTo>
                    <a:pt x="486" y="198"/>
                  </a:lnTo>
                  <a:lnTo>
                    <a:pt x="492" y="163"/>
                  </a:lnTo>
                  <a:lnTo>
                    <a:pt x="495" y="140"/>
                  </a:lnTo>
                  <a:lnTo>
                    <a:pt x="495" y="140"/>
                  </a:lnTo>
                  <a:lnTo>
                    <a:pt x="516" y="92"/>
                  </a:lnTo>
                  <a:lnTo>
                    <a:pt x="532" y="55"/>
                  </a:lnTo>
                  <a:lnTo>
                    <a:pt x="532" y="55"/>
                  </a:lnTo>
                  <a:lnTo>
                    <a:pt x="529" y="41"/>
                  </a:lnTo>
                  <a:lnTo>
                    <a:pt x="525" y="30"/>
                  </a:lnTo>
                  <a:lnTo>
                    <a:pt x="525" y="3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6" name="Freeform 30">
              <a:extLst>
                <a:ext uri="{FF2B5EF4-FFF2-40B4-BE49-F238E27FC236}">
                  <a16:creationId xmlns:a16="http://schemas.microsoft.com/office/drawing/2014/main" id="{B5314DD9-092D-4F6A-BF48-F73D0DC3D509}"/>
                </a:ext>
              </a:extLst>
            </p:cNvPr>
            <p:cNvSpPr>
              <a:spLocks/>
            </p:cNvSpPr>
            <p:nvPr/>
          </p:nvSpPr>
          <p:spPr bwMode="auto">
            <a:xfrm>
              <a:off x="4312474" y="3728114"/>
              <a:ext cx="1199222" cy="1183162"/>
            </a:xfrm>
            <a:custGeom>
              <a:avLst/>
              <a:gdLst/>
              <a:ahLst/>
              <a:cxnLst>
                <a:cxn ang="0">
                  <a:pos x="194" y="798"/>
                </a:cxn>
                <a:cxn ang="0">
                  <a:pos x="319" y="807"/>
                </a:cxn>
                <a:cxn ang="0">
                  <a:pos x="352" y="859"/>
                </a:cxn>
                <a:cxn ang="0">
                  <a:pos x="363" y="911"/>
                </a:cxn>
                <a:cxn ang="0">
                  <a:pos x="432" y="948"/>
                </a:cxn>
                <a:cxn ang="0">
                  <a:pos x="495" y="944"/>
                </a:cxn>
                <a:cxn ang="0">
                  <a:pos x="571" y="895"/>
                </a:cxn>
                <a:cxn ang="0">
                  <a:pos x="634" y="914"/>
                </a:cxn>
                <a:cxn ang="0">
                  <a:pos x="666" y="916"/>
                </a:cxn>
                <a:cxn ang="0">
                  <a:pos x="703" y="942"/>
                </a:cxn>
                <a:cxn ang="0">
                  <a:pos x="687" y="1025"/>
                </a:cxn>
                <a:cxn ang="0">
                  <a:pos x="705" y="1083"/>
                </a:cxn>
                <a:cxn ang="0">
                  <a:pos x="706" y="1138"/>
                </a:cxn>
                <a:cxn ang="0">
                  <a:pos x="747" y="1150"/>
                </a:cxn>
                <a:cxn ang="0">
                  <a:pos x="856" y="1162"/>
                </a:cxn>
                <a:cxn ang="0">
                  <a:pos x="941" y="1206"/>
                </a:cxn>
                <a:cxn ang="0">
                  <a:pos x="1030" y="1235"/>
                </a:cxn>
                <a:cxn ang="0">
                  <a:pos x="1103" y="1254"/>
                </a:cxn>
                <a:cxn ang="0">
                  <a:pos x="1210" y="1324"/>
                </a:cxn>
                <a:cxn ang="0">
                  <a:pos x="1256" y="1295"/>
                </a:cxn>
                <a:cxn ang="0">
                  <a:pos x="1242" y="1263"/>
                </a:cxn>
                <a:cxn ang="0">
                  <a:pos x="1180" y="1247"/>
                </a:cxn>
                <a:cxn ang="0">
                  <a:pos x="1140" y="1215"/>
                </a:cxn>
                <a:cxn ang="0">
                  <a:pos x="1131" y="1140"/>
                </a:cxn>
                <a:cxn ang="0">
                  <a:pos x="1141" y="1037"/>
                </a:cxn>
                <a:cxn ang="0">
                  <a:pos x="1178" y="990"/>
                </a:cxn>
                <a:cxn ang="0">
                  <a:pos x="1312" y="963"/>
                </a:cxn>
                <a:cxn ang="0">
                  <a:pos x="1270" y="852"/>
                </a:cxn>
                <a:cxn ang="0">
                  <a:pos x="1207" y="713"/>
                </a:cxn>
                <a:cxn ang="0">
                  <a:pos x="1222" y="683"/>
                </a:cxn>
                <a:cxn ang="0">
                  <a:pos x="1222" y="606"/>
                </a:cxn>
                <a:cxn ang="0">
                  <a:pos x="1198" y="549"/>
                </a:cxn>
                <a:cxn ang="0">
                  <a:pos x="1222" y="502"/>
                </a:cxn>
                <a:cxn ang="0">
                  <a:pos x="1224" y="467"/>
                </a:cxn>
                <a:cxn ang="0">
                  <a:pos x="1251" y="366"/>
                </a:cxn>
                <a:cxn ang="0">
                  <a:pos x="1332" y="239"/>
                </a:cxn>
                <a:cxn ang="0">
                  <a:pos x="1342" y="153"/>
                </a:cxn>
                <a:cxn ang="0">
                  <a:pos x="1298" y="81"/>
                </a:cxn>
                <a:cxn ang="0">
                  <a:pos x="1226" y="58"/>
                </a:cxn>
                <a:cxn ang="0">
                  <a:pos x="1155" y="55"/>
                </a:cxn>
                <a:cxn ang="0">
                  <a:pos x="891" y="9"/>
                </a:cxn>
                <a:cxn ang="0">
                  <a:pos x="779" y="26"/>
                </a:cxn>
                <a:cxn ang="0">
                  <a:pos x="749" y="70"/>
                </a:cxn>
                <a:cxn ang="0">
                  <a:pos x="713" y="88"/>
                </a:cxn>
                <a:cxn ang="0">
                  <a:pos x="671" y="81"/>
                </a:cxn>
                <a:cxn ang="0">
                  <a:pos x="604" y="67"/>
                </a:cxn>
                <a:cxn ang="0">
                  <a:pos x="565" y="32"/>
                </a:cxn>
                <a:cxn ang="0">
                  <a:pos x="513" y="21"/>
                </a:cxn>
                <a:cxn ang="0">
                  <a:pos x="493" y="40"/>
                </a:cxn>
                <a:cxn ang="0">
                  <a:pos x="456" y="62"/>
                </a:cxn>
                <a:cxn ang="0">
                  <a:pos x="449" y="113"/>
                </a:cxn>
                <a:cxn ang="0">
                  <a:pos x="432" y="255"/>
                </a:cxn>
                <a:cxn ang="0">
                  <a:pos x="405" y="400"/>
                </a:cxn>
                <a:cxn ang="0">
                  <a:pos x="345" y="465"/>
                </a:cxn>
                <a:cxn ang="0">
                  <a:pos x="315" y="512"/>
                </a:cxn>
                <a:cxn ang="0">
                  <a:pos x="293" y="571"/>
                </a:cxn>
                <a:cxn ang="0">
                  <a:pos x="278" y="627"/>
                </a:cxn>
                <a:cxn ang="0">
                  <a:pos x="233" y="667"/>
                </a:cxn>
                <a:cxn ang="0">
                  <a:pos x="141" y="713"/>
                </a:cxn>
                <a:cxn ang="0">
                  <a:pos x="41" y="727"/>
                </a:cxn>
                <a:cxn ang="0">
                  <a:pos x="23" y="754"/>
                </a:cxn>
                <a:cxn ang="0">
                  <a:pos x="23" y="796"/>
                </a:cxn>
              </a:cxnLst>
              <a:rect l="0" t="0" r="r" b="b"/>
              <a:pathLst>
                <a:path w="1344" h="1324">
                  <a:moveTo>
                    <a:pt x="62" y="807"/>
                  </a:moveTo>
                  <a:lnTo>
                    <a:pt x="62" y="807"/>
                  </a:lnTo>
                  <a:lnTo>
                    <a:pt x="106" y="801"/>
                  </a:lnTo>
                  <a:lnTo>
                    <a:pt x="150" y="800"/>
                  </a:lnTo>
                  <a:lnTo>
                    <a:pt x="194" y="798"/>
                  </a:lnTo>
                  <a:lnTo>
                    <a:pt x="194" y="798"/>
                  </a:lnTo>
                  <a:lnTo>
                    <a:pt x="273" y="798"/>
                  </a:lnTo>
                  <a:lnTo>
                    <a:pt x="289" y="798"/>
                  </a:lnTo>
                  <a:lnTo>
                    <a:pt x="303" y="800"/>
                  </a:lnTo>
                  <a:lnTo>
                    <a:pt x="312" y="801"/>
                  </a:lnTo>
                  <a:lnTo>
                    <a:pt x="319" y="807"/>
                  </a:lnTo>
                  <a:lnTo>
                    <a:pt x="319" y="807"/>
                  </a:lnTo>
                  <a:lnTo>
                    <a:pt x="330" y="815"/>
                  </a:lnTo>
                  <a:lnTo>
                    <a:pt x="342" y="828"/>
                  </a:lnTo>
                  <a:lnTo>
                    <a:pt x="347" y="835"/>
                  </a:lnTo>
                  <a:lnTo>
                    <a:pt x="351" y="842"/>
                  </a:lnTo>
                  <a:lnTo>
                    <a:pt x="352" y="849"/>
                  </a:lnTo>
                  <a:lnTo>
                    <a:pt x="352" y="859"/>
                  </a:lnTo>
                  <a:lnTo>
                    <a:pt x="352" y="859"/>
                  </a:lnTo>
                  <a:lnTo>
                    <a:pt x="352" y="868"/>
                  </a:lnTo>
                  <a:lnTo>
                    <a:pt x="352" y="879"/>
                  </a:lnTo>
                  <a:lnTo>
                    <a:pt x="354" y="889"/>
                  </a:lnTo>
                  <a:lnTo>
                    <a:pt x="358" y="900"/>
                  </a:lnTo>
                  <a:lnTo>
                    <a:pt x="363" y="911"/>
                  </a:lnTo>
                  <a:lnTo>
                    <a:pt x="370" y="919"/>
                  </a:lnTo>
                  <a:lnTo>
                    <a:pt x="379" y="926"/>
                  </a:lnTo>
                  <a:lnTo>
                    <a:pt x="391" y="933"/>
                  </a:lnTo>
                  <a:lnTo>
                    <a:pt x="391" y="933"/>
                  </a:lnTo>
                  <a:lnTo>
                    <a:pt x="418" y="944"/>
                  </a:lnTo>
                  <a:lnTo>
                    <a:pt x="432" y="948"/>
                  </a:lnTo>
                  <a:lnTo>
                    <a:pt x="448" y="951"/>
                  </a:lnTo>
                  <a:lnTo>
                    <a:pt x="462" y="953"/>
                  </a:lnTo>
                  <a:lnTo>
                    <a:pt x="474" y="953"/>
                  </a:lnTo>
                  <a:lnTo>
                    <a:pt x="486" y="949"/>
                  </a:lnTo>
                  <a:lnTo>
                    <a:pt x="495" y="944"/>
                  </a:lnTo>
                  <a:lnTo>
                    <a:pt x="495" y="944"/>
                  </a:lnTo>
                  <a:lnTo>
                    <a:pt x="514" y="926"/>
                  </a:lnTo>
                  <a:lnTo>
                    <a:pt x="527" y="916"/>
                  </a:lnTo>
                  <a:lnTo>
                    <a:pt x="541" y="905"/>
                  </a:lnTo>
                  <a:lnTo>
                    <a:pt x="555" y="898"/>
                  </a:lnTo>
                  <a:lnTo>
                    <a:pt x="562" y="895"/>
                  </a:lnTo>
                  <a:lnTo>
                    <a:pt x="571" y="895"/>
                  </a:lnTo>
                  <a:lnTo>
                    <a:pt x="580" y="893"/>
                  </a:lnTo>
                  <a:lnTo>
                    <a:pt x="588" y="895"/>
                  </a:lnTo>
                  <a:lnTo>
                    <a:pt x="597" y="896"/>
                  </a:lnTo>
                  <a:lnTo>
                    <a:pt x="606" y="902"/>
                  </a:lnTo>
                  <a:lnTo>
                    <a:pt x="606" y="902"/>
                  </a:lnTo>
                  <a:lnTo>
                    <a:pt x="634" y="914"/>
                  </a:lnTo>
                  <a:lnTo>
                    <a:pt x="643" y="918"/>
                  </a:lnTo>
                  <a:lnTo>
                    <a:pt x="648" y="918"/>
                  </a:lnTo>
                  <a:lnTo>
                    <a:pt x="657" y="918"/>
                  </a:lnTo>
                  <a:lnTo>
                    <a:pt x="661" y="916"/>
                  </a:lnTo>
                  <a:lnTo>
                    <a:pt x="666" y="916"/>
                  </a:lnTo>
                  <a:lnTo>
                    <a:pt x="666" y="916"/>
                  </a:lnTo>
                  <a:lnTo>
                    <a:pt x="675" y="916"/>
                  </a:lnTo>
                  <a:lnTo>
                    <a:pt x="682" y="918"/>
                  </a:lnTo>
                  <a:lnTo>
                    <a:pt x="689" y="921"/>
                  </a:lnTo>
                  <a:lnTo>
                    <a:pt x="696" y="926"/>
                  </a:lnTo>
                  <a:lnTo>
                    <a:pt x="699" y="933"/>
                  </a:lnTo>
                  <a:lnTo>
                    <a:pt x="703" y="942"/>
                  </a:lnTo>
                  <a:lnTo>
                    <a:pt x="703" y="956"/>
                  </a:lnTo>
                  <a:lnTo>
                    <a:pt x="699" y="972"/>
                  </a:lnTo>
                  <a:lnTo>
                    <a:pt x="699" y="972"/>
                  </a:lnTo>
                  <a:lnTo>
                    <a:pt x="691" y="1002"/>
                  </a:lnTo>
                  <a:lnTo>
                    <a:pt x="687" y="1013"/>
                  </a:lnTo>
                  <a:lnTo>
                    <a:pt x="687" y="1025"/>
                  </a:lnTo>
                  <a:lnTo>
                    <a:pt x="687" y="1036"/>
                  </a:lnTo>
                  <a:lnTo>
                    <a:pt x="689" y="1046"/>
                  </a:lnTo>
                  <a:lnTo>
                    <a:pt x="692" y="1057"/>
                  </a:lnTo>
                  <a:lnTo>
                    <a:pt x="699" y="1071"/>
                  </a:lnTo>
                  <a:lnTo>
                    <a:pt x="699" y="1071"/>
                  </a:lnTo>
                  <a:lnTo>
                    <a:pt x="705" y="1083"/>
                  </a:lnTo>
                  <a:lnTo>
                    <a:pt x="708" y="1094"/>
                  </a:lnTo>
                  <a:lnTo>
                    <a:pt x="706" y="1103"/>
                  </a:lnTo>
                  <a:lnTo>
                    <a:pt x="706" y="1111"/>
                  </a:lnTo>
                  <a:lnTo>
                    <a:pt x="703" y="1124"/>
                  </a:lnTo>
                  <a:lnTo>
                    <a:pt x="703" y="1131"/>
                  </a:lnTo>
                  <a:lnTo>
                    <a:pt x="706" y="1138"/>
                  </a:lnTo>
                  <a:lnTo>
                    <a:pt x="706" y="1138"/>
                  </a:lnTo>
                  <a:lnTo>
                    <a:pt x="710" y="1141"/>
                  </a:lnTo>
                  <a:lnTo>
                    <a:pt x="713" y="1145"/>
                  </a:lnTo>
                  <a:lnTo>
                    <a:pt x="722" y="1148"/>
                  </a:lnTo>
                  <a:lnTo>
                    <a:pt x="735" y="1150"/>
                  </a:lnTo>
                  <a:lnTo>
                    <a:pt x="747" y="1150"/>
                  </a:lnTo>
                  <a:lnTo>
                    <a:pt x="775" y="1150"/>
                  </a:lnTo>
                  <a:lnTo>
                    <a:pt x="789" y="1148"/>
                  </a:lnTo>
                  <a:lnTo>
                    <a:pt x="803" y="1150"/>
                  </a:lnTo>
                  <a:lnTo>
                    <a:pt x="803" y="1150"/>
                  </a:lnTo>
                  <a:lnTo>
                    <a:pt x="828" y="1155"/>
                  </a:lnTo>
                  <a:lnTo>
                    <a:pt x="856" y="1162"/>
                  </a:lnTo>
                  <a:lnTo>
                    <a:pt x="886" y="1173"/>
                  </a:lnTo>
                  <a:lnTo>
                    <a:pt x="902" y="1182"/>
                  </a:lnTo>
                  <a:lnTo>
                    <a:pt x="918" y="1191"/>
                  </a:lnTo>
                  <a:lnTo>
                    <a:pt x="918" y="1191"/>
                  </a:lnTo>
                  <a:lnTo>
                    <a:pt x="932" y="1199"/>
                  </a:lnTo>
                  <a:lnTo>
                    <a:pt x="941" y="1206"/>
                  </a:lnTo>
                  <a:lnTo>
                    <a:pt x="951" y="1217"/>
                  </a:lnTo>
                  <a:lnTo>
                    <a:pt x="958" y="1221"/>
                  </a:lnTo>
                  <a:lnTo>
                    <a:pt x="967" y="1224"/>
                  </a:lnTo>
                  <a:lnTo>
                    <a:pt x="995" y="1229"/>
                  </a:lnTo>
                  <a:lnTo>
                    <a:pt x="995" y="1229"/>
                  </a:lnTo>
                  <a:lnTo>
                    <a:pt x="1030" y="1235"/>
                  </a:lnTo>
                  <a:lnTo>
                    <a:pt x="1057" y="1236"/>
                  </a:lnTo>
                  <a:lnTo>
                    <a:pt x="1067" y="1238"/>
                  </a:lnTo>
                  <a:lnTo>
                    <a:pt x="1080" y="1242"/>
                  </a:lnTo>
                  <a:lnTo>
                    <a:pt x="1090" y="1245"/>
                  </a:lnTo>
                  <a:lnTo>
                    <a:pt x="1103" y="1254"/>
                  </a:lnTo>
                  <a:lnTo>
                    <a:pt x="1103" y="1254"/>
                  </a:lnTo>
                  <a:lnTo>
                    <a:pt x="1133" y="1275"/>
                  </a:lnTo>
                  <a:lnTo>
                    <a:pt x="1166" y="1302"/>
                  </a:lnTo>
                  <a:lnTo>
                    <a:pt x="1182" y="1312"/>
                  </a:lnTo>
                  <a:lnTo>
                    <a:pt x="1196" y="1321"/>
                  </a:lnTo>
                  <a:lnTo>
                    <a:pt x="1207" y="1324"/>
                  </a:lnTo>
                  <a:lnTo>
                    <a:pt x="1210" y="1324"/>
                  </a:lnTo>
                  <a:lnTo>
                    <a:pt x="1214" y="1324"/>
                  </a:lnTo>
                  <a:lnTo>
                    <a:pt x="1214" y="1324"/>
                  </a:lnTo>
                  <a:lnTo>
                    <a:pt x="1229" y="1316"/>
                  </a:lnTo>
                  <a:lnTo>
                    <a:pt x="1240" y="1309"/>
                  </a:lnTo>
                  <a:lnTo>
                    <a:pt x="1249" y="1302"/>
                  </a:lnTo>
                  <a:lnTo>
                    <a:pt x="1256" y="1295"/>
                  </a:lnTo>
                  <a:lnTo>
                    <a:pt x="1258" y="1289"/>
                  </a:lnTo>
                  <a:lnTo>
                    <a:pt x="1258" y="1286"/>
                  </a:lnTo>
                  <a:lnTo>
                    <a:pt x="1256" y="1280"/>
                  </a:lnTo>
                  <a:lnTo>
                    <a:pt x="1254" y="1275"/>
                  </a:lnTo>
                  <a:lnTo>
                    <a:pt x="1249" y="1268"/>
                  </a:lnTo>
                  <a:lnTo>
                    <a:pt x="1242" y="1263"/>
                  </a:lnTo>
                  <a:lnTo>
                    <a:pt x="1242" y="1263"/>
                  </a:lnTo>
                  <a:lnTo>
                    <a:pt x="1226" y="1254"/>
                  </a:lnTo>
                  <a:lnTo>
                    <a:pt x="1214" y="1249"/>
                  </a:lnTo>
                  <a:lnTo>
                    <a:pt x="1201" y="1247"/>
                  </a:lnTo>
                  <a:lnTo>
                    <a:pt x="1191" y="1245"/>
                  </a:lnTo>
                  <a:lnTo>
                    <a:pt x="1180" y="1247"/>
                  </a:lnTo>
                  <a:lnTo>
                    <a:pt x="1170" y="1245"/>
                  </a:lnTo>
                  <a:lnTo>
                    <a:pt x="1161" y="1242"/>
                  </a:lnTo>
                  <a:lnTo>
                    <a:pt x="1152" y="1235"/>
                  </a:lnTo>
                  <a:lnTo>
                    <a:pt x="1152" y="1235"/>
                  </a:lnTo>
                  <a:lnTo>
                    <a:pt x="1145" y="1226"/>
                  </a:lnTo>
                  <a:lnTo>
                    <a:pt x="1140" y="1215"/>
                  </a:lnTo>
                  <a:lnTo>
                    <a:pt x="1138" y="1206"/>
                  </a:lnTo>
                  <a:lnTo>
                    <a:pt x="1136" y="1199"/>
                  </a:lnTo>
                  <a:lnTo>
                    <a:pt x="1136" y="1182"/>
                  </a:lnTo>
                  <a:lnTo>
                    <a:pt x="1134" y="1164"/>
                  </a:lnTo>
                  <a:lnTo>
                    <a:pt x="1134" y="1164"/>
                  </a:lnTo>
                  <a:lnTo>
                    <a:pt x="1131" y="1140"/>
                  </a:lnTo>
                  <a:lnTo>
                    <a:pt x="1131" y="1106"/>
                  </a:lnTo>
                  <a:lnTo>
                    <a:pt x="1131" y="1088"/>
                  </a:lnTo>
                  <a:lnTo>
                    <a:pt x="1133" y="1071"/>
                  </a:lnTo>
                  <a:lnTo>
                    <a:pt x="1136" y="1053"/>
                  </a:lnTo>
                  <a:lnTo>
                    <a:pt x="1141" y="1037"/>
                  </a:lnTo>
                  <a:lnTo>
                    <a:pt x="1141" y="1037"/>
                  </a:lnTo>
                  <a:lnTo>
                    <a:pt x="1148" y="1013"/>
                  </a:lnTo>
                  <a:lnTo>
                    <a:pt x="1152" y="1004"/>
                  </a:lnTo>
                  <a:lnTo>
                    <a:pt x="1155" y="999"/>
                  </a:lnTo>
                  <a:lnTo>
                    <a:pt x="1159" y="993"/>
                  </a:lnTo>
                  <a:lnTo>
                    <a:pt x="1168" y="992"/>
                  </a:lnTo>
                  <a:lnTo>
                    <a:pt x="1178" y="990"/>
                  </a:lnTo>
                  <a:lnTo>
                    <a:pt x="1194" y="990"/>
                  </a:lnTo>
                  <a:lnTo>
                    <a:pt x="1194" y="990"/>
                  </a:lnTo>
                  <a:lnTo>
                    <a:pt x="1312" y="997"/>
                  </a:lnTo>
                  <a:lnTo>
                    <a:pt x="1312" y="997"/>
                  </a:lnTo>
                  <a:lnTo>
                    <a:pt x="1312" y="988"/>
                  </a:lnTo>
                  <a:lnTo>
                    <a:pt x="1312" y="963"/>
                  </a:lnTo>
                  <a:lnTo>
                    <a:pt x="1310" y="948"/>
                  </a:lnTo>
                  <a:lnTo>
                    <a:pt x="1305" y="930"/>
                  </a:lnTo>
                  <a:lnTo>
                    <a:pt x="1298" y="909"/>
                  </a:lnTo>
                  <a:lnTo>
                    <a:pt x="1289" y="889"/>
                  </a:lnTo>
                  <a:lnTo>
                    <a:pt x="1289" y="889"/>
                  </a:lnTo>
                  <a:lnTo>
                    <a:pt x="1270" y="852"/>
                  </a:lnTo>
                  <a:lnTo>
                    <a:pt x="1254" y="822"/>
                  </a:lnTo>
                  <a:lnTo>
                    <a:pt x="1229" y="764"/>
                  </a:lnTo>
                  <a:lnTo>
                    <a:pt x="1229" y="764"/>
                  </a:lnTo>
                  <a:lnTo>
                    <a:pt x="1217" y="738"/>
                  </a:lnTo>
                  <a:lnTo>
                    <a:pt x="1208" y="720"/>
                  </a:lnTo>
                  <a:lnTo>
                    <a:pt x="1207" y="713"/>
                  </a:lnTo>
                  <a:lnTo>
                    <a:pt x="1205" y="706"/>
                  </a:lnTo>
                  <a:lnTo>
                    <a:pt x="1207" y="701"/>
                  </a:lnTo>
                  <a:lnTo>
                    <a:pt x="1212" y="697"/>
                  </a:lnTo>
                  <a:lnTo>
                    <a:pt x="1212" y="697"/>
                  </a:lnTo>
                  <a:lnTo>
                    <a:pt x="1217" y="690"/>
                  </a:lnTo>
                  <a:lnTo>
                    <a:pt x="1222" y="683"/>
                  </a:lnTo>
                  <a:lnTo>
                    <a:pt x="1226" y="673"/>
                  </a:lnTo>
                  <a:lnTo>
                    <a:pt x="1229" y="660"/>
                  </a:lnTo>
                  <a:lnTo>
                    <a:pt x="1231" y="648"/>
                  </a:lnTo>
                  <a:lnTo>
                    <a:pt x="1231" y="634"/>
                  </a:lnTo>
                  <a:lnTo>
                    <a:pt x="1228" y="620"/>
                  </a:lnTo>
                  <a:lnTo>
                    <a:pt x="1222" y="606"/>
                  </a:lnTo>
                  <a:lnTo>
                    <a:pt x="1222" y="606"/>
                  </a:lnTo>
                  <a:lnTo>
                    <a:pt x="1210" y="583"/>
                  </a:lnTo>
                  <a:lnTo>
                    <a:pt x="1203" y="569"/>
                  </a:lnTo>
                  <a:lnTo>
                    <a:pt x="1198" y="560"/>
                  </a:lnTo>
                  <a:lnTo>
                    <a:pt x="1196" y="555"/>
                  </a:lnTo>
                  <a:lnTo>
                    <a:pt x="1198" y="549"/>
                  </a:lnTo>
                  <a:lnTo>
                    <a:pt x="1198" y="549"/>
                  </a:lnTo>
                  <a:lnTo>
                    <a:pt x="1199" y="537"/>
                  </a:lnTo>
                  <a:lnTo>
                    <a:pt x="1205" y="525"/>
                  </a:lnTo>
                  <a:lnTo>
                    <a:pt x="1214" y="514"/>
                  </a:lnTo>
                  <a:lnTo>
                    <a:pt x="1222" y="502"/>
                  </a:lnTo>
                  <a:lnTo>
                    <a:pt x="1222" y="502"/>
                  </a:lnTo>
                  <a:lnTo>
                    <a:pt x="1226" y="497"/>
                  </a:lnTo>
                  <a:lnTo>
                    <a:pt x="1228" y="491"/>
                  </a:lnTo>
                  <a:lnTo>
                    <a:pt x="1228" y="486"/>
                  </a:lnTo>
                  <a:lnTo>
                    <a:pt x="1226" y="481"/>
                  </a:lnTo>
                  <a:lnTo>
                    <a:pt x="1224" y="474"/>
                  </a:lnTo>
                  <a:lnTo>
                    <a:pt x="1224" y="467"/>
                  </a:lnTo>
                  <a:lnTo>
                    <a:pt x="1224" y="458"/>
                  </a:lnTo>
                  <a:lnTo>
                    <a:pt x="1228" y="446"/>
                  </a:lnTo>
                  <a:lnTo>
                    <a:pt x="1228" y="446"/>
                  </a:lnTo>
                  <a:lnTo>
                    <a:pt x="1243" y="396"/>
                  </a:lnTo>
                  <a:lnTo>
                    <a:pt x="1249" y="377"/>
                  </a:lnTo>
                  <a:lnTo>
                    <a:pt x="1251" y="366"/>
                  </a:lnTo>
                  <a:lnTo>
                    <a:pt x="1251" y="366"/>
                  </a:lnTo>
                  <a:lnTo>
                    <a:pt x="1254" y="359"/>
                  </a:lnTo>
                  <a:lnTo>
                    <a:pt x="1263" y="345"/>
                  </a:lnTo>
                  <a:lnTo>
                    <a:pt x="1291" y="306"/>
                  </a:lnTo>
                  <a:lnTo>
                    <a:pt x="1319" y="261"/>
                  </a:lnTo>
                  <a:lnTo>
                    <a:pt x="1332" y="239"/>
                  </a:lnTo>
                  <a:lnTo>
                    <a:pt x="1339" y="222"/>
                  </a:lnTo>
                  <a:lnTo>
                    <a:pt x="1339" y="222"/>
                  </a:lnTo>
                  <a:lnTo>
                    <a:pt x="1342" y="206"/>
                  </a:lnTo>
                  <a:lnTo>
                    <a:pt x="1344" y="190"/>
                  </a:lnTo>
                  <a:lnTo>
                    <a:pt x="1344" y="171"/>
                  </a:lnTo>
                  <a:lnTo>
                    <a:pt x="1342" y="153"/>
                  </a:lnTo>
                  <a:lnTo>
                    <a:pt x="1337" y="136"/>
                  </a:lnTo>
                  <a:lnTo>
                    <a:pt x="1332" y="118"/>
                  </a:lnTo>
                  <a:lnTo>
                    <a:pt x="1321" y="104"/>
                  </a:lnTo>
                  <a:lnTo>
                    <a:pt x="1310" y="92"/>
                  </a:lnTo>
                  <a:lnTo>
                    <a:pt x="1310" y="92"/>
                  </a:lnTo>
                  <a:lnTo>
                    <a:pt x="1298" y="81"/>
                  </a:lnTo>
                  <a:lnTo>
                    <a:pt x="1286" y="74"/>
                  </a:lnTo>
                  <a:lnTo>
                    <a:pt x="1277" y="69"/>
                  </a:lnTo>
                  <a:lnTo>
                    <a:pt x="1266" y="65"/>
                  </a:lnTo>
                  <a:lnTo>
                    <a:pt x="1247" y="62"/>
                  </a:lnTo>
                  <a:lnTo>
                    <a:pt x="1226" y="58"/>
                  </a:lnTo>
                  <a:lnTo>
                    <a:pt x="1226" y="58"/>
                  </a:lnTo>
                  <a:lnTo>
                    <a:pt x="1214" y="58"/>
                  </a:lnTo>
                  <a:lnTo>
                    <a:pt x="1203" y="58"/>
                  </a:lnTo>
                  <a:lnTo>
                    <a:pt x="1184" y="62"/>
                  </a:lnTo>
                  <a:lnTo>
                    <a:pt x="1175" y="62"/>
                  </a:lnTo>
                  <a:lnTo>
                    <a:pt x="1166" y="60"/>
                  </a:lnTo>
                  <a:lnTo>
                    <a:pt x="1155" y="55"/>
                  </a:lnTo>
                  <a:lnTo>
                    <a:pt x="1145" y="46"/>
                  </a:lnTo>
                  <a:lnTo>
                    <a:pt x="1145" y="46"/>
                  </a:lnTo>
                  <a:lnTo>
                    <a:pt x="1110" y="12"/>
                  </a:lnTo>
                  <a:lnTo>
                    <a:pt x="1096" y="0"/>
                  </a:lnTo>
                  <a:lnTo>
                    <a:pt x="1096" y="0"/>
                  </a:lnTo>
                  <a:lnTo>
                    <a:pt x="891" y="9"/>
                  </a:lnTo>
                  <a:lnTo>
                    <a:pt x="891" y="9"/>
                  </a:lnTo>
                  <a:lnTo>
                    <a:pt x="858" y="10"/>
                  </a:lnTo>
                  <a:lnTo>
                    <a:pt x="823" y="16"/>
                  </a:lnTo>
                  <a:lnTo>
                    <a:pt x="805" y="18"/>
                  </a:lnTo>
                  <a:lnTo>
                    <a:pt x="791" y="23"/>
                  </a:lnTo>
                  <a:lnTo>
                    <a:pt x="779" y="26"/>
                  </a:lnTo>
                  <a:lnTo>
                    <a:pt x="770" y="32"/>
                  </a:lnTo>
                  <a:lnTo>
                    <a:pt x="770" y="32"/>
                  </a:lnTo>
                  <a:lnTo>
                    <a:pt x="764" y="39"/>
                  </a:lnTo>
                  <a:lnTo>
                    <a:pt x="761" y="46"/>
                  </a:lnTo>
                  <a:lnTo>
                    <a:pt x="754" y="63"/>
                  </a:lnTo>
                  <a:lnTo>
                    <a:pt x="749" y="70"/>
                  </a:lnTo>
                  <a:lnTo>
                    <a:pt x="743" y="76"/>
                  </a:lnTo>
                  <a:lnTo>
                    <a:pt x="736" y="81"/>
                  </a:lnTo>
                  <a:lnTo>
                    <a:pt x="728" y="84"/>
                  </a:lnTo>
                  <a:lnTo>
                    <a:pt x="728" y="84"/>
                  </a:lnTo>
                  <a:lnTo>
                    <a:pt x="715" y="86"/>
                  </a:lnTo>
                  <a:lnTo>
                    <a:pt x="713" y="88"/>
                  </a:lnTo>
                  <a:lnTo>
                    <a:pt x="699" y="88"/>
                  </a:lnTo>
                  <a:lnTo>
                    <a:pt x="699" y="88"/>
                  </a:lnTo>
                  <a:lnTo>
                    <a:pt x="685" y="88"/>
                  </a:lnTo>
                  <a:lnTo>
                    <a:pt x="680" y="88"/>
                  </a:lnTo>
                  <a:lnTo>
                    <a:pt x="678" y="86"/>
                  </a:lnTo>
                  <a:lnTo>
                    <a:pt x="671" y="81"/>
                  </a:lnTo>
                  <a:lnTo>
                    <a:pt x="657" y="74"/>
                  </a:lnTo>
                  <a:lnTo>
                    <a:pt x="657" y="74"/>
                  </a:lnTo>
                  <a:lnTo>
                    <a:pt x="647" y="72"/>
                  </a:lnTo>
                  <a:lnTo>
                    <a:pt x="638" y="70"/>
                  </a:lnTo>
                  <a:lnTo>
                    <a:pt x="618" y="69"/>
                  </a:lnTo>
                  <a:lnTo>
                    <a:pt x="604" y="67"/>
                  </a:lnTo>
                  <a:lnTo>
                    <a:pt x="597" y="65"/>
                  </a:lnTo>
                  <a:lnTo>
                    <a:pt x="594" y="63"/>
                  </a:lnTo>
                  <a:lnTo>
                    <a:pt x="594" y="63"/>
                  </a:lnTo>
                  <a:lnTo>
                    <a:pt x="585" y="53"/>
                  </a:lnTo>
                  <a:lnTo>
                    <a:pt x="573" y="39"/>
                  </a:lnTo>
                  <a:lnTo>
                    <a:pt x="565" y="32"/>
                  </a:lnTo>
                  <a:lnTo>
                    <a:pt x="558" y="26"/>
                  </a:lnTo>
                  <a:lnTo>
                    <a:pt x="551" y="21"/>
                  </a:lnTo>
                  <a:lnTo>
                    <a:pt x="543" y="21"/>
                  </a:lnTo>
                  <a:lnTo>
                    <a:pt x="543" y="21"/>
                  </a:lnTo>
                  <a:lnTo>
                    <a:pt x="527" y="21"/>
                  </a:lnTo>
                  <a:lnTo>
                    <a:pt x="513" y="21"/>
                  </a:lnTo>
                  <a:lnTo>
                    <a:pt x="509" y="23"/>
                  </a:lnTo>
                  <a:lnTo>
                    <a:pt x="504" y="25"/>
                  </a:lnTo>
                  <a:lnTo>
                    <a:pt x="500" y="30"/>
                  </a:lnTo>
                  <a:lnTo>
                    <a:pt x="497" y="35"/>
                  </a:lnTo>
                  <a:lnTo>
                    <a:pt x="497" y="35"/>
                  </a:lnTo>
                  <a:lnTo>
                    <a:pt x="493" y="40"/>
                  </a:lnTo>
                  <a:lnTo>
                    <a:pt x="490" y="46"/>
                  </a:lnTo>
                  <a:lnTo>
                    <a:pt x="479" y="55"/>
                  </a:lnTo>
                  <a:lnTo>
                    <a:pt x="467" y="58"/>
                  </a:lnTo>
                  <a:lnTo>
                    <a:pt x="460" y="60"/>
                  </a:lnTo>
                  <a:lnTo>
                    <a:pt x="460" y="60"/>
                  </a:lnTo>
                  <a:lnTo>
                    <a:pt x="456" y="62"/>
                  </a:lnTo>
                  <a:lnTo>
                    <a:pt x="455" y="63"/>
                  </a:lnTo>
                  <a:lnTo>
                    <a:pt x="449" y="70"/>
                  </a:lnTo>
                  <a:lnTo>
                    <a:pt x="446" y="81"/>
                  </a:lnTo>
                  <a:lnTo>
                    <a:pt x="446" y="95"/>
                  </a:lnTo>
                  <a:lnTo>
                    <a:pt x="446" y="95"/>
                  </a:lnTo>
                  <a:lnTo>
                    <a:pt x="449" y="113"/>
                  </a:lnTo>
                  <a:lnTo>
                    <a:pt x="453" y="132"/>
                  </a:lnTo>
                  <a:lnTo>
                    <a:pt x="458" y="151"/>
                  </a:lnTo>
                  <a:lnTo>
                    <a:pt x="465" y="176"/>
                  </a:lnTo>
                  <a:lnTo>
                    <a:pt x="433" y="250"/>
                  </a:lnTo>
                  <a:lnTo>
                    <a:pt x="433" y="250"/>
                  </a:lnTo>
                  <a:lnTo>
                    <a:pt x="432" y="255"/>
                  </a:lnTo>
                  <a:lnTo>
                    <a:pt x="428" y="269"/>
                  </a:lnTo>
                  <a:lnTo>
                    <a:pt x="423" y="294"/>
                  </a:lnTo>
                  <a:lnTo>
                    <a:pt x="419" y="331"/>
                  </a:lnTo>
                  <a:lnTo>
                    <a:pt x="416" y="379"/>
                  </a:lnTo>
                  <a:lnTo>
                    <a:pt x="416" y="379"/>
                  </a:lnTo>
                  <a:lnTo>
                    <a:pt x="405" y="400"/>
                  </a:lnTo>
                  <a:lnTo>
                    <a:pt x="396" y="416"/>
                  </a:lnTo>
                  <a:lnTo>
                    <a:pt x="388" y="430"/>
                  </a:lnTo>
                  <a:lnTo>
                    <a:pt x="388" y="430"/>
                  </a:lnTo>
                  <a:lnTo>
                    <a:pt x="361" y="451"/>
                  </a:lnTo>
                  <a:lnTo>
                    <a:pt x="345" y="465"/>
                  </a:lnTo>
                  <a:lnTo>
                    <a:pt x="345" y="465"/>
                  </a:lnTo>
                  <a:lnTo>
                    <a:pt x="331" y="475"/>
                  </a:lnTo>
                  <a:lnTo>
                    <a:pt x="322" y="488"/>
                  </a:lnTo>
                  <a:lnTo>
                    <a:pt x="319" y="495"/>
                  </a:lnTo>
                  <a:lnTo>
                    <a:pt x="317" y="500"/>
                  </a:lnTo>
                  <a:lnTo>
                    <a:pt x="317" y="500"/>
                  </a:lnTo>
                  <a:lnTo>
                    <a:pt x="315" y="512"/>
                  </a:lnTo>
                  <a:lnTo>
                    <a:pt x="314" y="525"/>
                  </a:lnTo>
                  <a:lnTo>
                    <a:pt x="314" y="535"/>
                  </a:lnTo>
                  <a:lnTo>
                    <a:pt x="312" y="541"/>
                  </a:lnTo>
                  <a:lnTo>
                    <a:pt x="310" y="544"/>
                  </a:lnTo>
                  <a:lnTo>
                    <a:pt x="310" y="544"/>
                  </a:lnTo>
                  <a:lnTo>
                    <a:pt x="293" y="571"/>
                  </a:lnTo>
                  <a:lnTo>
                    <a:pt x="285" y="586"/>
                  </a:lnTo>
                  <a:lnTo>
                    <a:pt x="282" y="597"/>
                  </a:lnTo>
                  <a:lnTo>
                    <a:pt x="282" y="597"/>
                  </a:lnTo>
                  <a:lnTo>
                    <a:pt x="282" y="606"/>
                  </a:lnTo>
                  <a:lnTo>
                    <a:pt x="280" y="620"/>
                  </a:lnTo>
                  <a:lnTo>
                    <a:pt x="278" y="627"/>
                  </a:lnTo>
                  <a:lnTo>
                    <a:pt x="275" y="632"/>
                  </a:lnTo>
                  <a:lnTo>
                    <a:pt x="271" y="639"/>
                  </a:lnTo>
                  <a:lnTo>
                    <a:pt x="266" y="643"/>
                  </a:lnTo>
                  <a:lnTo>
                    <a:pt x="266" y="643"/>
                  </a:lnTo>
                  <a:lnTo>
                    <a:pt x="245" y="657"/>
                  </a:lnTo>
                  <a:lnTo>
                    <a:pt x="233" y="667"/>
                  </a:lnTo>
                  <a:lnTo>
                    <a:pt x="233" y="667"/>
                  </a:lnTo>
                  <a:lnTo>
                    <a:pt x="215" y="682"/>
                  </a:lnTo>
                  <a:lnTo>
                    <a:pt x="201" y="689"/>
                  </a:lnTo>
                  <a:lnTo>
                    <a:pt x="189" y="696"/>
                  </a:lnTo>
                  <a:lnTo>
                    <a:pt x="189" y="696"/>
                  </a:lnTo>
                  <a:lnTo>
                    <a:pt x="141" y="713"/>
                  </a:lnTo>
                  <a:lnTo>
                    <a:pt x="81" y="712"/>
                  </a:lnTo>
                  <a:lnTo>
                    <a:pt x="57" y="715"/>
                  </a:lnTo>
                  <a:lnTo>
                    <a:pt x="57" y="715"/>
                  </a:lnTo>
                  <a:lnTo>
                    <a:pt x="51" y="719"/>
                  </a:lnTo>
                  <a:lnTo>
                    <a:pt x="46" y="722"/>
                  </a:lnTo>
                  <a:lnTo>
                    <a:pt x="41" y="727"/>
                  </a:lnTo>
                  <a:lnTo>
                    <a:pt x="41" y="727"/>
                  </a:lnTo>
                  <a:lnTo>
                    <a:pt x="37" y="733"/>
                  </a:lnTo>
                  <a:lnTo>
                    <a:pt x="34" y="740"/>
                  </a:lnTo>
                  <a:lnTo>
                    <a:pt x="28" y="747"/>
                  </a:lnTo>
                  <a:lnTo>
                    <a:pt x="23" y="754"/>
                  </a:lnTo>
                  <a:lnTo>
                    <a:pt x="23" y="754"/>
                  </a:lnTo>
                  <a:lnTo>
                    <a:pt x="0" y="768"/>
                  </a:lnTo>
                  <a:lnTo>
                    <a:pt x="0" y="768"/>
                  </a:lnTo>
                  <a:lnTo>
                    <a:pt x="4" y="773"/>
                  </a:lnTo>
                  <a:lnTo>
                    <a:pt x="9" y="782"/>
                  </a:lnTo>
                  <a:lnTo>
                    <a:pt x="18" y="793"/>
                  </a:lnTo>
                  <a:lnTo>
                    <a:pt x="23" y="796"/>
                  </a:lnTo>
                  <a:lnTo>
                    <a:pt x="28" y="798"/>
                  </a:lnTo>
                  <a:lnTo>
                    <a:pt x="28" y="798"/>
                  </a:lnTo>
                  <a:lnTo>
                    <a:pt x="62" y="807"/>
                  </a:lnTo>
                  <a:lnTo>
                    <a:pt x="62" y="8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7" name="Freeform 31">
              <a:extLst>
                <a:ext uri="{FF2B5EF4-FFF2-40B4-BE49-F238E27FC236}">
                  <a16:creationId xmlns:a16="http://schemas.microsoft.com/office/drawing/2014/main" id="{AD1395E4-1D62-4562-AB24-3D8393944E85}"/>
                </a:ext>
              </a:extLst>
            </p:cNvPr>
            <p:cNvSpPr>
              <a:spLocks/>
            </p:cNvSpPr>
            <p:nvPr/>
          </p:nvSpPr>
          <p:spPr bwMode="auto">
            <a:xfrm>
              <a:off x="4292844" y="4440152"/>
              <a:ext cx="783420" cy="776283"/>
            </a:xfrm>
            <a:custGeom>
              <a:avLst/>
              <a:gdLst/>
              <a:ahLst/>
              <a:cxnLst>
                <a:cxn ang="0">
                  <a:pos x="770" y="853"/>
                </a:cxn>
                <a:cxn ang="0">
                  <a:pos x="717" y="863"/>
                </a:cxn>
                <a:cxn ang="0">
                  <a:pos x="662" y="868"/>
                </a:cxn>
                <a:cxn ang="0">
                  <a:pos x="617" y="863"/>
                </a:cxn>
                <a:cxn ang="0">
                  <a:pos x="486" y="824"/>
                </a:cxn>
                <a:cxn ang="0">
                  <a:pos x="386" y="812"/>
                </a:cxn>
                <a:cxn ang="0">
                  <a:pos x="196" y="817"/>
                </a:cxn>
                <a:cxn ang="0">
                  <a:pos x="104" y="796"/>
                </a:cxn>
                <a:cxn ang="0">
                  <a:pos x="71" y="798"/>
                </a:cxn>
                <a:cxn ang="0">
                  <a:pos x="30" y="817"/>
                </a:cxn>
                <a:cxn ang="0">
                  <a:pos x="11" y="817"/>
                </a:cxn>
                <a:cxn ang="0">
                  <a:pos x="2" y="777"/>
                </a:cxn>
                <a:cxn ang="0">
                  <a:pos x="21" y="622"/>
                </a:cxn>
                <a:cxn ang="0">
                  <a:pos x="46" y="550"/>
                </a:cxn>
                <a:cxn ang="0">
                  <a:pos x="117" y="479"/>
                </a:cxn>
                <a:cxn ang="0">
                  <a:pos x="138" y="446"/>
                </a:cxn>
                <a:cxn ang="0">
                  <a:pos x="139" y="389"/>
                </a:cxn>
                <a:cxn ang="0">
                  <a:pos x="145" y="372"/>
                </a:cxn>
                <a:cxn ang="0">
                  <a:pos x="154" y="363"/>
                </a:cxn>
                <a:cxn ang="0">
                  <a:pos x="122" y="307"/>
                </a:cxn>
                <a:cxn ang="0">
                  <a:pos x="108" y="250"/>
                </a:cxn>
                <a:cxn ang="0">
                  <a:pos x="111" y="176"/>
                </a:cxn>
                <a:cxn ang="0">
                  <a:pos x="106" y="134"/>
                </a:cxn>
                <a:cxn ang="0">
                  <a:pos x="62" y="37"/>
                </a:cxn>
                <a:cxn ang="0">
                  <a:pos x="64" y="23"/>
                </a:cxn>
                <a:cxn ang="0">
                  <a:pos x="180" y="0"/>
                </a:cxn>
                <a:cxn ang="0">
                  <a:pos x="331" y="5"/>
                </a:cxn>
                <a:cxn ang="0">
                  <a:pos x="368" y="34"/>
                </a:cxn>
                <a:cxn ang="0">
                  <a:pos x="375" y="63"/>
                </a:cxn>
                <a:cxn ang="0">
                  <a:pos x="379" y="99"/>
                </a:cxn>
                <a:cxn ang="0">
                  <a:pos x="395" y="125"/>
                </a:cxn>
                <a:cxn ang="0">
                  <a:pos x="467" y="155"/>
                </a:cxn>
                <a:cxn ang="0">
                  <a:pos x="500" y="157"/>
                </a:cxn>
                <a:cxn ang="0">
                  <a:pos x="543" y="123"/>
                </a:cxn>
                <a:cxn ang="0">
                  <a:pos x="574" y="102"/>
                </a:cxn>
                <a:cxn ang="0">
                  <a:pos x="622" y="102"/>
                </a:cxn>
                <a:cxn ang="0">
                  <a:pos x="675" y="123"/>
                </a:cxn>
                <a:cxn ang="0">
                  <a:pos x="696" y="118"/>
                </a:cxn>
                <a:cxn ang="0">
                  <a:pos x="717" y="127"/>
                </a:cxn>
                <a:cxn ang="0">
                  <a:pos x="728" y="155"/>
                </a:cxn>
                <a:cxn ang="0">
                  <a:pos x="721" y="183"/>
                </a:cxn>
                <a:cxn ang="0">
                  <a:pos x="710" y="229"/>
                </a:cxn>
                <a:cxn ang="0">
                  <a:pos x="722" y="275"/>
                </a:cxn>
                <a:cxn ang="0">
                  <a:pos x="728" y="314"/>
                </a:cxn>
                <a:cxn ang="0">
                  <a:pos x="729" y="344"/>
                </a:cxn>
                <a:cxn ang="0">
                  <a:pos x="745" y="352"/>
                </a:cxn>
                <a:cxn ang="0">
                  <a:pos x="819" y="356"/>
                </a:cxn>
                <a:cxn ang="0">
                  <a:pos x="877" y="365"/>
                </a:cxn>
                <a:cxn ang="0">
                  <a:pos x="868" y="375"/>
                </a:cxn>
                <a:cxn ang="0">
                  <a:pos x="858" y="428"/>
                </a:cxn>
                <a:cxn ang="0">
                  <a:pos x="856" y="484"/>
                </a:cxn>
                <a:cxn ang="0">
                  <a:pos x="846" y="507"/>
                </a:cxn>
                <a:cxn ang="0">
                  <a:pos x="803" y="507"/>
                </a:cxn>
                <a:cxn ang="0">
                  <a:pos x="738" y="504"/>
                </a:cxn>
                <a:cxn ang="0">
                  <a:pos x="717" y="513"/>
                </a:cxn>
                <a:cxn ang="0">
                  <a:pos x="710" y="557"/>
                </a:cxn>
                <a:cxn ang="0">
                  <a:pos x="714" y="655"/>
                </a:cxn>
                <a:cxn ang="0">
                  <a:pos x="710" y="701"/>
                </a:cxn>
                <a:cxn ang="0">
                  <a:pos x="712" y="736"/>
                </a:cxn>
                <a:cxn ang="0">
                  <a:pos x="765" y="803"/>
                </a:cxn>
                <a:cxn ang="0">
                  <a:pos x="789" y="828"/>
                </a:cxn>
                <a:cxn ang="0">
                  <a:pos x="786" y="842"/>
                </a:cxn>
              </a:cxnLst>
              <a:rect l="0" t="0" r="r" b="b"/>
              <a:pathLst>
                <a:path w="879" h="870">
                  <a:moveTo>
                    <a:pt x="786" y="842"/>
                  </a:moveTo>
                  <a:lnTo>
                    <a:pt x="786" y="842"/>
                  </a:lnTo>
                  <a:lnTo>
                    <a:pt x="782" y="846"/>
                  </a:lnTo>
                  <a:lnTo>
                    <a:pt x="770" y="853"/>
                  </a:lnTo>
                  <a:lnTo>
                    <a:pt x="761" y="858"/>
                  </a:lnTo>
                  <a:lnTo>
                    <a:pt x="749" y="860"/>
                  </a:lnTo>
                  <a:lnTo>
                    <a:pt x="735" y="863"/>
                  </a:lnTo>
                  <a:lnTo>
                    <a:pt x="717" y="863"/>
                  </a:lnTo>
                  <a:lnTo>
                    <a:pt x="717" y="863"/>
                  </a:lnTo>
                  <a:lnTo>
                    <a:pt x="701" y="865"/>
                  </a:lnTo>
                  <a:lnTo>
                    <a:pt x="685" y="865"/>
                  </a:lnTo>
                  <a:lnTo>
                    <a:pt x="662" y="868"/>
                  </a:lnTo>
                  <a:lnTo>
                    <a:pt x="652" y="870"/>
                  </a:lnTo>
                  <a:lnTo>
                    <a:pt x="640" y="870"/>
                  </a:lnTo>
                  <a:lnTo>
                    <a:pt x="629" y="868"/>
                  </a:lnTo>
                  <a:lnTo>
                    <a:pt x="617" y="863"/>
                  </a:lnTo>
                  <a:lnTo>
                    <a:pt x="617" y="863"/>
                  </a:lnTo>
                  <a:lnTo>
                    <a:pt x="581" y="851"/>
                  </a:lnTo>
                  <a:lnTo>
                    <a:pt x="537" y="837"/>
                  </a:lnTo>
                  <a:lnTo>
                    <a:pt x="486" y="824"/>
                  </a:lnTo>
                  <a:lnTo>
                    <a:pt x="441" y="814"/>
                  </a:lnTo>
                  <a:lnTo>
                    <a:pt x="441" y="814"/>
                  </a:lnTo>
                  <a:lnTo>
                    <a:pt x="416" y="812"/>
                  </a:lnTo>
                  <a:lnTo>
                    <a:pt x="386" y="812"/>
                  </a:lnTo>
                  <a:lnTo>
                    <a:pt x="316" y="814"/>
                  </a:lnTo>
                  <a:lnTo>
                    <a:pt x="247" y="817"/>
                  </a:lnTo>
                  <a:lnTo>
                    <a:pt x="219" y="817"/>
                  </a:lnTo>
                  <a:lnTo>
                    <a:pt x="196" y="817"/>
                  </a:lnTo>
                  <a:lnTo>
                    <a:pt x="196" y="817"/>
                  </a:lnTo>
                  <a:lnTo>
                    <a:pt x="166" y="812"/>
                  </a:lnTo>
                  <a:lnTo>
                    <a:pt x="143" y="807"/>
                  </a:lnTo>
                  <a:lnTo>
                    <a:pt x="104" y="796"/>
                  </a:lnTo>
                  <a:lnTo>
                    <a:pt x="104" y="796"/>
                  </a:lnTo>
                  <a:lnTo>
                    <a:pt x="94" y="794"/>
                  </a:lnTo>
                  <a:lnTo>
                    <a:pt x="83" y="794"/>
                  </a:lnTo>
                  <a:lnTo>
                    <a:pt x="71" y="798"/>
                  </a:lnTo>
                  <a:lnTo>
                    <a:pt x="60" y="801"/>
                  </a:lnTo>
                  <a:lnTo>
                    <a:pt x="41" y="810"/>
                  </a:lnTo>
                  <a:lnTo>
                    <a:pt x="30" y="817"/>
                  </a:lnTo>
                  <a:lnTo>
                    <a:pt x="30" y="817"/>
                  </a:lnTo>
                  <a:lnTo>
                    <a:pt x="25" y="819"/>
                  </a:lnTo>
                  <a:lnTo>
                    <a:pt x="21" y="821"/>
                  </a:lnTo>
                  <a:lnTo>
                    <a:pt x="16" y="819"/>
                  </a:lnTo>
                  <a:lnTo>
                    <a:pt x="11" y="817"/>
                  </a:lnTo>
                  <a:lnTo>
                    <a:pt x="6" y="812"/>
                  </a:lnTo>
                  <a:lnTo>
                    <a:pt x="2" y="803"/>
                  </a:lnTo>
                  <a:lnTo>
                    <a:pt x="0" y="793"/>
                  </a:lnTo>
                  <a:lnTo>
                    <a:pt x="2" y="777"/>
                  </a:lnTo>
                  <a:lnTo>
                    <a:pt x="2" y="777"/>
                  </a:lnTo>
                  <a:lnTo>
                    <a:pt x="7" y="726"/>
                  </a:lnTo>
                  <a:lnTo>
                    <a:pt x="16" y="655"/>
                  </a:lnTo>
                  <a:lnTo>
                    <a:pt x="21" y="622"/>
                  </a:lnTo>
                  <a:lnTo>
                    <a:pt x="28" y="590"/>
                  </a:lnTo>
                  <a:lnTo>
                    <a:pt x="37" y="565"/>
                  </a:lnTo>
                  <a:lnTo>
                    <a:pt x="41" y="555"/>
                  </a:lnTo>
                  <a:lnTo>
                    <a:pt x="46" y="550"/>
                  </a:lnTo>
                  <a:lnTo>
                    <a:pt x="46" y="550"/>
                  </a:lnTo>
                  <a:lnTo>
                    <a:pt x="69" y="527"/>
                  </a:lnTo>
                  <a:lnTo>
                    <a:pt x="94" y="504"/>
                  </a:lnTo>
                  <a:lnTo>
                    <a:pt x="117" y="479"/>
                  </a:lnTo>
                  <a:lnTo>
                    <a:pt x="125" y="469"/>
                  </a:lnTo>
                  <a:lnTo>
                    <a:pt x="132" y="458"/>
                  </a:lnTo>
                  <a:lnTo>
                    <a:pt x="132" y="458"/>
                  </a:lnTo>
                  <a:lnTo>
                    <a:pt x="138" y="446"/>
                  </a:lnTo>
                  <a:lnTo>
                    <a:pt x="141" y="435"/>
                  </a:lnTo>
                  <a:lnTo>
                    <a:pt x="141" y="423"/>
                  </a:lnTo>
                  <a:lnTo>
                    <a:pt x="141" y="410"/>
                  </a:lnTo>
                  <a:lnTo>
                    <a:pt x="139" y="389"/>
                  </a:lnTo>
                  <a:lnTo>
                    <a:pt x="141" y="381"/>
                  </a:lnTo>
                  <a:lnTo>
                    <a:pt x="143" y="375"/>
                  </a:lnTo>
                  <a:lnTo>
                    <a:pt x="143" y="375"/>
                  </a:lnTo>
                  <a:lnTo>
                    <a:pt x="145" y="372"/>
                  </a:lnTo>
                  <a:lnTo>
                    <a:pt x="148" y="370"/>
                  </a:lnTo>
                  <a:lnTo>
                    <a:pt x="154" y="366"/>
                  </a:lnTo>
                  <a:lnTo>
                    <a:pt x="154" y="365"/>
                  </a:lnTo>
                  <a:lnTo>
                    <a:pt x="154" y="363"/>
                  </a:lnTo>
                  <a:lnTo>
                    <a:pt x="146" y="352"/>
                  </a:lnTo>
                  <a:lnTo>
                    <a:pt x="146" y="352"/>
                  </a:lnTo>
                  <a:lnTo>
                    <a:pt x="134" y="333"/>
                  </a:lnTo>
                  <a:lnTo>
                    <a:pt x="122" y="307"/>
                  </a:lnTo>
                  <a:lnTo>
                    <a:pt x="117" y="294"/>
                  </a:lnTo>
                  <a:lnTo>
                    <a:pt x="111" y="280"/>
                  </a:lnTo>
                  <a:lnTo>
                    <a:pt x="108" y="264"/>
                  </a:lnTo>
                  <a:lnTo>
                    <a:pt x="108" y="250"/>
                  </a:lnTo>
                  <a:lnTo>
                    <a:pt x="108" y="250"/>
                  </a:lnTo>
                  <a:lnTo>
                    <a:pt x="108" y="224"/>
                  </a:lnTo>
                  <a:lnTo>
                    <a:pt x="111" y="201"/>
                  </a:lnTo>
                  <a:lnTo>
                    <a:pt x="111" y="176"/>
                  </a:lnTo>
                  <a:lnTo>
                    <a:pt x="111" y="164"/>
                  </a:lnTo>
                  <a:lnTo>
                    <a:pt x="109" y="150"/>
                  </a:lnTo>
                  <a:lnTo>
                    <a:pt x="109" y="150"/>
                  </a:lnTo>
                  <a:lnTo>
                    <a:pt x="106" y="134"/>
                  </a:lnTo>
                  <a:lnTo>
                    <a:pt x="99" y="116"/>
                  </a:lnTo>
                  <a:lnTo>
                    <a:pt x="83" y="79"/>
                  </a:lnTo>
                  <a:lnTo>
                    <a:pt x="67" y="48"/>
                  </a:lnTo>
                  <a:lnTo>
                    <a:pt x="62" y="37"/>
                  </a:lnTo>
                  <a:lnTo>
                    <a:pt x="60" y="30"/>
                  </a:lnTo>
                  <a:lnTo>
                    <a:pt x="60" y="30"/>
                  </a:lnTo>
                  <a:lnTo>
                    <a:pt x="62" y="26"/>
                  </a:lnTo>
                  <a:lnTo>
                    <a:pt x="64" y="23"/>
                  </a:lnTo>
                  <a:lnTo>
                    <a:pt x="73" y="18"/>
                  </a:lnTo>
                  <a:lnTo>
                    <a:pt x="85" y="11"/>
                  </a:lnTo>
                  <a:lnTo>
                    <a:pt x="180" y="0"/>
                  </a:lnTo>
                  <a:lnTo>
                    <a:pt x="180" y="0"/>
                  </a:lnTo>
                  <a:lnTo>
                    <a:pt x="300" y="2"/>
                  </a:lnTo>
                  <a:lnTo>
                    <a:pt x="300" y="2"/>
                  </a:lnTo>
                  <a:lnTo>
                    <a:pt x="321" y="4"/>
                  </a:lnTo>
                  <a:lnTo>
                    <a:pt x="331" y="5"/>
                  </a:lnTo>
                  <a:lnTo>
                    <a:pt x="342" y="11"/>
                  </a:lnTo>
                  <a:lnTo>
                    <a:pt x="342" y="11"/>
                  </a:lnTo>
                  <a:lnTo>
                    <a:pt x="361" y="25"/>
                  </a:lnTo>
                  <a:lnTo>
                    <a:pt x="368" y="34"/>
                  </a:lnTo>
                  <a:lnTo>
                    <a:pt x="372" y="39"/>
                  </a:lnTo>
                  <a:lnTo>
                    <a:pt x="372" y="39"/>
                  </a:lnTo>
                  <a:lnTo>
                    <a:pt x="375" y="48"/>
                  </a:lnTo>
                  <a:lnTo>
                    <a:pt x="375" y="63"/>
                  </a:lnTo>
                  <a:lnTo>
                    <a:pt x="375" y="63"/>
                  </a:lnTo>
                  <a:lnTo>
                    <a:pt x="375" y="74"/>
                  </a:lnTo>
                  <a:lnTo>
                    <a:pt x="377" y="90"/>
                  </a:lnTo>
                  <a:lnTo>
                    <a:pt x="379" y="99"/>
                  </a:lnTo>
                  <a:lnTo>
                    <a:pt x="382" y="108"/>
                  </a:lnTo>
                  <a:lnTo>
                    <a:pt x="388" y="116"/>
                  </a:lnTo>
                  <a:lnTo>
                    <a:pt x="395" y="125"/>
                  </a:lnTo>
                  <a:lnTo>
                    <a:pt x="395" y="125"/>
                  </a:lnTo>
                  <a:lnTo>
                    <a:pt x="416" y="137"/>
                  </a:lnTo>
                  <a:lnTo>
                    <a:pt x="441" y="146"/>
                  </a:lnTo>
                  <a:lnTo>
                    <a:pt x="453" y="152"/>
                  </a:lnTo>
                  <a:lnTo>
                    <a:pt x="467" y="155"/>
                  </a:lnTo>
                  <a:lnTo>
                    <a:pt x="467" y="155"/>
                  </a:lnTo>
                  <a:lnTo>
                    <a:pt x="472" y="155"/>
                  </a:lnTo>
                  <a:lnTo>
                    <a:pt x="486" y="157"/>
                  </a:lnTo>
                  <a:lnTo>
                    <a:pt x="500" y="157"/>
                  </a:lnTo>
                  <a:lnTo>
                    <a:pt x="507" y="155"/>
                  </a:lnTo>
                  <a:lnTo>
                    <a:pt x="513" y="152"/>
                  </a:lnTo>
                  <a:lnTo>
                    <a:pt x="513" y="152"/>
                  </a:lnTo>
                  <a:lnTo>
                    <a:pt x="543" y="123"/>
                  </a:lnTo>
                  <a:lnTo>
                    <a:pt x="560" y="109"/>
                  </a:lnTo>
                  <a:lnTo>
                    <a:pt x="567" y="106"/>
                  </a:lnTo>
                  <a:lnTo>
                    <a:pt x="574" y="102"/>
                  </a:lnTo>
                  <a:lnTo>
                    <a:pt x="574" y="102"/>
                  </a:lnTo>
                  <a:lnTo>
                    <a:pt x="596" y="97"/>
                  </a:lnTo>
                  <a:lnTo>
                    <a:pt x="608" y="97"/>
                  </a:lnTo>
                  <a:lnTo>
                    <a:pt x="615" y="99"/>
                  </a:lnTo>
                  <a:lnTo>
                    <a:pt x="622" y="102"/>
                  </a:lnTo>
                  <a:lnTo>
                    <a:pt x="622" y="102"/>
                  </a:lnTo>
                  <a:lnTo>
                    <a:pt x="654" y="116"/>
                  </a:lnTo>
                  <a:lnTo>
                    <a:pt x="666" y="122"/>
                  </a:lnTo>
                  <a:lnTo>
                    <a:pt x="675" y="123"/>
                  </a:lnTo>
                  <a:lnTo>
                    <a:pt x="675" y="123"/>
                  </a:lnTo>
                  <a:lnTo>
                    <a:pt x="682" y="122"/>
                  </a:lnTo>
                  <a:lnTo>
                    <a:pt x="691" y="120"/>
                  </a:lnTo>
                  <a:lnTo>
                    <a:pt x="696" y="118"/>
                  </a:lnTo>
                  <a:lnTo>
                    <a:pt x="703" y="120"/>
                  </a:lnTo>
                  <a:lnTo>
                    <a:pt x="710" y="122"/>
                  </a:lnTo>
                  <a:lnTo>
                    <a:pt x="717" y="127"/>
                  </a:lnTo>
                  <a:lnTo>
                    <a:pt x="717" y="127"/>
                  </a:lnTo>
                  <a:lnTo>
                    <a:pt x="722" y="132"/>
                  </a:lnTo>
                  <a:lnTo>
                    <a:pt x="726" y="139"/>
                  </a:lnTo>
                  <a:lnTo>
                    <a:pt x="728" y="148"/>
                  </a:lnTo>
                  <a:lnTo>
                    <a:pt x="728" y="155"/>
                  </a:lnTo>
                  <a:lnTo>
                    <a:pt x="724" y="167"/>
                  </a:lnTo>
                  <a:lnTo>
                    <a:pt x="722" y="176"/>
                  </a:lnTo>
                  <a:lnTo>
                    <a:pt x="722" y="176"/>
                  </a:lnTo>
                  <a:lnTo>
                    <a:pt x="721" y="183"/>
                  </a:lnTo>
                  <a:lnTo>
                    <a:pt x="715" y="199"/>
                  </a:lnTo>
                  <a:lnTo>
                    <a:pt x="710" y="215"/>
                  </a:lnTo>
                  <a:lnTo>
                    <a:pt x="710" y="224"/>
                  </a:lnTo>
                  <a:lnTo>
                    <a:pt x="710" y="229"/>
                  </a:lnTo>
                  <a:lnTo>
                    <a:pt x="710" y="229"/>
                  </a:lnTo>
                  <a:lnTo>
                    <a:pt x="712" y="241"/>
                  </a:lnTo>
                  <a:lnTo>
                    <a:pt x="715" y="252"/>
                  </a:lnTo>
                  <a:lnTo>
                    <a:pt x="722" y="275"/>
                  </a:lnTo>
                  <a:lnTo>
                    <a:pt x="722" y="275"/>
                  </a:lnTo>
                  <a:lnTo>
                    <a:pt x="728" y="294"/>
                  </a:lnTo>
                  <a:lnTo>
                    <a:pt x="728" y="303"/>
                  </a:lnTo>
                  <a:lnTo>
                    <a:pt x="728" y="314"/>
                  </a:lnTo>
                  <a:lnTo>
                    <a:pt x="728" y="314"/>
                  </a:lnTo>
                  <a:lnTo>
                    <a:pt x="726" y="326"/>
                  </a:lnTo>
                  <a:lnTo>
                    <a:pt x="726" y="336"/>
                  </a:lnTo>
                  <a:lnTo>
                    <a:pt x="729" y="344"/>
                  </a:lnTo>
                  <a:lnTo>
                    <a:pt x="733" y="347"/>
                  </a:lnTo>
                  <a:lnTo>
                    <a:pt x="736" y="349"/>
                  </a:lnTo>
                  <a:lnTo>
                    <a:pt x="736" y="349"/>
                  </a:lnTo>
                  <a:lnTo>
                    <a:pt x="745" y="352"/>
                  </a:lnTo>
                  <a:lnTo>
                    <a:pt x="756" y="352"/>
                  </a:lnTo>
                  <a:lnTo>
                    <a:pt x="784" y="354"/>
                  </a:lnTo>
                  <a:lnTo>
                    <a:pt x="784" y="354"/>
                  </a:lnTo>
                  <a:lnTo>
                    <a:pt x="819" y="356"/>
                  </a:lnTo>
                  <a:lnTo>
                    <a:pt x="839" y="358"/>
                  </a:lnTo>
                  <a:lnTo>
                    <a:pt x="861" y="361"/>
                  </a:lnTo>
                  <a:lnTo>
                    <a:pt x="861" y="361"/>
                  </a:lnTo>
                  <a:lnTo>
                    <a:pt x="877" y="365"/>
                  </a:lnTo>
                  <a:lnTo>
                    <a:pt x="879" y="365"/>
                  </a:lnTo>
                  <a:lnTo>
                    <a:pt x="876" y="368"/>
                  </a:lnTo>
                  <a:lnTo>
                    <a:pt x="872" y="370"/>
                  </a:lnTo>
                  <a:lnTo>
                    <a:pt x="868" y="375"/>
                  </a:lnTo>
                  <a:lnTo>
                    <a:pt x="868" y="375"/>
                  </a:lnTo>
                  <a:lnTo>
                    <a:pt x="865" y="389"/>
                  </a:lnTo>
                  <a:lnTo>
                    <a:pt x="860" y="409"/>
                  </a:lnTo>
                  <a:lnTo>
                    <a:pt x="858" y="428"/>
                  </a:lnTo>
                  <a:lnTo>
                    <a:pt x="856" y="447"/>
                  </a:lnTo>
                  <a:lnTo>
                    <a:pt x="856" y="447"/>
                  </a:lnTo>
                  <a:lnTo>
                    <a:pt x="856" y="465"/>
                  </a:lnTo>
                  <a:lnTo>
                    <a:pt x="856" y="484"/>
                  </a:lnTo>
                  <a:lnTo>
                    <a:pt x="856" y="493"/>
                  </a:lnTo>
                  <a:lnTo>
                    <a:pt x="854" y="500"/>
                  </a:lnTo>
                  <a:lnTo>
                    <a:pt x="851" y="506"/>
                  </a:lnTo>
                  <a:lnTo>
                    <a:pt x="846" y="507"/>
                  </a:lnTo>
                  <a:lnTo>
                    <a:pt x="846" y="507"/>
                  </a:lnTo>
                  <a:lnTo>
                    <a:pt x="833" y="509"/>
                  </a:lnTo>
                  <a:lnTo>
                    <a:pt x="821" y="509"/>
                  </a:lnTo>
                  <a:lnTo>
                    <a:pt x="803" y="507"/>
                  </a:lnTo>
                  <a:lnTo>
                    <a:pt x="780" y="507"/>
                  </a:lnTo>
                  <a:lnTo>
                    <a:pt x="780" y="507"/>
                  </a:lnTo>
                  <a:lnTo>
                    <a:pt x="758" y="507"/>
                  </a:lnTo>
                  <a:lnTo>
                    <a:pt x="738" y="504"/>
                  </a:lnTo>
                  <a:lnTo>
                    <a:pt x="731" y="504"/>
                  </a:lnTo>
                  <a:lnTo>
                    <a:pt x="726" y="506"/>
                  </a:lnTo>
                  <a:lnTo>
                    <a:pt x="721" y="507"/>
                  </a:lnTo>
                  <a:lnTo>
                    <a:pt x="717" y="513"/>
                  </a:lnTo>
                  <a:lnTo>
                    <a:pt x="717" y="513"/>
                  </a:lnTo>
                  <a:lnTo>
                    <a:pt x="714" y="520"/>
                  </a:lnTo>
                  <a:lnTo>
                    <a:pt x="712" y="530"/>
                  </a:lnTo>
                  <a:lnTo>
                    <a:pt x="710" y="557"/>
                  </a:lnTo>
                  <a:lnTo>
                    <a:pt x="710" y="606"/>
                  </a:lnTo>
                  <a:lnTo>
                    <a:pt x="710" y="606"/>
                  </a:lnTo>
                  <a:lnTo>
                    <a:pt x="710" y="627"/>
                  </a:lnTo>
                  <a:lnTo>
                    <a:pt x="714" y="655"/>
                  </a:lnTo>
                  <a:lnTo>
                    <a:pt x="714" y="683"/>
                  </a:lnTo>
                  <a:lnTo>
                    <a:pt x="714" y="694"/>
                  </a:lnTo>
                  <a:lnTo>
                    <a:pt x="710" y="701"/>
                  </a:lnTo>
                  <a:lnTo>
                    <a:pt x="710" y="701"/>
                  </a:lnTo>
                  <a:lnTo>
                    <a:pt x="708" y="706"/>
                  </a:lnTo>
                  <a:lnTo>
                    <a:pt x="706" y="712"/>
                  </a:lnTo>
                  <a:lnTo>
                    <a:pt x="708" y="724"/>
                  </a:lnTo>
                  <a:lnTo>
                    <a:pt x="712" y="736"/>
                  </a:lnTo>
                  <a:lnTo>
                    <a:pt x="717" y="743"/>
                  </a:lnTo>
                  <a:lnTo>
                    <a:pt x="717" y="743"/>
                  </a:lnTo>
                  <a:lnTo>
                    <a:pt x="740" y="772"/>
                  </a:lnTo>
                  <a:lnTo>
                    <a:pt x="765" y="803"/>
                  </a:lnTo>
                  <a:lnTo>
                    <a:pt x="765" y="803"/>
                  </a:lnTo>
                  <a:lnTo>
                    <a:pt x="775" y="812"/>
                  </a:lnTo>
                  <a:lnTo>
                    <a:pt x="786" y="823"/>
                  </a:lnTo>
                  <a:lnTo>
                    <a:pt x="789" y="828"/>
                  </a:lnTo>
                  <a:lnTo>
                    <a:pt x="791" y="833"/>
                  </a:lnTo>
                  <a:lnTo>
                    <a:pt x="789" y="838"/>
                  </a:lnTo>
                  <a:lnTo>
                    <a:pt x="786" y="842"/>
                  </a:lnTo>
                  <a:lnTo>
                    <a:pt x="786" y="84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8" name="Freeform 32">
              <a:extLst>
                <a:ext uri="{FF2B5EF4-FFF2-40B4-BE49-F238E27FC236}">
                  <a16:creationId xmlns:a16="http://schemas.microsoft.com/office/drawing/2014/main" id="{7DAB5AC5-4CBD-4568-BEB3-AE48D9DE969B}"/>
                </a:ext>
              </a:extLst>
            </p:cNvPr>
            <p:cNvSpPr>
              <a:spLocks/>
            </p:cNvSpPr>
            <p:nvPr/>
          </p:nvSpPr>
          <p:spPr bwMode="auto">
            <a:xfrm>
              <a:off x="4292844" y="5148621"/>
              <a:ext cx="820896" cy="779852"/>
            </a:xfrm>
            <a:custGeom>
              <a:avLst/>
              <a:gdLst/>
              <a:ahLst/>
              <a:cxnLst>
                <a:cxn ang="0">
                  <a:pos x="280" y="839"/>
                </a:cxn>
                <a:cxn ang="0">
                  <a:pos x="296" y="818"/>
                </a:cxn>
                <a:cxn ang="0">
                  <a:pos x="328" y="825"/>
                </a:cxn>
                <a:cxn ang="0">
                  <a:pos x="353" y="846"/>
                </a:cxn>
                <a:cxn ang="0">
                  <a:pos x="363" y="862"/>
                </a:cxn>
                <a:cxn ang="0">
                  <a:pos x="416" y="876"/>
                </a:cxn>
                <a:cxn ang="0">
                  <a:pos x="481" y="876"/>
                </a:cxn>
                <a:cxn ang="0">
                  <a:pos x="509" y="862"/>
                </a:cxn>
                <a:cxn ang="0">
                  <a:pos x="523" y="779"/>
                </a:cxn>
                <a:cxn ang="0">
                  <a:pos x="525" y="592"/>
                </a:cxn>
                <a:cxn ang="0">
                  <a:pos x="530" y="370"/>
                </a:cxn>
                <a:cxn ang="0">
                  <a:pos x="537" y="346"/>
                </a:cxn>
                <a:cxn ang="0">
                  <a:pos x="569" y="347"/>
                </a:cxn>
                <a:cxn ang="0">
                  <a:pos x="604" y="344"/>
                </a:cxn>
                <a:cxn ang="0">
                  <a:pos x="613" y="270"/>
                </a:cxn>
                <a:cxn ang="0">
                  <a:pos x="613" y="134"/>
                </a:cxn>
                <a:cxn ang="0">
                  <a:pos x="624" y="110"/>
                </a:cxn>
                <a:cxn ang="0">
                  <a:pos x="692" y="87"/>
                </a:cxn>
                <a:cxn ang="0">
                  <a:pos x="754" y="78"/>
                </a:cxn>
                <a:cxn ang="0">
                  <a:pos x="784" y="83"/>
                </a:cxn>
                <a:cxn ang="0">
                  <a:pos x="810" y="103"/>
                </a:cxn>
                <a:cxn ang="0">
                  <a:pos x="830" y="97"/>
                </a:cxn>
                <a:cxn ang="0">
                  <a:pos x="849" y="78"/>
                </a:cxn>
                <a:cxn ang="0">
                  <a:pos x="886" y="67"/>
                </a:cxn>
                <a:cxn ang="0">
                  <a:pos x="914" y="60"/>
                </a:cxn>
                <a:cxn ang="0">
                  <a:pos x="918" y="46"/>
                </a:cxn>
                <a:cxn ang="0">
                  <a:pos x="865" y="37"/>
                </a:cxn>
                <a:cxn ang="0">
                  <a:pos x="844" y="36"/>
                </a:cxn>
                <a:cxn ang="0">
                  <a:pos x="821" y="41"/>
                </a:cxn>
                <a:cxn ang="0">
                  <a:pos x="793" y="44"/>
                </a:cxn>
                <a:cxn ang="0">
                  <a:pos x="768" y="60"/>
                </a:cxn>
                <a:cxn ang="0">
                  <a:pos x="724" y="69"/>
                </a:cxn>
                <a:cxn ang="0">
                  <a:pos x="668" y="74"/>
                </a:cxn>
                <a:cxn ang="0">
                  <a:pos x="613" y="69"/>
                </a:cxn>
                <a:cxn ang="0">
                  <a:pos x="523" y="39"/>
                </a:cxn>
                <a:cxn ang="0">
                  <a:pos x="370" y="16"/>
                </a:cxn>
                <a:cxn ang="0">
                  <a:pos x="284" y="23"/>
                </a:cxn>
                <a:cxn ang="0">
                  <a:pos x="169" y="18"/>
                </a:cxn>
                <a:cxn ang="0">
                  <a:pos x="109" y="2"/>
                </a:cxn>
                <a:cxn ang="0">
                  <a:pos x="67" y="4"/>
                </a:cxn>
                <a:cxn ang="0">
                  <a:pos x="27" y="23"/>
                </a:cxn>
                <a:cxn ang="0">
                  <a:pos x="20" y="36"/>
                </a:cxn>
                <a:cxn ang="0">
                  <a:pos x="2" y="66"/>
                </a:cxn>
                <a:cxn ang="0">
                  <a:pos x="4" y="90"/>
                </a:cxn>
                <a:cxn ang="0">
                  <a:pos x="20" y="127"/>
                </a:cxn>
                <a:cxn ang="0">
                  <a:pos x="65" y="173"/>
                </a:cxn>
                <a:cxn ang="0">
                  <a:pos x="76" y="198"/>
                </a:cxn>
                <a:cxn ang="0">
                  <a:pos x="90" y="245"/>
                </a:cxn>
                <a:cxn ang="0">
                  <a:pos x="120" y="300"/>
                </a:cxn>
                <a:cxn ang="0">
                  <a:pos x="152" y="354"/>
                </a:cxn>
                <a:cxn ang="0">
                  <a:pos x="166" y="416"/>
                </a:cxn>
                <a:cxn ang="0">
                  <a:pos x="164" y="474"/>
                </a:cxn>
                <a:cxn ang="0">
                  <a:pos x="196" y="603"/>
                </a:cxn>
                <a:cxn ang="0">
                  <a:pos x="213" y="672"/>
                </a:cxn>
                <a:cxn ang="0">
                  <a:pos x="215" y="751"/>
                </a:cxn>
                <a:cxn ang="0">
                  <a:pos x="227" y="805"/>
                </a:cxn>
                <a:cxn ang="0">
                  <a:pos x="264" y="851"/>
                </a:cxn>
                <a:cxn ang="0">
                  <a:pos x="280" y="862"/>
                </a:cxn>
              </a:cxnLst>
              <a:rect l="0" t="0" r="r" b="b"/>
              <a:pathLst>
                <a:path w="921" h="876">
                  <a:moveTo>
                    <a:pt x="280" y="862"/>
                  </a:moveTo>
                  <a:lnTo>
                    <a:pt x="280" y="862"/>
                  </a:lnTo>
                  <a:lnTo>
                    <a:pt x="280" y="855"/>
                  </a:lnTo>
                  <a:lnTo>
                    <a:pt x="280" y="839"/>
                  </a:lnTo>
                  <a:lnTo>
                    <a:pt x="284" y="830"/>
                  </a:lnTo>
                  <a:lnTo>
                    <a:pt x="287" y="823"/>
                  </a:lnTo>
                  <a:lnTo>
                    <a:pt x="293" y="819"/>
                  </a:lnTo>
                  <a:lnTo>
                    <a:pt x="296" y="818"/>
                  </a:lnTo>
                  <a:lnTo>
                    <a:pt x="301" y="819"/>
                  </a:lnTo>
                  <a:lnTo>
                    <a:pt x="301" y="819"/>
                  </a:lnTo>
                  <a:lnTo>
                    <a:pt x="317" y="821"/>
                  </a:lnTo>
                  <a:lnTo>
                    <a:pt x="328" y="825"/>
                  </a:lnTo>
                  <a:lnTo>
                    <a:pt x="337" y="830"/>
                  </a:lnTo>
                  <a:lnTo>
                    <a:pt x="347" y="841"/>
                  </a:lnTo>
                  <a:lnTo>
                    <a:pt x="347" y="841"/>
                  </a:lnTo>
                  <a:lnTo>
                    <a:pt x="353" y="846"/>
                  </a:lnTo>
                  <a:lnTo>
                    <a:pt x="354" y="851"/>
                  </a:lnTo>
                  <a:lnTo>
                    <a:pt x="358" y="858"/>
                  </a:lnTo>
                  <a:lnTo>
                    <a:pt x="360" y="860"/>
                  </a:lnTo>
                  <a:lnTo>
                    <a:pt x="363" y="862"/>
                  </a:lnTo>
                  <a:lnTo>
                    <a:pt x="381" y="869"/>
                  </a:lnTo>
                  <a:lnTo>
                    <a:pt x="381" y="869"/>
                  </a:lnTo>
                  <a:lnTo>
                    <a:pt x="407" y="876"/>
                  </a:lnTo>
                  <a:lnTo>
                    <a:pt x="416" y="876"/>
                  </a:lnTo>
                  <a:lnTo>
                    <a:pt x="434" y="876"/>
                  </a:lnTo>
                  <a:lnTo>
                    <a:pt x="434" y="876"/>
                  </a:lnTo>
                  <a:lnTo>
                    <a:pt x="460" y="876"/>
                  </a:lnTo>
                  <a:lnTo>
                    <a:pt x="481" y="876"/>
                  </a:lnTo>
                  <a:lnTo>
                    <a:pt x="492" y="874"/>
                  </a:lnTo>
                  <a:lnTo>
                    <a:pt x="499" y="872"/>
                  </a:lnTo>
                  <a:lnTo>
                    <a:pt x="506" y="867"/>
                  </a:lnTo>
                  <a:lnTo>
                    <a:pt x="509" y="862"/>
                  </a:lnTo>
                  <a:lnTo>
                    <a:pt x="509" y="862"/>
                  </a:lnTo>
                  <a:lnTo>
                    <a:pt x="516" y="841"/>
                  </a:lnTo>
                  <a:lnTo>
                    <a:pt x="520" y="812"/>
                  </a:lnTo>
                  <a:lnTo>
                    <a:pt x="523" y="779"/>
                  </a:lnTo>
                  <a:lnTo>
                    <a:pt x="523" y="751"/>
                  </a:lnTo>
                  <a:lnTo>
                    <a:pt x="523" y="751"/>
                  </a:lnTo>
                  <a:lnTo>
                    <a:pt x="523" y="668"/>
                  </a:lnTo>
                  <a:lnTo>
                    <a:pt x="525" y="592"/>
                  </a:lnTo>
                  <a:lnTo>
                    <a:pt x="525" y="592"/>
                  </a:lnTo>
                  <a:lnTo>
                    <a:pt x="527" y="476"/>
                  </a:lnTo>
                  <a:lnTo>
                    <a:pt x="530" y="370"/>
                  </a:lnTo>
                  <a:lnTo>
                    <a:pt x="530" y="370"/>
                  </a:lnTo>
                  <a:lnTo>
                    <a:pt x="532" y="362"/>
                  </a:lnTo>
                  <a:lnTo>
                    <a:pt x="532" y="353"/>
                  </a:lnTo>
                  <a:lnTo>
                    <a:pt x="534" y="347"/>
                  </a:lnTo>
                  <a:lnTo>
                    <a:pt x="537" y="346"/>
                  </a:lnTo>
                  <a:lnTo>
                    <a:pt x="543" y="344"/>
                  </a:lnTo>
                  <a:lnTo>
                    <a:pt x="552" y="344"/>
                  </a:lnTo>
                  <a:lnTo>
                    <a:pt x="552" y="344"/>
                  </a:lnTo>
                  <a:lnTo>
                    <a:pt x="569" y="347"/>
                  </a:lnTo>
                  <a:lnTo>
                    <a:pt x="585" y="351"/>
                  </a:lnTo>
                  <a:lnTo>
                    <a:pt x="594" y="351"/>
                  </a:lnTo>
                  <a:lnTo>
                    <a:pt x="599" y="349"/>
                  </a:lnTo>
                  <a:lnTo>
                    <a:pt x="604" y="344"/>
                  </a:lnTo>
                  <a:lnTo>
                    <a:pt x="608" y="337"/>
                  </a:lnTo>
                  <a:lnTo>
                    <a:pt x="608" y="337"/>
                  </a:lnTo>
                  <a:lnTo>
                    <a:pt x="611" y="309"/>
                  </a:lnTo>
                  <a:lnTo>
                    <a:pt x="613" y="270"/>
                  </a:lnTo>
                  <a:lnTo>
                    <a:pt x="615" y="214"/>
                  </a:lnTo>
                  <a:lnTo>
                    <a:pt x="615" y="214"/>
                  </a:lnTo>
                  <a:lnTo>
                    <a:pt x="611" y="162"/>
                  </a:lnTo>
                  <a:lnTo>
                    <a:pt x="613" y="134"/>
                  </a:lnTo>
                  <a:lnTo>
                    <a:pt x="615" y="122"/>
                  </a:lnTo>
                  <a:lnTo>
                    <a:pt x="618" y="115"/>
                  </a:lnTo>
                  <a:lnTo>
                    <a:pt x="618" y="115"/>
                  </a:lnTo>
                  <a:lnTo>
                    <a:pt x="624" y="110"/>
                  </a:lnTo>
                  <a:lnTo>
                    <a:pt x="633" y="104"/>
                  </a:lnTo>
                  <a:lnTo>
                    <a:pt x="652" y="96"/>
                  </a:lnTo>
                  <a:lnTo>
                    <a:pt x="675" y="90"/>
                  </a:lnTo>
                  <a:lnTo>
                    <a:pt x="692" y="87"/>
                  </a:lnTo>
                  <a:lnTo>
                    <a:pt x="692" y="87"/>
                  </a:lnTo>
                  <a:lnTo>
                    <a:pt x="714" y="85"/>
                  </a:lnTo>
                  <a:lnTo>
                    <a:pt x="740" y="80"/>
                  </a:lnTo>
                  <a:lnTo>
                    <a:pt x="754" y="78"/>
                  </a:lnTo>
                  <a:lnTo>
                    <a:pt x="766" y="78"/>
                  </a:lnTo>
                  <a:lnTo>
                    <a:pt x="777" y="80"/>
                  </a:lnTo>
                  <a:lnTo>
                    <a:pt x="780" y="81"/>
                  </a:lnTo>
                  <a:lnTo>
                    <a:pt x="784" y="83"/>
                  </a:lnTo>
                  <a:lnTo>
                    <a:pt x="784" y="83"/>
                  </a:lnTo>
                  <a:lnTo>
                    <a:pt x="795" y="94"/>
                  </a:lnTo>
                  <a:lnTo>
                    <a:pt x="805" y="101"/>
                  </a:lnTo>
                  <a:lnTo>
                    <a:pt x="810" y="103"/>
                  </a:lnTo>
                  <a:lnTo>
                    <a:pt x="816" y="103"/>
                  </a:lnTo>
                  <a:lnTo>
                    <a:pt x="823" y="101"/>
                  </a:lnTo>
                  <a:lnTo>
                    <a:pt x="830" y="97"/>
                  </a:lnTo>
                  <a:lnTo>
                    <a:pt x="830" y="97"/>
                  </a:lnTo>
                  <a:lnTo>
                    <a:pt x="835" y="94"/>
                  </a:lnTo>
                  <a:lnTo>
                    <a:pt x="839" y="90"/>
                  </a:lnTo>
                  <a:lnTo>
                    <a:pt x="844" y="83"/>
                  </a:lnTo>
                  <a:lnTo>
                    <a:pt x="849" y="78"/>
                  </a:lnTo>
                  <a:lnTo>
                    <a:pt x="858" y="73"/>
                  </a:lnTo>
                  <a:lnTo>
                    <a:pt x="858" y="73"/>
                  </a:lnTo>
                  <a:lnTo>
                    <a:pt x="874" y="69"/>
                  </a:lnTo>
                  <a:lnTo>
                    <a:pt x="886" y="67"/>
                  </a:lnTo>
                  <a:lnTo>
                    <a:pt x="898" y="66"/>
                  </a:lnTo>
                  <a:lnTo>
                    <a:pt x="907" y="64"/>
                  </a:lnTo>
                  <a:lnTo>
                    <a:pt x="907" y="64"/>
                  </a:lnTo>
                  <a:lnTo>
                    <a:pt x="914" y="60"/>
                  </a:lnTo>
                  <a:lnTo>
                    <a:pt x="920" y="55"/>
                  </a:lnTo>
                  <a:lnTo>
                    <a:pt x="921" y="50"/>
                  </a:lnTo>
                  <a:lnTo>
                    <a:pt x="920" y="48"/>
                  </a:lnTo>
                  <a:lnTo>
                    <a:pt x="918" y="46"/>
                  </a:lnTo>
                  <a:lnTo>
                    <a:pt x="918" y="46"/>
                  </a:lnTo>
                  <a:lnTo>
                    <a:pt x="909" y="43"/>
                  </a:lnTo>
                  <a:lnTo>
                    <a:pt x="895" y="41"/>
                  </a:lnTo>
                  <a:lnTo>
                    <a:pt x="865" y="37"/>
                  </a:lnTo>
                  <a:lnTo>
                    <a:pt x="865" y="37"/>
                  </a:lnTo>
                  <a:lnTo>
                    <a:pt x="851" y="37"/>
                  </a:lnTo>
                  <a:lnTo>
                    <a:pt x="851" y="37"/>
                  </a:lnTo>
                  <a:lnTo>
                    <a:pt x="844" y="36"/>
                  </a:lnTo>
                  <a:lnTo>
                    <a:pt x="837" y="36"/>
                  </a:lnTo>
                  <a:lnTo>
                    <a:pt x="830" y="37"/>
                  </a:lnTo>
                  <a:lnTo>
                    <a:pt x="830" y="37"/>
                  </a:lnTo>
                  <a:lnTo>
                    <a:pt x="821" y="41"/>
                  </a:lnTo>
                  <a:lnTo>
                    <a:pt x="809" y="43"/>
                  </a:lnTo>
                  <a:lnTo>
                    <a:pt x="795" y="44"/>
                  </a:lnTo>
                  <a:lnTo>
                    <a:pt x="795" y="44"/>
                  </a:lnTo>
                  <a:lnTo>
                    <a:pt x="793" y="44"/>
                  </a:lnTo>
                  <a:lnTo>
                    <a:pt x="789" y="46"/>
                  </a:lnTo>
                  <a:lnTo>
                    <a:pt x="789" y="46"/>
                  </a:lnTo>
                  <a:lnTo>
                    <a:pt x="779" y="53"/>
                  </a:lnTo>
                  <a:lnTo>
                    <a:pt x="768" y="60"/>
                  </a:lnTo>
                  <a:lnTo>
                    <a:pt x="768" y="60"/>
                  </a:lnTo>
                  <a:lnTo>
                    <a:pt x="751" y="66"/>
                  </a:lnTo>
                  <a:lnTo>
                    <a:pt x="736" y="67"/>
                  </a:lnTo>
                  <a:lnTo>
                    <a:pt x="724" y="69"/>
                  </a:lnTo>
                  <a:lnTo>
                    <a:pt x="724" y="69"/>
                  </a:lnTo>
                  <a:lnTo>
                    <a:pt x="696" y="71"/>
                  </a:lnTo>
                  <a:lnTo>
                    <a:pt x="668" y="74"/>
                  </a:lnTo>
                  <a:lnTo>
                    <a:pt x="668" y="74"/>
                  </a:lnTo>
                  <a:lnTo>
                    <a:pt x="654" y="76"/>
                  </a:lnTo>
                  <a:lnTo>
                    <a:pt x="640" y="74"/>
                  </a:lnTo>
                  <a:lnTo>
                    <a:pt x="624" y="73"/>
                  </a:lnTo>
                  <a:lnTo>
                    <a:pt x="613" y="69"/>
                  </a:lnTo>
                  <a:lnTo>
                    <a:pt x="613" y="69"/>
                  </a:lnTo>
                  <a:lnTo>
                    <a:pt x="596" y="62"/>
                  </a:lnTo>
                  <a:lnTo>
                    <a:pt x="566" y="52"/>
                  </a:lnTo>
                  <a:lnTo>
                    <a:pt x="523" y="39"/>
                  </a:lnTo>
                  <a:lnTo>
                    <a:pt x="448" y="22"/>
                  </a:lnTo>
                  <a:lnTo>
                    <a:pt x="448" y="22"/>
                  </a:lnTo>
                  <a:lnTo>
                    <a:pt x="409" y="18"/>
                  </a:lnTo>
                  <a:lnTo>
                    <a:pt x="370" y="16"/>
                  </a:lnTo>
                  <a:lnTo>
                    <a:pt x="349" y="18"/>
                  </a:lnTo>
                  <a:lnTo>
                    <a:pt x="328" y="20"/>
                  </a:lnTo>
                  <a:lnTo>
                    <a:pt x="328" y="20"/>
                  </a:lnTo>
                  <a:lnTo>
                    <a:pt x="284" y="23"/>
                  </a:lnTo>
                  <a:lnTo>
                    <a:pt x="243" y="23"/>
                  </a:lnTo>
                  <a:lnTo>
                    <a:pt x="201" y="23"/>
                  </a:lnTo>
                  <a:lnTo>
                    <a:pt x="201" y="23"/>
                  </a:lnTo>
                  <a:lnTo>
                    <a:pt x="169" y="18"/>
                  </a:lnTo>
                  <a:lnTo>
                    <a:pt x="143" y="13"/>
                  </a:lnTo>
                  <a:lnTo>
                    <a:pt x="118" y="6"/>
                  </a:lnTo>
                  <a:lnTo>
                    <a:pt x="118" y="6"/>
                  </a:lnTo>
                  <a:lnTo>
                    <a:pt x="109" y="2"/>
                  </a:lnTo>
                  <a:lnTo>
                    <a:pt x="101" y="0"/>
                  </a:lnTo>
                  <a:lnTo>
                    <a:pt x="85" y="0"/>
                  </a:lnTo>
                  <a:lnTo>
                    <a:pt x="73" y="2"/>
                  </a:lnTo>
                  <a:lnTo>
                    <a:pt x="67" y="4"/>
                  </a:lnTo>
                  <a:lnTo>
                    <a:pt x="67" y="4"/>
                  </a:lnTo>
                  <a:lnTo>
                    <a:pt x="44" y="15"/>
                  </a:lnTo>
                  <a:lnTo>
                    <a:pt x="27" y="23"/>
                  </a:lnTo>
                  <a:lnTo>
                    <a:pt x="27" y="23"/>
                  </a:lnTo>
                  <a:lnTo>
                    <a:pt x="27" y="25"/>
                  </a:lnTo>
                  <a:lnTo>
                    <a:pt x="27" y="25"/>
                  </a:lnTo>
                  <a:lnTo>
                    <a:pt x="25" y="29"/>
                  </a:lnTo>
                  <a:lnTo>
                    <a:pt x="20" y="36"/>
                  </a:lnTo>
                  <a:lnTo>
                    <a:pt x="20" y="36"/>
                  </a:lnTo>
                  <a:lnTo>
                    <a:pt x="11" y="44"/>
                  </a:lnTo>
                  <a:lnTo>
                    <a:pt x="6" y="55"/>
                  </a:lnTo>
                  <a:lnTo>
                    <a:pt x="2" y="66"/>
                  </a:lnTo>
                  <a:lnTo>
                    <a:pt x="0" y="71"/>
                  </a:lnTo>
                  <a:lnTo>
                    <a:pt x="2" y="78"/>
                  </a:lnTo>
                  <a:lnTo>
                    <a:pt x="2" y="78"/>
                  </a:lnTo>
                  <a:lnTo>
                    <a:pt x="4" y="90"/>
                  </a:lnTo>
                  <a:lnTo>
                    <a:pt x="7" y="103"/>
                  </a:lnTo>
                  <a:lnTo>
                    <a:pt x="9" y="111"/>
                  </a:lnTo>
                  <a:lnTo>
                    <a:pt x="13" y="118"/>
                  </a:lnTo>
                  <a:lnTo>
                    <a:pt x="20" y="127"/>
                  </a:lnTo>
                  <a:lnTo>
                    <a:pt x="27" y="134"/>
                  </a:lnTo>
                  <a:lnTo>
                    <a:pt x="27" y="134"/>
                  </a:lnTo>
                  <a:lnTo>
                    <a:pt x="57" y="162"/>
                  </a:lnTo>
                  <a:lnTo>
                    <a:pt x="65" y="173"/>
                  </a:lnTo>
                  <a:lnTo>
                    <a:pt x="69" y="178"/>
                  </a:lnTo>
                  <a:lnTo>
                    <a:pt x="71" y="185"/>
                  </a:lnTo>
                  <a:lnTo>
                    <a:pt x="71" y="185"/>
                  </a:lnTo>
                  <a:lnTo>
                    <a:pt x="76" y="198"/>
                  </a:lnTo>
                  <a:lnTo>
                    <a:pt x="81" y="214"/>
                  </a:lnTo>
                  <a:lnTo>
                    <a:pt x="87" y="228"/>
                  </a:lnTo>
                  <a:lnTo>
                    <a:pt x="90" y="245"/>
                  </a:lnTo>
                  <a:lnTo>
                    <a:pt x="90" y="245"/>
                  </a:lnTo>
                  <a:lnTo>
                    <a:pt x="92" y="254"/>
                  </a:lnTo>
                  <a:lnTo>
                    <a:pt x="94" y="261"/>
                  </a:lnTo>
                  <a:lnTo>
                    <a:pt x="101" y="273"/>
                  </a:lnTo>
                  <a:lnTo>
                    <a:pt x="120" y="300"/>
                  </a:lnTo>
                  <a:lnTo>
                    <a:pt x="120" y="300"/>
                  </a:lnTo>
                  <a:lnTo>
                    <a:pt x="131" y="316"/>
                  </a:lnTo>
                  <a:lnTo>
                    <a:pt x="143" y="335"/>
                  </a:lnTo>
                  <a:lnTo>
                    <a:pt x="152" y="354"/>
                  </a:lnTo>
                  <a:lnTo>
                    <a:pt x="159" y="370"/>
                  </a:lnTo>
                  <a:lnTo>
                    <a:pt x="159" y="370"/>
                  </a:lnTo>
                  <a:lnTo>
                    <a:pt x="164" y="391"/>
                  </a:lnTo>
                  <a:lnTo>
                    <a:pt x="166" y="416"/>
                  </a:lnTo>
                  <a:lnTo>
                    <a:pt x="166" y="441"/>
                  </a:lnTo>
                  <a:lnTo>
                    <a:pt x="164" y="462"/>
                  </a:lnTo>
                  <a:lnTo>
                    <a:pt x="164" y="462"/>
                  </a:lnTo>
                  <a:lnTo>
                    <a:pt x="164" y="474"/>
                  </a:lnTo>
                  <a:lnTo>
                    <a:pt x="166" y="492"/>
                  </a:lnTo>
                  <a:lnTo>
                    <a:pt x="175" y="534"/>
                  </a:lnTo>
                  <a:lnTo>
                    <a:pt x="187" y="576"/>
                  </a:lnTo>
                  <a:lnTo>
                    <a:pt x="196" y="603"/>
                  </a:lnTo>
                  <a:lnTo>
                    <a:pt x="196" y="603"/>
                  </a:lnTo>
                  <a:lnTo>
                    <a:pt x="201" y="619"/>
                  </a:lnTo>
                  <a:lnTo>
                    <a:pt x="208" y="642"/>
                  </a:lnTo>
                  <a:lnTo>
                    <a:pt x="213" y="672"/>
                  </a:lnTo>
                  <a:lnTo>
                    <a:pt x="213" y="691"/>
                  </a:lnTo>
                  <a:lnTo>
                    <a:pt x="213" y="710"/>
                  </a:lnTo>
                  <a:lnTo>
                    <a:pt x="213" y="710"/>
                  </a:lnTo>
                  <a:lnTo>
                    <a:pt x="215" y="751"/>
                  </a:lnTo>
                  <a:lnTo>
                    <a:pt x="217" y="767"/>
                  </a:lnTo>
                  <a:lnTo>
                    <a:pt x="219" y="781"/>
                  </a:lnTo>
                  <a:lnTo>
                    <a:pt x="222" y="795"/>
                  </a:lnTo>
                  <a:lnTo>
                    <a:pt x="227" y="805"/>
                  </a:lnTo>
                  <a:lnTo>
                    <a:pt x="233" y="816"/>
                  </a:lnTo>
                  <a:lnTo>
                    <a:pt x="240" y="825"/>
                  </a:lnTo>
                  <a:lnTo>
                    <a:pt x="240" y="825"/>
                  </a:lnTo>
                  <a:lnTo>
                    <a:pt x="264" y="851"/>
                  </a:lnTo>
                  <a:lnTo>
                    <a:pt x="273" y="858"/>
                  </a:lnTo>
                  <a:lnTo>
                    <a:pt x="277" y="860"/>
                  </a:lnTo>
                  <a:lnTo>
                    <a:pt x="280" y="862"/>
                  </a:lnTo>
                  <a:lnTo>
                    <a:pt x="280" y="86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39" name="Freeform 33">
              <a:extLst>
                <a:ext uri="{FF2B5EF4-FFF2-40B4-BE49-F238E27FC236}">
                  <a16:creationId xmlns:a16="http://schemas.microsoft.com/office/drawing/2014/main" id="{5D2505C7-BDC2-4638-B28B-FD40E63722E7}"/>
                </a:ext>
              </a:extLst>
            </p:cNvPr>
            <p:cNvSpPr>
              <a:spLocks/>
            </p:cNvSpPr>
            <p:nvPr/>
          </p:nvSpPr>
          <p:spPr bwMode="auto">
            <a:xfrm>
              <a:off x="4542682" y="5480548"/>
              <a:ext cx="1018981" cy="901202"/>
            </a:xfrm>
            <a:custGeom>
              <a:avLst/>
              <a:gdLst/>
              <a:ahLst/>
              <a:cxnLst>
                <a:cxn ang="0">
                  <a:pos x="1143" y="359"/>
                </a:cxn>
                <a:cxn ang="0">
                  <a:pos x="1103" y="465"/>
                </a:cxn>
                <a:cxn ang="0">
                  <a:pos x="1046" y="541"/>
                </a:cxn>
                <a:cxn ang="0">
                  <a:pos x="934" y="680"/>
                </a:cxn>
                <a:cxn ang="0">
                  <a:pos x="833" y="763"/>
                </a:cxn>
                <a:cxn ang="0">
                  <a:pos x="782" y="828"/>
                </a:cxn>
                <a:cxn ang="0">
                  <a:pos x="682" y="909"/>
                </a:cxn>
                <a:cxn ang="0">
                  <a:pos x="634" y="914"/>
                </a:cxn>
                <a:cxn ang="0">
                  <a:pos x="553" y="925"/>
                </a:cxn>
                <a:cxn ang="0">
                  <a:pos x="530" y="930"/>
                </a:cxn>
                <a:cxn ang="0">
                  <a:pos x="493" y="944"/>
                </a:cxn>
                <a:cxn ang="0">
                  <a:pos x="434" y="935"/>
                </a:cxn>
                <a:cxn ang="0">
                  <a:pos x="347" y="942"/>
                </a:cxn>
                <a:cxn ang="0">
                  <a:pos x="310" y="974"/>
                </a:cxn>
                <a:cxn ang="0">
                  <a:pos x="284" y="978"/>
                </a:cxn>
                <a:cxn ang="0">
                  <a:pos x="266" y="1008"/>
                </a:cxn>
                <a:cxn ang="0">
                  <a:pos x="205" y="992"/>
                </a:cxn>
                <a:cxn ang="0">
                  <a:pos x="173" y="965"/>
                </a:cxn>
                <a:cxn ang="0">
                  <a:pos x="134" y="942"/>
                </a:cxn>
                <a:cxn ang="0">
                  <a:pos x="124" y="921"/>
                </a:cxn>
                <a:cxn ang="0">
                  <a:pos x="122" y="886"/>
                </a:cxn>
                <a:cxn ang="0">
                  <a:pos x="90" y="844"/>
                </a:cxn>
                <a:cxn ang="0">
                  <a:pos x="94" y="810"/>
                </a:cxn>
                <a:cxn ang="0">
                  <a:pos x="118" y="749"/>
                </a:cxn>
                <a:cxn ang="0">
                  <a:pos x="101" y="701"/>
                </a:cxn>
                <a:cxn ang="0">
                  <a:pos x="48" y="620"/>
                </a:cxn>
                <a:cxn ang="0">
                  <a:pos x="28" y="543"/>
                </a:cxn>
                <a:cxn ang="0">
                  <a:pos x="13" y="506"/>
                </a:cxn>
                <a:cxn ang="0">
                  <a:pos x="0" y="490"/>
                </a:cxn>
                <a:cxn ang="0">
                  <a:pos x="4" y="456"/>
                </a:cxn>
                <a:cxn ang="0">
                  <a:pos x="41" y="449"/>
                </a:cxn>
                <a:cxn ang="0">
                  <a:pos x="76" y="479"/>
                </a:cxn>
                <a:cxn ang="0">
                  <a:pos x="129" y="504"/>
                </a:cxn>
                <a:cxn ang="0">
                  <a:pos x="227" y="492"/>
                </a:cxn>
                <a:cxn ang="0">
                  <a:pos x="245" y="388"/>
                </a:cxn>
                <a:cxn ang="0">
                  <a:pos x="287" y="206"/>
                </a:cxn>
                <a:cxn ang="0">
                  <a:pos x="312" y="245"/>
                </a:cxn>
                <a:cxn ang="0">
                  <a:pos x="314" y="344"/>
                </a:cxn>
                <a:cxn ang="0">
                  <a:pos x="349" y="381"/>
                </a:cxn>
                <a:cxn ang="0">
                  <a:pos x="414" y="337"/>
                </a:cxn>
                <a:cxn ang="0">
                  <a:pos x="472" y="254"/>
                </a:cxn>
                <a:cxn ang="0">
                  <a:pos x="507" y="261"/>
                </a:cxn>
                <a:cxn ang="0">
                  <a:pos x="560" y="282"/>
                </a:cxn>
                <a:cxn ang="0">
                  <a:pos x="645" y="270"/>
                </a:cxn>
                <a:cxn ang="0">
                  <a:pos x="678" y="210"/>
                </a:cxn>
                <a:cxn ang="0">
                  <a:pos x="714" y="174"/>
                </a:cxn>
                <a:cxn ang="0">
                  <a:pos x="803" y="85"/>
                </a:cxn>
                <a:cxn ang="0">
                  <a:pos x="877" y="28"/>
                </a:cxn>
                <a:cxn ang="0">
                  <a:pos x="916" y="2"/>
                </a:cxn>
                <a:cxn ang="0">
                  <a:pos x="1032" y="34"/>
                </a:cxn>
                <a:cxn ang="0">
                  <a:pos x="1075" y="79"/>
                </a:cxn>
                <a:cxn ang="0">
                  <a:pos x="1096" y="141"/>
                </a:cxn>
                <a:cxn ang="0">
                  <a:pos x="1099" y="194"/>
                </a:cxn>
                <a:cxn ang="0">
                  <a:pos x="1078" y="257"/>
                </a:cxn>
                <a:cxn ang="0">
                  <a:pos x="1087" y="287"/>
                </a:cxn>
              </a:cxnLst>
              <a:rect l="0" t="0" r="r" b="b"/>
              <a:pathLst>
                <a:path w="1143" h="1011">
                  <a:moveTo>
                    <a:pt x="1122" y="322"/>
                  </a:moveTo>
                  <a:lnTo>
                    <a:pt x="1122" y="322"/>
                  </a:lnTo>
                  <a:lnTo>
                    <a:pt x="1127" y="328"/>
                  </a:lnTo>
                  <a:lnTo>
                    <a:pt x="1136" y="342"/>
                  </a:lnTo>
                  <a:lnTo>
                    <a:pt x="1140" y="351"/>
                  </a:lnTo>
                  <a:lnTo>
                    <a:pt x="1143" y="359"/>
                  </a:lnTo>
                  <a:lnTo>
                    <a:pt x="1143" y="370"/>
                  </a:lnTo>
                  <a:lnTo>
                    <a:pt x="1140" y="379"/>
                  </a:lnTo>
                  <a:lnTo>
                    <a:pt x="1140" y="379"/>
                  </a:lnTo>
                  <a:lnTo>
                    <a:pt x="1127" y="407"/>
                  </a:lnTo>
                  <a:lnTo>
                    <a:pt x="1112" y="444"/>
                  </a:lnTo>
                  <a:lnTo>
                    <a:pt x="1103" y="465"/>
                  </a:lnTo>
                  <a:lnTo>
                    <a:pt x="1094" y="483"/>
                  </a:lnTo>
                  <a:lnTo>
                    <a:pt x="1083" y="500"/>
                  </a:lnTo>
                  <a:lnTo>
                    <a:pt x="1075" y="513"/>
                  </a:lnTo>
                  <a:lnTo>
                    <a:pt x="1075" y="513"/>
                  </a:lnTo>
                  <a:lnTo>
                    <a:pt x="1046" y="541"/>
                  </a:lnTo>
                  <a:lnTo>
                    <a:pt x="1046" y="541"/>
                  </a:lnTo>
                  <a:lnTo>
                    <a:pt x="1022" y="578"/>
                  </a:lnTo>
                  <a:lnTo>
                    <a:pt x="995" y="613"/>
                  </a:lnTo>
                  <a:lnTo>
                    <a:pt x="965" y="648"/>
                  </a:lnTo>
                  <a:lnTo>
                    <a:pt x="965" y="648"/>
                  </a:lnTo>
                  <a:lnTo>
                    <a:pt x="950" y="664"/>
                  </a:lnTo>
                  <a:lnTo>
                    <a:pt x="934" y="680"/>
                  </a:lnTo>
                  <a:lnTo>
                    <a:pt x="900" y="705"/>
                  </a:lnTo>
                  <a:lnTo>
                    <a:pt x="870" y="728"/>
                  </a:lnTo>
                  <a:lnTo>
                    <a:pt x="846" y="747"/>
                  </a:lnTo>
                  <a:lnTo>
                    <a:pt x="846" y="747"/>
                  </a:lnTo>
                  <a:lnTo>
                    <a:pt x="839" y="756"/>
                  </a:lnTo>
                  <a:lnTo>
                    <a:pt x="833" y="763"/>
                  </a:lnTo>
                  <a:lnTo>
                    <a:pt x="828" y="773"/>
                  </a:lnTo>
                  <a:lnTo>
                    <a:pt x="821" y="786"/>
                  </a:lnTo>
                  <a:lnTo>
                    <a:pt x="816" y="793"/>
                  </a:lnTo>
                  <a:lnTo>
                    <a:pt x="807" y="803"/>
                  </a:lnTo>
                  <a:lnTo>
                    <a:pt x="807" y="803"/>
                  </a:lnTo>
                  <a:lnTo>
                    <a:pt x="782" y="828"/>
                  </a:lnTo>
                  <a:lnTo>
                    <a:pt x="759" y="851"/>
                  </a:lnTo>
                  <a:lnTo>
                    <a:pt x="735" y="870"/>
                  </a:lnTo>
                  <a:lnTo>
                    <a:pt x="712" y="888"/>
                  </a:lnTo>
                  <a:lnTo>
                    <a:pt x="712" y="888"/>
                  </a:lnTo>
                  <a:lnTo>
                    <a:pt x="694" y="900"/>
                  </a:lnTo>
                  <a:lnTo>
                    <a:pt x="682" y="909"/>
                  </a:lnTo>
                  <a:lnTo>
                    <a:pt x="677" y="911"/>
                  </a:lnTo>
                  <a:lnTo>
                    <a:pt x="671" y="912"/>
                  </a:lnTo>
                  <a:lnTo>
                    <a:pt x="655" y="912"/>
                  </a:lnTo>
                  <a:lnTo>
                    <a:pt x="655" y="912"/>
                  </a:lnTo>
                  <a:lnTo>
                    <a:pt x="645" y="912"/>
                  </a:lnTo>
                  <a:lnTo>
                    <a:pt x="634" y="914"/>
                  </a:lnTo>
                  <a:lnTo>
                    <a:pt x="608" y="920"/>
                  </a:lnTo>
                  <a:lnTo>
                    <a:pt x="571" y="930"/>
                  </a:lnTo>
                  <a:lnTo>
                    <a:pt x="571" y="930"/>
                  </a:lnTo>
                  <a:lnTo>
                    <a:pt x="567" y="930"/>
                  </a:lnTo>
                  <a:lnTo>
                    <a:pt x="562" y="928"/>
                  </a:lnTo>
                  <a:lnTo>
                    <a:pt x="553" y="925"/>
                  </a:lnTo>
                  <a:lnTo>
                    <a:pt x="550" y="921"/>
                  </a:lnTo>
                  <a:lnTo>
                    <a:pt x="544" y="921"/>
                  </a:lnTo>
                  <a:lnTo>
                    <a:pt x="539" y="921"/>
                  </a:lnTo>
                  <a:lnTo>
                    <a:pt x="536" y="925"/>
                  </a:lnTo>
                  <a:lnTo>
                    <a:pt x="536" y="925"/>
                  </a:lnTo>
                  <a:lnTo>
                    <a:pt x="530" y="930"/>
                  </a:lnTo>
                  <a:lnTo>
                    <a:pt x="529" y="935"/>
                  </a:lnTo>
                  <a:lnTo>
                    <a:pt x="522" y="944"/>
                  </a:lnTo>
                  <a:lnTo>
                    <a:pt x="518" y="948"/>
                  </a:lnTo>
                  <a:lnTo>
                    <a:pt x="513" y="949"/>
                  </a:lnTo>
                  <a:lnTo>
                    <a:pt x="504" y="948"/>
                  </a:lnTo>
                  <a:lnTo>
                    <a:pt x="493" y="944"/>
                  </a:lnTo>
                  <a:lnTo>
                    <a:pt x="493" y="944"/>
                  </a:lnTo>
                  <a:lnTo>
                    <a:pt x="474" y="937"/>
                  </a:lnTo>
                  <a:lnTo>
                    <a:pt x="460" y="934"/>
                  </a:lnTo>
                  <a:lnTo>
                    <a:pt x="448" y="934"/>
                  </a:lnTo>
                  <a:lnTo>
                    <a:pt x="434" y="935"/>
                  </a:lnTo>
                  <a:lnTo>
                    <a:pt x="434" y="935"/>
                  </a:lnTo>
                  <a:lnTo>
                    <a:pt x="419" y="939"/>
                  </a:lnTo>
                  <a:lnTo>
                    <a:pt x="407" y="939"/>
                  </a:lnTo>
                  <a:lnTo>
                    <a:pt x="381" y="939"/>
                  </a:lnTo>
                  <a:lnTo>
                    <a:pt x="381" y="939"/>
                  </a:lnTo>
                  <a:lnTo>
                    <a:pt x="365" y="939"/>
                  </a:lnTo>
                  <a:lnTo>
                    <a:pt x="347" y="942"/>
                  </a:lnTo>
                  <a:lnTo>
                    <a:pt x="333" y="948"/>
                  </a:lnTo>
                  <a:lnTo>
                    <a:pt x="326" y="951"/>
                  </a:lnTo>
                  <a:lnTo>
                    <a:pt x="326" y="951"/>
                  </a:lnTo>
                  <a:lnTo>
                    <a:pt x="323" y="958"/>
                  </a:lnTo>
                  <a:lnTo>
                    <a:pt x="317" y="967"/>
                  </a:lnTo>
                  <a:lnTo>
                    <a:pt x="310" y="974"/>
                  </a:lnTo>
                  <a:lnTo>
                    <a:pt x="307" y="978"/>
                  </a:lnTo>
                  <a:lnTo>
                    <a:pt x="301" y="979"/>
                  </a:lnTo>
                  <a:lnTo>
                    <a:pt x="301" y="979"/>
                  </a:lnTo>
                  <a:lnTo>
                    <a:pt x="293" y="978"/>
                  </a:lnTo>
                  <a:lnTo>
                    <a:pt x="287" y="976"/>
                  </a:lnTo>
                  <a:lnTo>
                    <a:pt x="284" y="978"/>
                  </a:lnTo>
                  <a:lnTo>
                    <a:pt x="277" y="983"/>
                  </a:lnTo>
                  <a:lnTo>
                    <a:pt x="277" y="983"/>
                  </a:lnTo>
                  <a:lnTo>
                    <a:pt x="273" y="988"/>
                  </a:lnTo>
                  <a:lnTo>
                    <a:pt x="272" y="993"/>
                  </a:lnTo>
                  <a:lnTo>
                    <a:pt x="268" y="1004"/>
                  </a:lnTo>
                  <a:lnTo>
                    <a:pt x="266" y="1008"/>
                  </a:lnTo>
                  <a:lnTo>
                    <a:pt x="263" y="1009"/>
                  </a:lnTo>
                  <a:lnTo>
                    <a:pt x="259" y="1011"/>
                  </a:lnTo>
                  <a:lnTo>
                    <a:pt x="254" y="1009"/>
                  </a:lnTo>
                  <a:lnTo>
                    <a:pt x="254" y="1009"/>
                  </a:lnTo>
                  <a:lnTo>
                    <a:pt x="229" y="1001"/>
                  </a:lnTo>
                  <a:lnTo>
                    <a:pt x="205" y="992"/>
                  </a:lnTo>
                  <a:lnTo>
                    <a:pt x="205" y="992"/>
                  </a:lnTo>
                  <a:lnTo>
                    <a:pt x="185" y="988"/>
                  </a:lnTo>
                  <a:lnTo>
                    <a:pt x="180" y="983"/>
                  </a:lnTo>
                  <a:lnTo>
                    <a:pt x="176" y="976"/>
                  </a:lnTo>
                  <a:lnTo>
                    <a:pt x="176" y="976"/>
                  </a:lnTo>
                  <a:lnTo>
                    <a:pt x="173" y="965"/>
                  </a:lnTo>
                  <a:lnTo>
                    <a:pt x="173" y="958"/>
                  </a:lnTo>
                  <a:lnTo>
                    <a:pt x="169" y="953"/>
                  </a:lnTo>
                  <a:lnTo>
                    <a:pt x="161" y="949"/>
                  </a:lnTo>
                  <a:lnTo>
                    <a:pt x="161" y="949"/>
                  </a:lnTo>
                  <a:lnTo>
                    <a:pt x="146" y="946"/>
                  </a:lnTo>
                  <a:lnTo>
                    <a:pt x="134" y="942"/>
                  </a:lnTo>
                  <a:lnTo>
                    <a:pt x="127" y="941"/>
                  </a:lnTo>
                  <a:lnTo>
                    <a:pt x="124" y="937"/>
                  </a:lnTo>
                  <a:lnTo>
                    <a:pt x="122" y="935"/>
                  </a:lnTo>
                  <a:lnTo>
                    <a:pt x="120" y="930"/>
                  </a:lnTo>
                  <a:lnTo>
                    <a:pt x="120" y="930"/>
                  </a:lnTo>
                  <a:lnTo>
                    <a:pt x="124" y="921"/>
                  </a:lnTo>
                  <a:lnTo>
                    <a:pt x="129" y="912"/>
                  </a:lnTo>
                  <a:lnTo>
                    <a:pt x="131" y="904"/>
                  </a:lnTo>
                  <a:lnTo>
                    <a:pt x="131" y="900"/>
                  </a:lnTo>
                  <a:lnTo>
                    <a:pt x="129" y="895"/>
                  </a:lnTo>
                  <a:lnTo>
                    <a:pt x="129" y="895"/>
                  </a:lnTo>
                  <a:lnTo>
                    <a:pt x="122" y="886"/>
                  </a:lnTo>
                  <a:lnTo>
                    <a:pt x="111" y="877"/>
                  </a:lnTo>
                  <a:lnTo>
                    <a:pt x="101" y="867"/>
                  </a:lnTo>
                  <a:lnTo>
                    <a:pt x="97" y="860"/>
                  </a:lnTo>
                  <a:lnTo>
                    <a:pt x="95" y="854"/>
                  </a:lnTo>
                  <a:lnTo>
                    <a:pt x="95" y="854"/>
                  </a:lnTo>
                  <a:lnTo>
                    <a:pt x="90" y="844"/>
                  </a:lnTo>
                  <a:lnTo>
                    <a:pt x="85" y="833"/>
                  </a:lnTo>
                  <a:lnTo>
                    <a:pt x="85" y="828"/>
                  </a:lnTo>
                  <a:lnTo>
                    <a:pt x="85" y="823"/>
                  </a:lnTo>
                  <a:lnTo>
                    <a:pt x="88" y="816"/>
                  </a:lnTo>
                  <a:lnTo>
                    <a:pt x="94" y="810"/>
                  </a:lnTo>
                  <a:lnTo>
                    <a:pt x="94" y="810"/>
                  </a:lnTo>
                  <a:lnTo>
                    <a:pt x="101" y="802"/>
                  </a:lnTo>
                  <a:lnTo>
                    <a:pt x="106" y="794"/>
                  </a:lnTo>
                  <a:lnTo>
                    <a:pt x="111" y="786"/>
                  </a:lnTo>
                  <a:lnTo>
                    <a:pt x="115" y="777"/>
                  </a:lnTo>
                  <a:lnTo>
                    <a:pt x="118" y="761"/>
                  </a:lnTo>
                  <a:lnTo>
                    <a:pt x="118" y="749"/>
                  </a:lnTo>
                  <a:lnTo>
                    <a:pt x="118" y="749"/>
                  </a:lnTo>
                  <a:lnTo>
                    <a:pt x="118" y="738"/>
                  </a:lnTo>
                  <a:lnTo>
                    <a:pt x="117" y="728"/>
                  </a:lnTo>
                  <a:lnTo>
                    <a:pt x="111" y="717"/>
                  </a:lnTo>
                  <a:lnTo>
                    <a:pt x="101" y="701"/>
                  </a:lnTo>
                  <a:lnTo>
                    <a:pt x="101" y="701"/>
                  </a:lnTo>
                  <a:lnTo>
                    <a:pt x="73" y="669"/>
                  </a:lnTo>
                  <a:lnTo>
                    <a:pt x="60" y="654"/>
                  </a:lnTo>
                  <a:lnTo>
                    <a:pt x="53" y="645"/>
                  </a:lnTo>
                  <a:lnTo>
                    <a:pt x="53" y="645"/>
                  </a:lnTo>
                  <a:lnTo>
                    <a:pt x="50" y="634"/>
                  </a:lnTo>
                  <a:lnTo>
                    <a:pt x="48" y="620"/>
                  </a:lnTo>
                  <a:lnTo>
                    <a:pt x="46" y="604"/>
                  </a:lnTo>
                  <a:lnTo>
                    <a:pt x="43" y="594"/>
                  </a:lnTo>
                  <a:lnTo>
                    <a:pt x="43" y="594"/>
                  </a:lnTo>
                  <a:lnTo>
                    <a:pt x="39" y="581"/>
                  </a:lnTo>
                  <a:lnTo>
                    <a:pt x="34" y="562"/>
                  </a:lnTo>
                  <a:lnTo>
                    <a:pt x="28" y="543"/>
                  </a:lnTo>
                  <a:lnTo>
                    <a:pt x="25" y="534"/>
                  </a:lnTo>
                  <a:lnTo>
                    <a:pt x="21" y="528"/>
                  </a:lnTo>
                  <a:lnTo>
                    <a:pt x="21" y="528"/>
                  </a:lnTo>
                  <a:lnTo>
                    <a:pt x="16" y="521"/>
                  </a:lnTo>
                  <a:lnTo>
                    <a:pt x="13" y="513"/>
                  </a:lnTo>
                  <a:lnTo>
                    <a:pt x="13" y="506"/>
                  </a:lnTo>
                  <a:lnTo>
                    <a:pt x="14" y="499"/>
                  </a:lnTo>
                  <a:lnTo>
                    <a:pt x="14" y="499"/>
                  </a:lnTo>
                  <a:lnTo>
                    <a:pt x="14" y="495"/>
                  </a:lnTo>
                  <a:lnTo>
                    <a:pt x="13" y="493"/>
                  </a:lnTo>
                  <a:lnTo>
                    <a:pt x="7" y="492"/>
                  </a:lnTo>
                  <a:lnTo>
                    <a:pt x="0" y="490"/>
                  </a:lnTo>
                  <a:lnTo>
                    <a:pt x="0" y="490"/>
                  </a:lnTo>
                  <a:lnTo>
                    <a:pt x="0" y="474"/>
                  </a:lnTo>
                  <a:lnTo>
                    <a:pt x="0" y="463"/>
                  </a:lnTo>
                  <a:lnTo>
                    <a:pt x="2" y="460"/>
                  </a:lnTo>
                  <a:lnTo>
                    <a:pt x="4" y="456"/>
                  </a:lnTo>
                  <a:lnTo>
                    <a:pt x="4" y="456"/>
                  </a:lnTo>
                  <a:lnTo>
                    <a:pt x="7" y="453"/>
                  </a:lnTo>
                  <a:lnTo>
                    <a:pt x="9" y="449"/>
                  </a:lnTo>
                  <a:lnTo>
                    <a:pt x="16" y="446"/>
                  </a:lnTo>
                  <a:lnTo>
                    <a:pt x="30" y="446"/>
                  </a:lnTo>
                  <a:lnTo>
                    <a:pt x="30" y="446"/>
                  </a:lnTo>
                  <a:lnTo>
                    <a:pt x="41" y="449"/>
                  </a:lnTo>
                  <a:lnTo>
                    <a:pt x="55" y="453"/>
                  </a:lnTo>
                  <a:lnTo>
                    <a:pt x="55" y="453"/>
                  </a:lnTo>
                  <a:lnTo>
                    <a:pt x="60" y="456"/>
                  </a:lnTo>
                  <a:lnTo>
                    <a:pt x="65" y="463"/>
                  </a:lnTo>
                  <a:lnTo>
                    <a:pt x="76" y="479"/>
                  </a:lnTo>
                  <a:lnTo>
                    <a:pt x="76" y="479"/>
                  </a:lnTo>
                  <a:lnTo>
                    <a:pt x="80" y="484"/>
                  </a:lnTo>
                  <a:lnTo>
                    <a:pt x="85" y="490"/>
                  </a:lnTo>
                  <a:lnTo>
                    <a:pt x="92" y="493"/>
                  </a:lnTo>
                  <a:lnTo>
                    <a:pt x="101" y="497"/>
                  </a:lnTo>
                  <a:lnTo>
                    <a:pt x="101" y="497"/>
                  </a:lnTo>
                  <a:lnTo>
                    <a:pt x="129" y="504"/>
                  </a:lnTo>
                  <a:lnTo>
                    <a:pt x="203" y="506"/>
                  </a:lnTo>
                  <a:lnTo>
                    <a:pt x="203" y="506"/>
                  </a:lnTo>
                  <a:lnTo>
                    <a:pt x="208" y="506"/>
                  </a:lnTo>
                  <a:lnTo>
                    <a:pt x="217" y="502"/>
                  </a:lnTo>
                  <a:lnTo>
                    <a:pt x="222" y="497"/>
                  </a:lnTo>
                  <a:lnTo>
                    <a:pt x="227" y="492"/>
                  </a:lnTo>
                  <a:lnTo>
                    <a:pt x="233" y="484"/>
                  </a:lnTo>
                  <a:lnTo>
                    <a:pt x="235" y="474"/>
                  </a:lnTo>
                  <a:lnTo>
                    <a:pt x="235" y="474"/>
                  </a:lnTo>
                  <a:lnTo>
                    <a:pt x="242" y="430"/>
                  </a:lnTo>
                  <a:lnTo>
                    <a:pt x="243" y="409"/>
                  </a:lnTo>
                  <a:lnTo>
                    <a:pt x="245" y="388"/>
                  </a:lnTo>
                  <a:lnTo>
                    <a:pt x="245" y="388"/>
                  </a:lnTo>
                  <a:lnTo>
                    <a:pt x="245" y="187"/>
                  </a:lnTo>
                  <a:lnTo>
                    <a:pt x="245" y="187"/>
                  </a:lnTo>
                  <a:lnTo>
                    <a:pt x="254" y="190"/>
                  </a:lnTo>
                  <a:lnTo>
                    <a:pt x="275" y="201"/>
                  </a:lnTo>
                  <a:lnTo>
                    <a:pt x="287" y="206"/>
                  </a:lnTo>
                  <a:lnTo>
                    <a:pt x="298" y="213"/>
                  </a:lnTo>
                  <a:lnTo>
                    <a:pt x="305" y="220"/>
                  </a:lnTo>
                  <a:lnTo>
                    <a:pt x="310" y="227"/>
                  </a:lnTo>
                  <a:lnTo>
                    <a:pt x="310" y="227"/>
                  </a:lnTo>
                  <a:lnTo>
                    <a:pt x="312" y="236"/>
                  </a:lnTo>
                  <a:lnTo>
                    <a:pt x="312" y="245"/>
                  </a:lnTo>
                  <a:lnTo>
                    <a:pt x="312" y="268"/>
                  </a:lnTo>
                  <a:lnTo>
                    <a:pt x="312" y="292"/>
                  </a:lnTo>
                  <a:lnTo>
                    <a:pt x="312" y="317"/>
                  </a:lnTo>
                  <a:lnTo>
                    <a:pt x="312" y="317"/>
                  </a:lnTo>
                  <a:lnTo>
                    <a:pt x="312" y="329"/>
                  </a:lnTo>
                  <a:lnTo>
                    <a:pt x="314" y="344"/>
                  </a:lnTo>
                  <a:lnTo>
                    <a:pt x="317" y="356"/>
                  </a:lnTo>
                  <a:lnTo>
                    <a:pt x="324" y="368"/>
                  </a:lnTo>
                  <a:lnTo>
                    <a:pt x="330" y="373"/>
                  </a:lnTo>
                  <a:lnTo>
                    <a:pt x="335" y="377"/>
                  </a:lnTo>
                  <a:lnTo>
                    <a:pt x="342" y="379"/>
                  </a:lnTo>
                  <a:lnTo>
                    <a:pt x="349" y="381"/>
                  </a:lnTo>
                  <a:lnTo>
                    <a:pt x="358" y="381"/>
                  </a:lnTo>
                  <a:lnTo>
                    <a:pt x="368" y="379"/>
                  </a:lnTo>
                  <a:lnTo>
                    <a:pt x="379" y="375"/>
                  </a:lnTo>
                  <a:lnTo>
                    <a:pt x="393" y="370"/>
                  </a:lnTo>
                  <a:lnTo>
                    <a:pt x="393" y="370"/>
                  </a:lnTo>
                  <a:lnTo>
                    <a:pt x="414" y="337"/>
                  </a:lnTo>
                  <a:lnTo>
                    <a:pt x="434" y="310"/>
                  </a:lnTo>
                  <a:lnTo>
                    <a:pt x="449" y="289"/>
                  </a:lnTo>
                  <a:lnTo>
                    <a:pt x="449" y="289"/>
                  </a:lnTo>
                  <a:lnTo>
                    <a:pt x="460" y="275"/>
                  </a:lnTo>
                  <a:lnTo>
                    <a:pt x="469" y="259"/>
                  </a:lnTo>
                  <a:lnTo>
                    <a:pt x="472" y="254"/>
                  </a:lnTo>
                  <a:lnTo>
                    <a:pt x="478" y="248"/>
                  </a:lnTo>
                  <a:lnTo>
                    <a:pt x="483" y="247"/>
                  </a:lnTo>
                  <a:lnTo>
                    <a:pt x="488" y="247"/>
                  </a:lnTo>
                  <a:lnTo>
                    <a:pt x="488" y="247"/>
                  </a:lnTo>
                  <a:lnTo>
                    <a:pt x="499" y="254"/>
                  </a:lnTo>
                  <a:lnTo>
                    <a:pt x="507" y="261"/>
                  </a:lnTo>
                  <a:lnTo>
                    <a:pt x="520" y="270"/>
                  </a:lnTo>
                  <a:lnTo>
                    <a:pt x="527" y="273"/>
                  </a:lnTo>
                  <a:lnTo>
                    <a:pt x="536" y="277"/>
                  </a:lnTo>
                  <a:lnTo>
                    <a:pt x="536" y="277"/>
                  </a:lnTo>
                  <a:lnTo>
                    <a:pt x="546" y="280"/>
                  </a:lnTo>
                  <a:lnTo>
                    <a:pt x="560" y="282"/>
                  </a:lnTo>
                  <a:lnTo>
                    <a:pt x="576" y="284"/>
                  </a:lnTo>
                  <a:lnTo>
                    <a:pt x="592" y="284"/>
                  </a:lnTo>
                  <a:lnTo>
                    <a:pt x="608" y="282"/>
                  </a:lnTo>
                  <a:lnTo>
                    <a:pt x="624" y="280"/>
                  </a:lnTo>
                  <a:lnTo>
                    <a:pt x="636" y="277"/>
                  </a:lnTo>
                  <a:lnTo>
                    <a:pt x="645" y="270"/>
                  </a:lnTo>
                  <a:lnTo>
                    <a:pt x="645" y="270"/>
                  </a:lnTo>
                  <a:lnTo>
                    <a:pt x="657" y="255"/>
                  </a:lnTo>
                  <a:lnTo>
                    <a:pt x="666" y="241"/>
                  </a:lnTo>
                  <a:lnTo>
                    <a:pt x="673" y="226"/>
                  </a:lnTo>
                  <a:lnTo>
                    <a:pt x="678" y="210"/>
                  </a:lnTo>
                  <a:lnTo>
                    <a:pt x="678" y="210"/>
                  </a:lnTo>
                  <a:lnTo>
                    <a:pt x="680" y="203"/>
                  </a:lnTo>
                  <a:lnTo>
                    <a:pt x="684" y="197"/>
                  </a:lnTo>
                  <a:lnTo>
                    <a:pt x="689" y="190"/>
                  </a:lnTo>
                  <a:lnTo>
                    <a:pt x="694" y="187"/>
                  </a:lnTo>
                  <a:lnTo>
                    <a:pt x="705" y="180"/>
                  </a:lnTo>
                  <a:lnTo>
                    <a:pt x="714" y="174"/>
                  </a:lnTo>
                  <a:lnTo>
                    <a:pt x="714" y="174"/>
                  </a:lnTo>
                  <a:lnTo>
                    <a:pt x="728" y="162"/>
                  </a:lnTo>
                  <a:lnTo>
                    <a:pt x="751" y="137"/>
                  </a:lnTo>
                  <a:lnTo>
                    <a:pt x="777" y="109"/>
                  </a:lnTo>
                  <a:lnTo>
                    <a:pt x="803" y="85"/>
                  </a:lnTo>
                  <a:lnTo>
                    <a:pt x="803" y="85"/>
                  </a:lnTo>
                  <a:lnTo>
                    <a:pt x="837" y="55"/>
                  </a:lnTo>
                  <a:lnTo>
                    <a:pt x="849" y="46"/>
                  </a:lnTo>
                  <a:lnTo>
                    <a:pt x="863" y="37"/>
                  </a:lnTo>
                  <a:lnTo>
                    <a:pt x="863" y="37"/>
                  </a:lnTo>
                  <a:lnTo>
                    <a:pt x="870" y="34"/>
                  </a:lnTo>
                  <a:lnTo>
                    <a:pt x="877" y="28"/>
                  </a:lnTo>
                  <a:lnTo>
                    <a:pt x="890" y="16"/>
                  </a:lnTo>
                  <a:lnTo>
                    <a:pt x="900" y="5"/>
                  </a:lnTo>
                  <a:lnTo>
                    <a:pt x="904" y="2"/>
                  </a:lnTo>
                  <a:lnTo>
                    <a:pt x="907" y="0"/>
                  </a:lnTo>
                  <a:lnTo>
                    <a:pt x="907" y="0"/>
                  </a:lnTo>
                  <a:lnTo>
                    <a:pt x="916" y="2"/>
                  </a:lnTo>
                  <a:lnTo>
                    <a:pt x="934" y="5"/>
                  </a:lnTo>
                  <a:lnTo>
                    <a:pt x="957" y="11"/>
                  </a:lnTo>
                  <a:lnTo>
                    <a:pt x="979" y="18"/>
                  </a:lnTo>
                  <a:lnTo>
                    <a:pt x="979" y="18"/>
                  </a:lnTo>
                  <a:lnTo>
                    <a:pt x="1004" y="27"/>
                  </a:lnTo>
                  <a:lnTo>
                    <a:pt x="1032" y="34"/>
                  </a:lnTo>
                  <a:lnTo>
                    <a:pt x="1064" y="42"/>
                  </a:lnTo>
                  <a:lnTo>
                    <a:pt x="1064" y="42"/>
                  </a:lnTo>
                  <a:lnTo>
                    <a:pt x="1069" y="55"/>
                  </a:lnTo>
                  <a:lnTo>
                    <a:pt x="1071" y="67"/>
                  </a:lnTo>
                  <a:lnTo>
                    <a:pt x="1075" y="79"/>
                  </a:lnTo>
                  <a:lnTo>
                    <a:pt x="1075" y="79"/>
                  </a:lnTo>
                  <a:lnTo>
                    <a:pt x="1075" y="86"/>
                  </a:lnTo>
                  <a:lnTo>
                    <a:pt x="1078" y="95"/>
                  </a:lnTo>
                  <a:lnTo>
                    <a:pt x="1087" y="111"/>
                  </a:lnTo>
                  <a:lnTo>
                    <a:pt x="1090" y="122"/>
                  </a:lnTo>
                  <a:lnTo>
                    <a:pt x="1094" y="130"/>
                  </a:lnTo>
                  <a:lnTo>
                    <a:pt x="1096" y="141"/>
                  </a:lnTo>
                  <a:lnTo>
                    <a:pt x="1096" y="152"/>
                  </a:lnTo>
                  <a:lnTo>
                    <a:pt x="1096" y="152"/>
                  </a:lnTo>
                  <a:lnTo>
                    <a:pt x="1096" y="162"/>
                  </a:lnTo>
                  <a:lnTo>
                    <a:pt x="1096" y="169"/>
                  </a:lnTo>
                  <a:lnTo>
                    <a:pt x="1097" y="182"/>
                  </a:lnTo>
                  <a:lnTo>
                    <a:pt x="1099" y="194"/>
                  </a:lnTo>
                  <a:lnTo>
                    <a:pt x="1097" y="201"/>
                  </a:lnTo>
                  <a:lnTo>
                    <a:pt x="1096" y="208"/>
                  </a:lnTo>
                  <a:lnTo>
                    <a:pt x="1096" y="208"/>
                  </a:lnTo>
                  <a:lnTo>
                    <a:pt x="1083" y="240"/>
                  </a:lnTo>
                  <a:lnTo>
                    <a:pt x="1078" y="250"/>
                  </a:lnTo>
                  <a:lnTo>
                    <a:pt x="1078" y="257"/>
                  </a:lnTo>
                  <a:lnTo>
                    <a:pt x="1078" y="257"/>
                  </a:lnTo>
                  <a:lnTo>
                    <a:pt x="1078" y="264"/>
                  </a:lnTo>
                  <a:lnTo>
                    <a:pt x="1080" y="271"/>
                  </a:lnTo>
                  <a:lnTo>
                    <a:pt x="1082" y="280"/>
                  </a:lnTo>
                  <a:lnTo>
                    <a:pt x="1087" y="287"/>
                  </a:lnTo>
                  <a:lnTo>
                    <a:pt x="1087" y="287"/>
                  </a:lnTo>
                  <a:lnTo>
                    <a:pt x="1108" y="308"/>
                  </a:lnTo>
                  <a:lnTo>
                    <a:pt x="1122" y="322"/>
                  </a:lnTo>
                  <a:lnTo>
                    <a:pt x="1122" y="3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0" name="Freeform 34">
              <a:extLst>
                <a:ext uri="{FF2B5EF4-FFF2-40B4-BE49-F238E27FC236}">
                  <a16:creationId xmlns:a16="http://schemas.microsoft.com/office/drawing/2014/main" id="{7D9E1845-43E2-41E1-965D-DA55B95189C9}"/>
                </a:ext>
              </a:extLst>
            </p:cNvPr>
            <p:cNvSpPr>
              <a:spLocks/>
            </p:cNvSpPr>
            <p:nvPr/>
          </p:nvSpPr>
          <p:spPr bwMode="auto">
            <a:xfrm>
              <a:off x="5431392" y="5728602"/>
              <a:ext cx="107073" cy="110643"/>
            </a:xfrm>
            <a:custGeom>
              <a:avLst/>
              <a:gdLst/>
              <a:ahLst/>
              <a:cxnLst>
                <a:cxn ang="0">
                  <a:pos x="120" y="51"/>
                </a:cxn>
                <a:cxn ang="0">
                  <a:pos x="120" y="51"/>
                </a:cxn>
                <a:cxn ang="0">
                  <a:pos x="118" y="59"/>
                </a:cxn>
                <a:cxn ang="0">
                  <a:pos x="116" y="74"/>
                </a:cxn>
                <a:cxn ang="0">
                  <a:pos x="115" y="83"/>
                </a:cxn>
                <a:cxn ang="0">
                  <a:pos x="111" y="92"/>
                </a:cxn>
                <a:cxn ang="0">
                  <a:pos x="107" y="101"/>
                </a:cxn>
                <a:cxn ang="0">
                  <a:pos x="102" y="108"/>
                </a:cxn>
                <a:cxn ang="0">
                  <a:pos x="102" y="108"/>
                </a:cxn>
                <a:cxn ang="0">
                  <a:pos x="93" y="113"/>
                </a:cxn>
                <a:cxn ang="0">
                  <a:pos x="85" y="118"/>
                </a:cxn>
                <a:cxn ang="0">
                  <a:pos x="76" y="122"/>
                </a:cxn>
                <a:cxn ang="0">
                  <a:pos x="67" y="125"/>
                </a:cxn>
                <a:cxn ang="0">
                  <a:pos x="56" y="125"/>
                </a:cxn>
                <a:cxn ang="0">
                  <a:pos x="48" y="125"/>
                </a:cxn>
                <a:cxn ang="0">
                  <a:pos x="39" y="124"/>
                </a:cxn>
                <a:cxn ang="0">
                  <a:pos x="34" y="120"/>
                </a:cxn>
                <a:cxn ang="0">
                  <a:pos x="34" y="120"/>
                </a:cxn>
                <a:cxn ang="0">
                  <a:pos x="21" y="108"/>
                </a:cxn>
                <a:cxn ang="0">
                  <a:pos x="9" y="94"/>
                </a:cxn>
                <a:cxn ang="0">
                  <a:pos x="4" y="85"/>
                </a:cxn>
                <a:cxn ang="0">
                  <a:pos x="2" y="78"/>
                </a:cxn>
                <a:cxn ang="0">
                  <a:pos x="0" y="67"/>
                </a:cxn>
                <a:cxn ang="0">
                  <a:pos x="0" y="59"/>
                </a:cxn>
                <a:cxn ang="0">
                  <a:pos x="0" y="59"/>
                </a:cxn>
                <a:cxn ang="0">
                  <a:pos x="2" y="50"/>
                </a:cxn>
                <a:cxn ang="0">
                  <a:pos x="4" y="39"/>
                </a:cxn>
                <a:cxn ang="0">
                  <a:pos x="9" y="30"/>
                </a:cxn>
                <a:cxn ang="0">
                  <a:pos x="16" y="22"/>
                </a:cxn>
                <a:cxn ang="0">
                  <a:pos x="21" y="14"/>
                </a:cxn>
                <a:cxn ang="0">
                  <a:pos x="30" y="9"/>
                </a:cxn>
                <a:cxn ang="0">
                  <a:pos x="39" y="4"/>
                </a:cxn>
                <a:cxn ang="0">
                  <a:pos x="48" y="0"/>
                </a:cxn>
                <a:cxn ang="0">
                  <a:pos x="48" y="0"/>
                </a:cxn>
                <a:cxn ang="0">
                  <a:pos x="56" y="0"/>
                </a:cxn>
                <a:cxn ang="0">
                  <a:pos x="67" y="2"/>
                </a:cxn>
                <a:cxn ang="0">
                  <a:pos x="78" y="6"/>
                </a:cxn>
                <a:cxn ang="0">
                  <a:pos x="90" y="11"/>
                </a:cxn>
                <a:cxn ang="0">
                  <a:pos x="99" y="18"/>
                </a:cxn>
                <a:cxn ang="0">
                  <a:pos x="107" y="29"/>
                </a:cxn>
                <a:cxn ang="0">
                  <a:pos x="115" y="39"/>
                </a:cxn>
                <a:cxn ang="0">
                  <a:pos x="120" y="51"/>
                </a:cxn>
                <a:cxn ang="0">
                  <a:pos x="120" y="51"/>
                </a:cxn>
              </a:cxnLst>
              <a:rect l="0" t="0" r="r" b="b"/>
              <a:pathLst>
                <a:path w="120" h="125">
                  <a:moveTo>
                    <a:pt x="120" y="51"/>
                  </a:moveTo>
                  <a:lnTo>
                    <a:pt x="120" y="51"/>
                  </a:lnTo>
                  <a:lnTo>
                    <a:pt x="118" y="59"/>
                  </a:lnTo>
                  <a:lnTo>
                    <a:pt x="116" y="74"/>
                  </a:lnTo>
                  <a:lnTo>
                    <a:pt x="115" y="83"/>
                  </a:lnTo>
                  <a:lnTo>
                    <a:pt x="111" y="92"/>
                  </a:lnTo>
                  <a:lnTo>
                    <a:pt x="107" y="101"/>
                  </a:lnTo>
                  <a:lnTo>
                    <a:pt x="102" y="108"/>
                  </a:lnTo>
                  <a:lnTo>
                    <a:pt x="102" y="108"/>
                  </a:lnTo>
                  <a:lnTo>
                    <a:pt x="93" y="113"/>
                  </a:lnTo>
                  <a:lnTo>
                    <a:pt x="85" y="118"/>
                  </a:lnTo>
                  <a:lnTo>
                    <a:pt x="76" y="122"/>
                  </a:lnTo>
                  <a:lnTo>
                    <a:pt x="67" y="125"/>
                  </a:lnTo>
                  <a:lnTo>
                    <a:pt x="56" y="125"/>
                  </a:lnTo>
                  <a:lnTo>
                    <a:pt x="48" y="125"/>
                  </a:lnTo>
                  <a:lnTo>
                    <a:pt x="39" y="124"/>
                  </a:lnTo>
                  <a:lnTo>
                    <a:pt x="34" y="120"/>
                  </a:lnTo>
                  <a:lnTo>
                    <a:pt x="34" y="120"/>
                  </a:lnTo>
                  <a:lnTo>
                    <a:pt x="21" y="108"/>
                  </a:lnTo>
                  <a:lnTo>
                    <a:pt x="9" y="94"/>
                  </a:lnTo>
                  <a:lnTo>
                    <a:pt x="4" y="85"/>
                  </a:lnTo>
                  <a:lnTo>
                    <a:pt x="2" y="78"/>
                  </a:lnTo>
                  <a:lnTo>
                    <a:pt x="0" y="67"/>
                  </a:lnTo>
                  <a:lnTo>
                    <a:pt x="0" y="59"/>
                  </a:lnTo>
                  <a:lnTo>
                    <a:pt x="0" y="59"/>
                  </a:lnTo>
                  <a:lnTo>
                    <a:pt x="2" y="50"/>
                  </a:lnTo>
                  <a:lnTo>
                    <a:pt x="4" y="39"/>
                  </a:lnTo>
                  <a:lnTo>
                    <a:pt x="9" y="30"/>
                  </a:lnTo>
                  <a:lnTo>
                    <a:pt x="16" y="22"/>
                  </a:lnTo>
                  <a:lnTo>
                    <a:pt x="21" y="14"/>
                  </a:lnTo>
                  <a:lnTo>
                    <a:pt x="30" y="9"/>
                  </a:lnTo>
                  <a:lnTo>
                    <a:pt x="39" y="4"/>
                  </a:lnTo>
                  <a:lnTo>
                    <a:pt x="48" y="0"/>
                  </a:lnTo>
                  <a:lnTo>
                    <a:pt x="48" y="0"/>
                  </a:lnTo>
                  <a:lnTo>
                    <a:pt x="56" y="0"/>
                  </a:lnTo>
                  <a:lnTo>
                    <a:pt x="67" y="2"/>
                  </a:lnTo>
                  <a:lnTo>
                    <a:pt x="78" y="6"/>
                  </a:lnTo>
                  <a:lnTo>
                    <a:pt x="90" y="11"/>
                  </a:lnTo>
                  <a:lnTo>
                    <a:pt x="99" y="18"/>
                  </a:lnTo>
                  <a:lnTo>
                    <a:pt x="107" y="29"/>
                  </a:lnTo>
                  <a:lnTo>
                    <a:pt x="115" y="39"/>
                  </a:lnTo>
                  <a:lnTo>
                    <a:pt x="120" y="51"/>
                  </a:lnTo>
                  <a:lnTo>
                    <a:pt x="120" y="5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1" name="Freeform 35">
              <a:extLst>
                <a:ext uri="{FF2B5EF4-FFF2-40B4-BE49-F238E27FC236}">
                  <a16:creationId xmlns:a16="http://schemas.microsoft.com/office/drawing/2014/main" id="{21199CA9-968C-44E2-B881-923C13530EFB}"/>
                </a:ext>
              </a:extLst>
            </p:cNvPr>
            <p:cNvSpPr>
              <a:spLocks/>
            </p:cNvSpPr>
            <p:nvPr/>
          </p:nvSpPr>
          <p:spPr bwMode="auto">
            <a:xfrm>
              <a:off x="5177985" y="5914196"/>
              <a:ext cx="146334" cy="137411"/>
            </a:xfrm>
            <a:custGeom>
              <a:avLst/>
              <a:gdLst/>
              <a:ahLst/>
              <a:cxnLst>
                <a:cxn ang="0">
                  <a:pos x="126" y="4"/>
                </a:cxn>
                <a:cxn ang="0">
                  <a:pos x="126" y="4"/>
                </a:cxn>
                <a:cxn ang="0">
                  <a:pos x="137" y="7"/>
                </a:cxn>
                <a:cxn ang="0">
                  <a:pos x="144" y="12"/>
                </a:cxn>
                <a:cxn ang="0">
                  <a:pos x="149" y="18"/>
                </a:cxn>
                <a:cxn ang="0">
                  <a:pos x="153" y="25"/>
                </a:cxn>
                <a:cxn ang="0">
                  <a:pos x="158" y="37"/>
                </a:cxn>
                <a:cxn ang="0">
                  <a:pos x="162" y="53"/>
                </a:cxn>
                <a:cxn ang="0">
                  <a:pos x="162" y="53"/>
                </a:cxn>
                <a:cxn ang="0">
                  <a:pos x="163" y="62"/>
                </a:cxn>
                <a:cxn ang="0">
                  <a:pos x="163" y="72"/>
                </a:cxn>
                <a:cxn ang="0">
                  <a:pos x="163" y="83"/>
                </a:cxn>
                <a:cxn ang="0">
                  <a:pos x="162" y="95"/>
                </a:cxn>
                <a:cxn ang="0">
                  <a:pos x="158" y="106"/>
                </a:cxn>
                <a:cxn ang="0">
                  <a:pos x="155" y="114"/>
                </a:cxn>
                <a:cxn ang="0">
                  <a:pos x="149" y="120"/>
                </a:cxn>
                <a:cxn ang="0">
                  <a:pos x="144" y="123"/>
                </a:cxn>
                <a:cxn ang="0">
                  <a:pos x="144" y="123"/>
                </a:cxn>
                <a:cxn ang="0">
                  <a:pos x="130" y="125"/>
                </a:cxn>
                <a:cxn ang="0">
                  <a:pos x="114" y="127"/>
                </a:cxn>
                <a:cxn ang="0">
                  <a:pos x="98" y="130"/>
                </a:cxn>
                <a:cxn ang="0">
                  <a:pos x="91" y="134"/>
                </a:cxn>
                <a:cxn ang="0">
                  <a:pos x="84" y="137"/>
                </a:cxn>
                <a:cxn ang="0">
                  <a:pos x="84" y="137"/>
                </a:cxn>
                <a:cxn ang="0">
                  <a:pos x="68" y="146"/>
                </a:cxn>
                <a:cxn ang="0">
                  <a:pos x="59" y="150"/>
                </a:cxn>
                <a:cxn ang="0">
                  <a:pos x="51" y="151"/>
                </a:cxn>
                <a:cxn ang="0">
                  <a:pos x="42" y="153"/>
                </a:cxn>
                <a:cxn ang="0">
                  <a:pos x="33" y="151"/>
                </a:cxn>
                <a:cxn ang="0">
                  <a:pos x="26" y="148"/>
                </a:cxn>
                <a:cxn ang="0">
                  <a:pos x="21" y="143"/>
                </a:cxn>
                <a:cxn ang="0">
                  <a:pos x="21" y="143"/>
                </a:cxn>
                <a:cxn ang="0">
                  <a:pos x="10" y="127"/>
                </a:cxn>
                <a:cxn ang="0">
                  <a:pos x="3" y="107"/>
                </a:cxn>
                <a:cxn ang="0">
                  <a:pos x="0" y="97"/>
                </a:cxn>
                <a:cxn ang="0">
                  <a:pos x="0" y="88"/>
                </a:cxn>
                <a:cxn ang="0">
                  <a:pos x="1" y="81"/>
                </a:cxn>
                <a:cxn ang="0">
                  <a:pos x="7" y="74"/>
                </a:cxn>
                <a:cxn ang="0">
                  <a:pos x="7" y="74"/>
                </a:cxn>
                <a:cxn ang="0">
                  <a:pos x="29" y="55"/>
                </a:cxn>
                <a:cxn ang="0">
                  <a:pos x="54" y="35"/>
                </a:cxn>
                <a:cxn ang="0">
                  <a:pos x="54" y="35"/>
                </a:cxn>
                <a:cxn ang="0">
                  <a:pos x="68" y="21"/>
                </a:cxn>
                <a:cxn ang="0">
                  <a:pos x="75" y="14"/>
                </a:cxn>
                <a:cxn ang="0">
                  <a:pos x="82" y="9"/>
                </a:cxn>
                <a:cxn ang="0">
                  <a:pos x="91" y="4"/>
                </a:cxn>
                <a:cxn ang="0">
                  <a:pos x="100" y="0"/>
                </a:cxn>
                <a:cxn ang="0">
                  <a:pos x="112" y="0"/>
                </a:cxn>
                <a:cxn ang="0">
                  <a:pos x="126" y="4"/>
                </a:cxn>
                <a:cxn ang="0">
                  <a:pos x="126" y="4"/>
                </a:cxn>
              </a:cxnLst>
              <a:rect l="0" t="0" r="r" b="b"/>
              <a:pathLst>
                <a:path w="163" h="153">
                  <a:moveTo>
                    <a:pt x="126" y="4"/>
                  </a:moveTo>
                  <a:lnTo>
                    <a:pt x="126" y="4"/>
                  </a:lnTo>
                  <a:lnTo>
                    <a:pt x="137" y="7"/>
                  </a:lnTo>
                  <a:lnTo>
                    <a:pt x="144" y="12"/>
                  </a:lnTo>
                  <a:lnTo>
                    <a:pt x="149" y="18"/>
                  </a:lnTo>
                  <a:lnTo>
                    <a:pt x="153" y="25"/>
                  </a:lnTo>
                  <a:lnTo>
                    <a:pt x="158" y="37"/>
                  </a:lnTo>
                  <a:lnTo>
                    <a:pt x="162" y="53"/>
                  </a:lnTo>
                  <a:lnTo>
                    <a:pt x="162" y="53"/>
                  </a:lnTo>
                  <a:lnTo>
                    <a:pt x="163" y="62"/>
                  </a:lnTo>
                  <a:lnTo>
                    <a:pt x="163" y="72"/>
                  </a:lnTo>
                  <a:lnTo>
                    <a:pt x="163" y="83"/>
                  </a:lnTo>
                  <a:lnTo>
                    <a:pt x="162" y="95"/>
                  </a:lnTo>
                  <a:lnTo>
                    <a:pt x="158" y="106"/>
                  </a:lnTo>
                  <a:lnTo>
                    <a:pt x="155" y="114"/>
                  </a:lnTo>
                  <a:lnTo>
                    <a:pt x="149" y="120"/>
                  </a:lnTo>
                  <a:lnTo>
                    <a:pt x="144" y="123"/>
                  </a:lnTo>
                  <a:lnTo>
                    <a:pt x="144" y="123"/>
                  </a:lnTo>
                  <a:lnTo>
                    <a:pt x="130" y="125"/>
                  </a:lnTo>
                  <a:lnTo>
                    <a:pt x="114" y="127"/>
                  </a:lnTo>
                  <a:lnTo>
                    <a:pt x="98" y="130"/>
                  </a:lnTo>
                  <a:lnTo>
                    <a:pt x="91" y="134"/>
                  </a:lnTo>
                  <a:lnTo>
                    <a:pt x="84" y="137"/>
                  </a:lnTo>
                  <a:lnTo>
                    <a:pt x="84" y="137"/>
                  </a:lnTo>
                  <a:lnTo>
                    <a:pt x="68" y="146"/>
                  </a:lnTo>
                  <a:lnTo>
                    <a:pt x="59" y="150"/>
                  </a:lnTo>
                  <a:lnTo>
                    <a:pt x="51" y="151"/>
                  </a:lnTo>
                  <a:lnTo>
                    <a:pt x="42" y="153"/>
                  </a:lnTo>
                  <a:lnTo>
                    <a:pt x="33" y="151"/>
                  </a:lnTo>
                  <a:lnTo>
                    <a:pt x="26" y="148"/>
                  </a:lnTo>
                  <a:lnTo>
                    <a:pt x="21" y="143"/>
                  </a:lnTo>
                  <a:lnTo>
                    <a:pt x="21" y="143"/>
                  </a:lnTo>
                  <a:lnTo>
                    <a:pt x="10" y="127"/>
                  </a:lnTo>
                  <a:lnTo>
                    <a:pt x="3" y="107"/>
                  </a:lnTo>
                  <a:lnTo>
                    <a:pt x="0" y="97"/>
                  </a:lnTo>
                  <a:lnTo>
                    <a:pt x="0" y="88"/>
                  </a:lnTo>
                  <a:lnTo>
                    <a:pt x="1" y="81"/>
                  </a:lnTo>
                  <a:lnTo>
                    <a:pt x="7" y="74"/>
                  </a:lnTo>
                  <a:lnTo>
                    <a:pt x="7" y="74"/>
                  </a:lnTo>
                  <a:lnTo>
                    <a:pt x="29" y="55"/>
                  </a:lnTo>
                  <a:lnTo>
                    <a:pt x="54" y="35"/>
                  </a:lnTo>
                  <a:lnTo>
                    <a:pt x="54" y="35"/>
                  </a:lnTo>
                  <a:lnTo>
                    <a:pt x="68" y="21"/>
                  </a:lnTo>
                  <a:lnTo>
                    <a:pt x="75" y="14"/>
                  </a:lnTo>
                  <a:lnTo>
                    <a:pt x="82" y="9"/>
                  </a:lnTo>
                  <a:lnTo>
                    <a:pt x="91" y="4"/>
                  </a:lnTo>
                  <a:lnTo>
                    <a:pt x="100" y="0"/>
                  </a:lnTo>
                  <a:lnTo>
                    <a:pt x="112" y="0"/>
                  </a:lnTo>
                  <a:lnTo>
                    <a:pt x="126" y="4"/>
                  </a:lnTo>
                  <a:lnTo>
                    <a:pt x="126"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2" name="Freeform 36">
              <a:extLst>
                <a:ext uri="{FF2B5EF4-FFF2-40B4-BE49-F238E27FC236}">
                  <a16:creationId xmlns:a16="http://schemas.microsoft.com/office/drawing/2014/main" id="{174298B0-4A44-4233-92DD-81AE9A261BE8}"/>
                </a:ext>
              </a:extLst>
            </p:cNvPr>
            <p:cNvSpPr>
              <a:spLocks/>
            </p:cNvSpPr>
            <p:nvPr/>
          </p:nvSpPr>
          <p:spPr bwMode="auto">
            <a:xfrm>
              <a:off x="4760398" y="5193235"/>
              <a:ext cx="590688" cy="628164"/>
            </a:xfrm>
            <a:custGeom>
              <a:avLst/>
              <a:gdLst/>
              <a:ahLst/>
              <a:cxnLst>
                <a:cxn ang="0">
                  <a:pos x="7" y="302"/>
                </a:cxn>
                <a:cxn ang="0">
                  <a:pos x="14" y="294"/>
                </a:cxn>
                <a:cxn ang="0">
                  <a:pos x="34" y="292"/>
                </a:cxn>
                <a:cxn ang="0">
                  <a:pos x="62" y="299"/>
                </a:cxn>
                <a:cxn ang="0">
                  <a:pos x="72" y="297"/>
                </a:cxn>
                <a:cxn ang="0">
                  <a:pos x="81" y="285"/>
                </a:cxn>
                <a:cxn ang="0">
                  <a:pos x="90" y="232"/>
                </a:cxn>
                <a:cxn ang="0">
                  <a:pos x="88" y="155"/>
                </a:cxn>
                <a:cxn ang="0">
                  <a:pos x="86" y="91"/>
                </a:cxn>
                <a:cxn ang="0">
                  <a:pos x="99" y="54"/>
                </a:cxn>
                <a:cxn ang="0">
                  <a:pos x="118" y="45"/>
                </a:cxn>
                <a:cxn ang="0">
                  <a:pos x="167" y="35"/>
                </a:cxn>
                <a:cxn ang="0">
                  <a:pos x="227" y="26"/>
                </a:cxn>
                <a:cxn ang="0">
                  <a:pos x="241" y="24"/>
                </a:cxn>
                <a:cxn ang="0">
                  <a:pos x="262" y="37"/>
                </a:cxn>
                <a:cxn ang="0">
                  <a:pos x="277" y="47"/>
                </a:cxn>
                <a:cxn ang="0">
                  <a:pos x="299" y="49"/>
                </a:cxn>
                <a:cxn ang="0">
                  <a:pos x="308" y="42"/>
                </a:cxn>
                <a:cxn ang="0">
                  <a:pos x="336" y="19"/>
                </a:cxn>
                <a:cxn ang="0">
                  <a:pos x="352" y="15"/>
                </a:cxn>
                <a:cxn ang="0">
                  <a:pos x="389" y="8"/>
                </a:cxn>
                <a:cxn ang="0">
                  <a:pos x="400" y="0"/>
                </a:cxn>
                <a:cxn ang="0">
                  <a:pos x="419" y="14"/>
                </a:cxn>
                <a:cxn ang="0">
                  <a:pos x="428" y="24"/>
                </a:cxn>
                <a:cxn ang="0">
                  <a:pos x="446" y="82"/>
                </a:cxn>
                <a:cxn ang="0">
                  <a:pos x="467" y="116"/>
                </a:cxn>
                <a:cxn ang="0">
                  <a:pos x="495" y="140"/>
                </a:cxn>
                <a:cxn ang="0">
                  <a:pos x="528" y="172"/>
                </a:cxn>
                <a:cxn ang="0">
                  <a:pos x="550" y="207"/>
                </a:cxn>
                <a:cxn ang="0">
                  <a:pos x="572" y="239"/>
                </a:cxn>
                <a:cxn ang="0">
                  <a:pos x="595" y="262"/>
                </a:cxn>
                <a:cxn ang="0">
                  <a:pos x="655" y="308"/>
                </a:cxn>
                <a:cxn ang="0">
                  <a:pos x="660" y="317"/>
                </a:cxn>
                <a:cxn ang="0">
                  <a:pos x="625" y="354"/>
                </a:cxn>
                <a:cxn ang="0">
                  <a:pos x="606" y="366"/>
                </a:cxn>
                <a:cxn ang="0">
                  <a:pos x="581" y="383"/>
                </a:cxn>
                <a:cxn ang="0">
                  <a:pos x="513" y="449"/>
                </a:cxn>
                <a:cxn ang="0">
                  <a:pos x="498" y="466"/>
                </a:cxn>
                <a:cxn ang="0">
                  <a:pos x="469" y="494"/>
                </a:cxn>
                <a:cxn ang="0">
                  <a:pos x="446" y="510"/>
                </a:cxn>
                <a:cxn ang="0">
                  <a:pos x="439" y="517"/>
                </a:cxn>
                <a:cxn ang="0">
                  <a:pos x="407" y="583"/>
                </a:cxn>
                <a:cxn ang="0">
                  <a:pos x="388" y="597"/>
                </a:cxn>
                <a:cxn ang="0">
                  <a:pos x="359" y="604"/>
                </a:cxn>
                <a:cxn ang="0">
                  <a:pos x="317" y="600"/>
                </a:cxn>
                <a:cxn ang="0">
                  <a:pos x="268" y="586"/>
                </a:cxn>
                <a:cxn ang="0">
                  <a:pos x="248" y="572"/>
                </a:cxn>
                <a:cxn ang="0">
                  <a:pos x="236" y="567"/>
                </a:cxn>
                <a:cxn ang="0">
                  <a:pos x="227" y="574"/>
                </a:cxn>
                <a:cxn ang="0">
                  <a:pos x="148" y="690"/>
                </a:cxn>
                <a:cxn ang="0">
                  <a:pos x="125" y="699"/>
                </a:cxn>
                <a:cxn ang="0">
                  <a:pos x="93" y="699"/>
                </a:cxn>
                <a:cxn ang="0">
                  <a:pos x="79" y="692"/>
                </a:cxn>
                <a:cxn ang="0">
                  <a:pos x="67" y="662"/>
                </a:cxn>
                <a:cxn ang="0">
                  <a:pos x="65" y="634"/>
                </a:cxn>
                <a:cxn ang="0">
                  <a:pos x="65" y="547"/>
                </a:cxn>
                <a:cxn ang="0">
                  <a:pos x="55" y="537"/>
                </a:cxn>
                <a:cxn ang="0">
                  <a:pos x="7" y="509"/>
                </a:cxn>
              </a:cxnLst>
              <a:rect l="0" t="0" r="r" b="b"/>
              <a:pathLst>
                <a:path w="662" h="702">
                  <a:moveTo>
                    <a:pt x="0" y="507"/>
                  </a:moveTo>
                  <a:lnTo>
                    <a:pt x="7" y="302"/>
                  </a:lnTo>
                  <a:lnTo>
                    <a:pt x="7" y="302"/>
                  </a:lnTo>
                  <a:lnTo>
                    <a:pt x="7" y="301"/>
                  </a:lnTo>
                  <a:lnTo>
                    <a:pt x="9" y="297"/>
                  </a:lnTo>
                  <a:lnTo>
                    <a:pt x="14" y="294"/>
                  </a:lnTo>
                  <a:lnTo>
                    <a:pt x="27" y="292"/>
                  </a:lnTo>
                  <a:lnTo>
                    <a:pt x="27" y="292"/>
                  </a:lnTo>
                  <a:lnTo>
                    <a:pt x="34" y="292"/>
                  </a:lnTo>
                  <a:lnTo>
                    <a:pt x="39" y="292"/>
                  </a:lnTo>
                  <a:lnTo>
                    <a:pt x="51" y="295"/>
                  </a:lnTo>
                  <a:lnTo>
                    <a:pt x="62" y="299"/>
                  </a:lnTo>
                  <a:lnTo>
                    <a:pt x="67" y="299"/>
                  </a:lnTo>
                  <a:lnTo>
                    <a:pt x="72" y="297"/>
                  </a:lnTo>
                  <a:lnTo>
                    <a:pt x="72" y="297"/>
                  </a:lnTo>
                  <a:lnTo>
                    <a:pt x="74" y="295"/>
                  </a:lnTo>
                  <a:lnTo>
                    <a:pt x="78" y="292"/>
                  </a:lnTo>
                  <a:lnTo>
                    <a:pt x="81" y="285"/>
                  </a:lnTo>
                  <a:lnTo>
                    <a:pt x="85" y="273"/>
                  </a:lnTo>
                  <a:lnTo>
                    <a:pt x="86" y="260"/>
                  </a:lnTo>
                  <a:lnTo>
                    <a:pt x="90" y="232"/>
                  </a:lnTo>
                  <a:lnTo>
                    <a:pt x="90" y="213"/>
                  </a:lnTo>
                  <a:lnTo>
                    <a:pt x="90" y="213"/>
                  </a:lnTo>
                  <a:lnTo>
                    <a:pt x="88" y="155"/>
                  </a:lnTo>
                  <a:lnTo>
                    <a:pt x="85" y="103"/>
                  </a:lnTo>
                  <a:lnTo>
                    <a:pt x="85" y="103"/>
                  </a:lnTo>
                  <a:lnTo>
                    <a:pt x="86" y="91"/>
                  </a:lnTo>
                  <a:lnTo>
                    <a:pt x="90" y="75"/>
                  </a:lnTo>
                  <a:lnTo>
                    <a:pt x="95" y="61"/>
                  </a:lnTo>
                  <a:lnTo>
                    <a:pt x="99" y="54"/>
                  </a:lnTo>
                  <a:lnTo>
                    <a:pt x="104" y="51"/>
                  </a:lnTo>
                  <a:lnTo>
                    <a:pt x="104" y="51"/>
                  </a:lnTo>
                  <a:lnTo>
                    <a:pt x="118" y="45"/>
                  </a:lnTo>
                  <a:lnTo>
                    <a:pt x="136" y="42"/>
                  </a:lnTo>
                  <a:lnTo>
                    <a:pt x="167" y="35"/>
                  </a:lnTo>
                  <a:lnTo>
                    <a:pt x="167" y="35"/>
                  </a:lnTo>
                  <a:lnTo>
                    <a:pt x="201" y="31"/>
                  </a:lnTo>
                  <a:lnTo>
                    <a:pt x="218" y="28"/>
                  </a:lnTo>
                  <a:lnTo>
                    <a:pt x="227" y="26"/>
                  </a:lnTo>
                  <a:lnTo>
                    <a:pt x="227" y="26"/>
                  </a:lnTo>
                  <a:lnTo>
                    <a:pt x="233" y="24"/>
                  </a:lnTo>
                  <a:lnTo>
                    <a:pt x="241" y="24"/>
                  </a:lnTo>
                  <a:lnTo>
                    <a:pt x="254" y="26"/>
                  </a:lnTo>
                  <a:lnTo>
                    <a:pt x="254" y="26"/>
                  </a:lnTo>
                  <a:lnTo>
                    <a:pt x="262" y="37"/>
                  </a:lnTo>
                  <a:lnTo>
                    <a:pt x="270" y="44"/>
                  </a:lnTo>
                  <a:lnTo>
                    <a:pt x="277" y="47"/>
                  </a:lnTo>
                  <a:lnTo>
                    <a:pt x="277" y="47"/>
                  </a:lnTo>
                  <a:lnTo>
                    <a:pt x="284" y="49"/>
                  </a:lnTo>
                  <a:lnTo>
                    <a:pt x="291" y="51"/>
                  </a:lnTo>
                  <a:lnTo>
                    <a:pt x="299" y="49"/>
                  </a:lnTo>
                  <a:lnTo>
                    <a:pt x="303" y="47"/>
                  </a:lnTo>
                  <a:lnTo>
                    <a:pt x="308" y="42"/>
                  </a:lnTo>
                  <a:lnTo>
                    <a:pt x="308" y="42"/>
                  </a:lnTo>
                  <a:lnTo>
                    <a:pt x="317" y="33"/>
                  </a:lnTo>
                  <a:lnTo>
                    <a:pt x="326" y="26"/>
                  </a:lnTo>
                  <a:lnTo>
                    <a:pt x="336" y="19"/>
                  </a:lnTo>
                  <a:lnTo>
                    <a:pt x="343" y="17"/>
                  </a:lnTo>
                  <a:lnTo>
                    <a:pt x="352" y="15"/>
                  </a:lnTo>
                  <a:lnTo>
                    <a:pt x="352" y="15"/>
                  </a:lnTo>
                  <a:lnTo>
                    <a:pt x="379" y="14"/>
                  </a:lnTo>
                  <a:lnTo>
                    <a:pt x="386" y="12"/>
                  </a:lnTo>
                  <a:lnTo>
                    <a:pt x="389" y="8"/>
                  </a:lnTo>
                  <a:lnTo>
                    <a:pt x="389" y="8"/>
                  </a:lnTo>
                  <a:lnTo>
                    <a:pt x="400" y="0"/>
                  </a:lnTo>
                  <a:lnTo>
                    <a:pt x="400" y="0"/>
                  </a:lnTo>
                  <a:lnTo>
                    <a:pt x="402" y="1"/>
                  </a:lnTo>
                  <a:lnTo>
                    <a:pt x="410" y="5"/>
                  </a:lnTo>
                  <a:lnTo>
                    <a:pt x="419" y="14"/>
                  </a:lnTo>
                  <a:lnTo>
                    <a:pt x="425" y="19"/>
                  </a:lnTo>
                  <a:lnTo>
                    <a:pt x="428" y="24"/>
                  </a:lnTo>
                  <a:lnTo>
                    <a:pt x="428" y="24"/>
                  </a:lnTo>
                  <a:lnTo>
                    <a:pt x="433" y="44"/>
                  </a:lnTo>
                  <a:lnTo>
                    <a:pt x="440" y="68"/>
                  </a:lnTo>
                  <a:lnTo>
                    <a:pt x="446" y="82"/>
                  </a:lnTo>
                  <a:lnTo>
                    <a:pt x="451" y="95"/>
                  </a:lnTo>
                  <a:lnTo>
                    <a:pt x="458" y="107"/>
                  </a:lnTo>
                  <a:lnTo>
                    <a:pt x="467" y="116"/>
                  </a:lnTo>
                  <a:lnTo>
                    <a:pt x="467" y="116"/>
                  </a:lnTo>
                  <a:lnTo>
                    <a:pt x="481" y="130"/>
                  </a:lnTo>
                  <a:lnTo>
                    <a:pt x="495" y="140"/>
                  </a:lnTo>
                  <a:lnTo>
                    <a:pt x="509" y="155"/>
                  </a:lnTo>
                  <a:lnTo>
                    <a:pt x="528" y="172"/>
                  </a:lnTo>
                  <a:lnTo>
                    <a:pt x="528" y="172"/>
                  </a:lnTo>
                  <a:lnTo>
                    <a:pt x="537" y="183"/>
                  </a:lnTo>
                  <a:lnTo>
                    <a:pt x="544" y="192"/>
                  </a:lnTo>
                  <a:lnTo>
                    <a:pt x="550" y="207"/>
                  </a:lnTo>
                  <a:lnTo>
                    <a:pt x="557" y="221"/>
                  </a:lnTo>
                  <a:lnTo>
                    <a:pt x="564" y="230"/>
                  </a:lnTo>
                  <a:lnTo>
                    <a:pt x="572" y="239"/>
                  </a:lnTo>
                  <a:lnTo>
                    <a:pt x="572" y="239"/>
                  </a:lnTo>
                  <a:lnTo>
                    <a:pt x="583" y="251"/>
                  </a:lnTo>
                  <a:lnTo>
                    <a:pt x="595" y="262"/>
                  </a:lnTo>
                  <a:lnTo>
                    <a:pt x="622" y="281"/>
                  </a:lnTo>
                  <a:lnTo>
                    <a:pt x="643" y="297"/>
                  </a:lnTo>
                  <a:lnTo>
                    <a:pt x="655" y="308"/>
                  </a:lnTo>
                  <a:lnTo>
                    <a:pt x="655" y="308"/>
                  </a:lnTo>
                  <a:lnTo>
                    <a:pt x="659" y="313"/>
                  </a:lnTo>
                  <a:lnTo>
                    <a:pt x="660" y="317"/>
                  </a:lnTo>
                  <a:lnTo>
                    <a:pt x="662" y="320"/>
                  </a:lnTo>
                  <a:lnTo>
                    <a:pt x="662" y="320"/>
                  </a:lnTo>
                  <a:lnTo>
                    <a:pt x="625" y="354"/>
                  </a:lnTo>
                  <a:lnTo>
                    <a:pt x="625" y="354"/>
                  </a:lnTo>
                  <a:lnTo>
                    <a:pt x="618" y="359"/>
                  </a:lnTo>
                  <a:lnTo>
                    <a:pt x="606" y="366"/>
                  </a:lnTo>
                  <a:lnTo>
                    <a:pt x="592" y="375"/>
                  </a:lnTo>
                  <a:lnTo>
                    <a:pt x="581" y="383"/>
                  </a:lnTo>
                  <a:lnTo>
                    <a:pt x="581" y="383"/>
                  </a:lnTo>
                  <a:lnTo>
                    <a:pt x="565" y="399"/>
                  </a:lnTo>
                  <a:lnTo>
                    <a:pt x="539" y="424"/>
                  </a:lnTo>
                  <a:lnTo>
                    <a:pt x="513" y="449"/>
                  </a:lnTo>
                  <a:lnTo>
                    <a:pt x="504" y="459"/>
                  </a:lnTo>
                  <a:lnTo>
                    <a:pt x="498" y="466"/>
                  </a:lnTo>
                  <a:lnTo>
                    <a:pt x="498" y="466"/>
                  </a:lnTo>
                  <a:lnTo>
                    <a:pt x="491" y="477"/>
                  </a:lnTo>
                  <a:lnTo>
                    <a:pt x="481" y="486"/>
                  </a:lnTo>
                  <a:lnTo>
                    <a:pt x="469" y="494"/>
                  </a:lnTo>
                  <a:lnTo>
                    <a:pt x="469" y="494"/>
                  </a:lnTo>
                  <a:lnTo>
                    <a:pt x="454" y="502"/>
                  </a:lnTo>
                  <a:lnTo>
                    <a:pt x="446" y="510"/>
                  </a:lnTo>
                  <a:lnTo>
                    <a:pt x="440" y="514"/>
                  </a:lnTo>
                  <a:lnTo>
                    <a:pt x="439" y="517"/>
                  </a:lnTo>
                  <a:lnTo>
                    <a:pt x="439" y="517"/>
                  </a:lnTo>
                  <a:lnTo>
                    <a:pt x="425" y="553"/>
                  </a:lnTo>
                  <a:lnTo>
                    <a:pt x="414" y="574"/>
                  </a:lnTo>
                  <a:lnTo>
                    <a:pt x="407" y="583"/>
                  </a:lnTo>
                  <a:lnTo>
                    <a:pt x="400" y="590"/>
                  </a:lnTo>
                  <a:lnTo>
                    <a:pt x="400" y="590"/>
                  </a:lnTo>
                  <a:lnTo>
                    <a:pt x="388" y="597"/>
                  </a:lnTo>
                  <a:lnTo>
                    <a:pt x="375" y="602"/>
                  </a:lnTo>
                  <a:lnTo>
                    <a:pt x="366" y="604"/>
                  </a:lnTo>
                  <a:lnTo>
                    <a:pt x="359" y="604"/>
                  </a:lnTo>
                  <a:lnTo>
                    <a:pt x="359" y="604"/>
                  </a:lnTo>
                  <a:lnTo>
                    <a:pt x="340" y="602"/>
                  </a:lnTo>
                  <a:lnTo>
                    <a:pt x="317" y="600"/>
                  </a:lnTo>
                  <a:lnTo>
                    <a:pt x="285" y="595"/>
                  </a:lnTo>
                  <a:lnTo>
                    <a:pt x="285" y="595"/>
                  </a:lnTo>
                  <a:lnTo>
                    <a:pt x="268" y="586"/>
                  </a:lnTo>
                  <a:lnTo>
                    <a:pt x="254" y="575"/>
                  </a:lnTo>
                  <a:lnTo>
                    <a:pt x="254" y="575"/>
                  </a:lnTo>
                  <a:lnTo>
                    <a:pt x="248" y="572"/>
                  </a:lnTo>
                  <a:lnTo>
                    <a:pt x="243" y="567"/>
                  </a:lnTo>
                  <a:lnTo>
                    <a:pt x="240" y="567"/>
                  </a:lnTo>
                  <a:lnTo>
                    <a:pt x="236" y="567"/>
                  </a:lnTo>
                  <a:lnTo>
                    <a:pt x="233" y="570"/>
                  </a:lnTo>
                  <a:lnTo>
                    <a:pt x="227" y="574"/>
                  </a:lnTo>
                  <a:lnTo>
                    <a:pt x="227" y="574"/>
                  </a:lnTo>
                  <a:lnTo>
                    <a:pt x="167" y="660"/>
                  </a:lnTo>
                  <a:lnTo>
                    <a:pt x="167" y="660"/>
                  </a:lnTo>
                  <a:lnTo>
                    <a:pt x="148" y="690"/>
                  </a:lnTo>
                  <a:lnTo>
                    <a:pt x="148" y="690"/>
                  </a:lnTo>
                  <a:lnTo>
                    <a:pt x="141" y="693"/>
                  </a:lnTo>
                  <a:lnTo>
                    <a:pt x="125" y="699"/>
                  </a:lnTo>
                  <a:lnTo>
                    <a:pt x="116" y="701"/>
                  </a:lnTo>
                  <a:lnTo>
                    <a:pt x="104" y="702"/>
                  </a:lnTo>
                  <a:lnTo>
                    <a:pt x="93" y="699"/>
                  </a:lnTo>
                  <a:lnTo>
                    <a:pt x="83" y="693"/>
                  </a:lnTo>
                  <a:lnTo>
                    <a:pt x="83" y="693"/>
                  </a:lnTo>
                  <a:lnTo>
                    <a:pt x="79" y="692"/>
                  </a:lnTo>
                  <a:lnTo>
                    <a:pt x="74" y="681"/>
                  </a:lnTo>
                  <a:lnTo>
                    <a:pt x="71" y="672"/>
                  </a:lnTo>
                  <a:lnTo>
                    <a:pt x="67" y="662"/>
                  </a:lnTo>
                  <a:lnTo>
                    <a:pt x="65" y="649"/>
                  </a:lnTo>
                  <a:lnTo>
                    <a:pt x="65" y="634"/>
                  </a:lnTo>
                  <a:lnTo>
                    <a:pt x="65" y="634"/>
                  </a:lnTo>
                  <a:lnTo>
                    <a:pt x="67" y="577"/>
                  </a:lnTo>
                  <a:lnTo>
                    <a:pt x="67" y="560"/>
                  </a:lnTo>
                  <a:lnTo>
                    <a:pt x="65" y="547"/>
                  </a:lnTo>
                  <a:lnTo>
                    <a:pt x="65" y="547"/>
                  </a:lnTo>
                  <a:lnTo>
                    <a:pt x="62" y="542"/>
                  </a:lnTo>
                  <a:lnTo>
                    <a:pt x="55" y="537"/>
                  </a:lnTo>
                  <a:lnTo>
                    <a:pt x="37" y="524"/>
                  </a:lnTo>
                  <a:lnTo>
                    <a:pt x="16" y="512"/>
                  </a:lnTo>
                  <a:lnTo>
                    <a:pt x="7" y="509"/>
                  </a:lnTo>
                  <a:lnTo>
                    <a:pt x="0" y="507"/>
                  </a:lnTo>
                  <a:lnTo>
                    <a:pt x="0" y="5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3" name="Freeform 37">
              <a:extLst>
                <a:ext uri="{FF2B5EF4-FFF2-40B4-BE49-F238E27FC236}">
                  <a16:creationId xmlns:a16="http://schemas.microsoft.com/office/drawing/2014/main" id="{FB217B7B-309F-4A39-8183-EA4C1E189E46}"/>
                </a:ext>
              </a:extLst>
            </p:cNvPr>
            <p:cNvSpPr>
              <a:spLocks/>
            </p:cNvSpPr>
            <p:nvPr/>
          </p:nvSpPr>
          <p:spPr bwMode="auto">
            <a:xfrm>
              <a:off x="5413546" y="4743527"/>
              <a:ext cx="679916" cy="1017197"/>
            </a:xfrm>
            <a:custGeom>
              <a:avLst/>
              <a:gdLst/>
              <a:ahLst/>
              <a:cxnLst>
                <a:cxn ang="0">
                  <a:pos x="104" y="1108"/>
                </a:cxn>
                <a:cxn ang="0">
                  <a:pos x="100" y="1081"/>
                </a:cxn>
                <a:cxn ang="0">
                  <a:pos x="121" y="1027"/>
                </a:cxn>
                <a:cxn ang="0">
                  <a:pos x="118" y="977"/>
                </a:cxn>
                <a:cxn ang="0">
                  <a:pos x="100" y="919"/>
                </a:cxn>
                <a:cxn ang="0">
                  <a:pos x="112" y="831"/>
                </a:cxn>
                <a:cxn ang="0">
                  <a:pos x="165" y="736"/>
                </a:cxn>
                <a:cxn ang="0">
                  <a:pos x="204" y="688"/>
                </a:cxn>
                <a:cxn ang="0">
                  <a:pos x="211" y="636"/>
                </a:cxn>
                <a:cxn ang="0">
                  <a:pos x="211" y="546"/>
                </a:cxn>
                <a:cxn ang="0">
                  <a:pos x="206" y="479"/>
                </a:cxn>
                <a:cxn ang="0">
                  <a:pos x="186" y="442"/>
                </a:cxn>
                <a:cxn ang="0">
                  <a:pos x="67" y="393"/>
                </a:cxn>
                <a:cxn ang="0">
                  <a:pos x="8" y="368"/>
                </a:cxn>
                <a:cxn ang="0">
                  <a:pos x="5" y="345"/>
                </a:cxn>
                <a:cxn ang="0">
                  <a:pos x="98" y="285"/>
                </a:cxn>
                <a:cxn ang="0">
                  <a:pos x="195" y="252"/>
                </a:cxn>
                <a:cxn ang="0">
                  <a:pos x="259" y="252"/>
                </a:cxn>
                <a:cxn ang="0">
                  <a:pos x="292" y="273"/>
                </a:cxn>
                <a:cxn ang="0">
                  <a:pos x="320" y="319"/>
                </a:cxn>
                <a:cxn ang="0">
                  <a:pos x="313" y="393"/>
                </a:cxn>
                <a:cxn ang="0">
                  <a:pos x="329" y="444"/>
                </a:cxn>
                <a:cxn ang="0">
                  <a:pos x="354" y="449"/>
                </a:cxn>
                <a:cxn ang="0">
                  <a:pos x="405" y="391"/>
                </a:cxn>
                <a:cxn ang="0">
                  <a:pos x="408" y="329"/>
                </a:cxn>
                <a:cxn ang="0">
                  <a:pos x="389" y="275"/>
                </a:cxn>
                <a:cxn ang="0">
                  <a:pos x="345" y="160"/>
                </a:cxn>
                <a:cxn ang="0">
                  <a:pos x="347" y="67"/>
                </a:cxn>
                <a:cxn ang="0">
                  <a:pos x="421" y="70"/>
                </a:cxn>
                <a:cxn ang="0">
                  <a:pos x="496" y="77"/>
                </a:cxn>
                <a:cxn ang="0">
                  <a:pos x="565" y="63"/>
                </a:cxn>
                <a:cxn ang="0">
                  <a:pos x="685" y="35"/>
                </a:cxn>
                <a:cxn ang="0">
                  <a:pos x="727" y="12"/>
                </a:cxn>
                <a:cxn ang="0">
                  <a:pos x="752" y="0"/>
                </a:cxn>
                <a:cxn ang="0">
                  <a:pos x="760" y="19"/>
                </a:cxn>
                <a:cxn ang="0">
                  <a:pos x="748" y="127"/>
                </a:cxn>
                <a:cxn ang="0">
                  <a:pos x="746" y="213"/>
                </a:cxn>
                <a:cxn ang="0">
                  <a:pos x="736" y="278"/>
                </a:cxn>
                <a:cxn ang="0">
                  <a:pos x="750" y="324"/>
                </a:cxn>
                <a:cxn ang="0">
                  <a:pos x="716" y="384"/>
                </a:cxn>
                <a:cxn ang="0">
                  <a:pos x="635" y="449"/>
                </a:cxn>
                <a:cxn ang="0">
                  <a:pos x="558" y="479"/>
                </a:cxn>
                <a:cxn ang="0">
                  <a:pos x="510" y="507"/>
                </a:cxn>
                <a:cxn ang="0">
                  <a:pos x="470" y="553"/>
                </a:cxn>
                <a:cxn ang="0">
                  <a:pos x="449" y="586"/>
                </a:cxn>
                <a:cxn ang="0">
                  <a:pos x="385" y="634"/>
                </a:cxn>
                <a:cxn ang="0">
                  <a:pos x="338" y="685"/>
                </a:cxn>
                <a:cxn ang="0">
                  <a:pos x="345" y="777"/>
                </a:cxn>
                <a:cxn ang="0">
                  <a:pos x="347" y="889"/>
                </a:cxn>
                <a:cxn ang="0">
                  <a:pos x="333" y="1007"/>
                </a:cxn>
                <a:cxn ang="0">
                  <a:pos x="287" y="1058"/>
                </a:cxn>
                <a:cxn ang="0">
                  <a:pos x="174" y="1097"/>
                </a:cxn>
                <a:cxn ang="0">
                  <a:pos x="144" y="1122"/>
                </a:cxn>
              </a:cxnLst>
              <a:rect l="0" t="0" r="r" b="b"/>
              <a:pathLst>
                <a:path w="760" h="1139">
                  <a:moveTo>
                    <a:pt x="139" y="1139"/>
                  </a:moveTo>
                  <a:lnTo>
                    <a:pt x="139" y="1139"/>
                  </a:lnTo>
                  <a:lnTo>
                    <a:pt x="123" y="1129"/>
                  </a:lnTo>
                  <a:lnTo>
                    <a:pt x="112" y="1118"/>
                  </a:lnTo>
                  <a:lnTo>
                    <a:pt x="104" y="1108"/>
                  </a:lnTo>
                  <a:lnTo>
                    <a:pt x="104" y="1108"/>
                  </a:lnTo>
                  <a:lnTo>
                    <a:pt x="98" y="1095"/>
                  </a:lnTo>
                  <a:lnTo>
                    <a:pt x="98" y="1090"/>
                  </a:lnTo>
                  <a:lnTo>
                    <a:pt x="100" y="1081"/>
                  </a:lnTo>
                  <a:lnTo>
                    <a:pt x="100" y="1081"/>
                  </a:lnTo>
                  <a:lnTo>
                    <a:pt x="104" y="1067"/>
                  </a:lnTo>
                  <a:lnTo>
                    <a:pt x="111" y="1051"/>
                  </a:lnTo>
                  <a:lnTo>
                    <a:pt x="119" y="1035"/>
                  </a:lnTo>
                  <a:lnTo>
                    <a:pt x="121" y="1027"/>
                  </a:lnTo>
                  <a:lnTo>
                    <a:pt x="121" y="1027"/>
                  </a:lnTo>
                  <a:lnTo>
                    <a:pt x="119" y="1011"/>
                  </a:lnTo>
                  <a:lnTo>
                    <a:pt x="118" y="1002"/>
                  </a:lnTo>
                  <a:lnTo>
                    <a:pt x="116" y="993"/>
                  </a:lnTo>
                  <a:lnTo>
                    <a:pt x="116" y="993"/>
                  </a:lnTo>
                  <a:lnTo>
                    <a:pt x="118" y="977"/>
                  </a:lnTo>
                  <a:lnTo>
                    <a:pt x="118" y="969"/>
                  </a:lnTo>
                  <a:lnTo>
                    <a:pt x="118" y="961"/>
                  </a:lnTo>
                  <a:lnTo>
                    <a:pt x="118" y="961"/>
                  </a:lnTo>
                  <a:lnTo>
                    <a:pt x="100" y="919"/>
                  </a:lnTo>
                  <a:lnTo>
                    <a:pt x="100" y="919"/>
                  </a:lnTo>
                  <a:lnTo>
                    <a:pt x="95" y="907"/>
                  </a:lnTo>
                  <a:lnTo>
                    <a:pt x="91" y="889"/>
                  </a:lnTo>
                  <a:lnTo>
                    <a:pt x="86" y="866"/>
                  </a:lnTo>
                  <a:lnTo>
                    <a:pt x="86" y="866"/>
                  </a:lnTo>
                  <a:lnTo>
                    <a:pt x="112" y="831"/>
                  </a:lnTo>
                  <a:lnTo>
                    <a:pt x="132" y="801"/>
                  </a:lnTo>
                  <a:lnTo>
                    <a:pt x="146" y="778"/>
                  </a:lnTo>
                  <a:lnTo>
                    <a:pt x="146" y="778"/>
                  </a:lnTo>
                  <a:lnTo>
                    <a:pt x="158" y="750"/>
                  </a:lnTo>
                  <a:lnTo>
                    <a:pt x="165" y="736"/>
                  </a:lnTo>
                  <a:lnTo>
                    <a:pt x="174" y="722"/>
                  </a:lnTo>
                  <a:lnTo>
                    <a:pt x="174" y="722"/>
                  </a:lnTo>
                  <a:lnTo>
                    <a:pt x="188" y="706"/>
                  </a:lnTo>
                  <a:lnTo>
                    <a:pt x="197" y="699"/>
                  </a:lnTo>
                  <a:lnTo>
                    <a:pt x="204" y="688"/>
                  </a:lnTo>
                  <a:lnTo>
                    <a:pt x="209" y="678"/>
                  </a:lnTo>
                  <a:lnTo>
                    <a:pt x="213" y="666"/>
                  </a:lnTo>
                  <a:lnTo>
                    <a:pt x="213" y="651"/>
                  </a:lnTo>
                  <a:lnTo>
                    <a:pt x="211" y="636"/>
                  </a:lnTo>
                  <a:lnTo>
                    <a:pt x="211" y="636"/>
                  </a:lnTo>
                  <a:lnTo>
                    <a:pt x="207" y="618"/>
                  </a:lnTo>
                  <a:lnTo>
                    <a:pt x="206" y="602"/>
                  </a:lnTo>
                  <a:lnTo>
                    <a:pt x="207" y="586"/>
                  </a:lnTo>
                  <a:lnTo>
                    <a:pt x="207" y="572"/>
                  </a:lnTo>
                  <a:lnTo>
                    <a:pt x="211" y="546"/>
                  </a:lnTo>
                  <a:lnTo>
                    <a:pt x="213" y="535"/>
                  </a:lnTo>
                  <a:lnTo>
                    <a:pt x="213" y="525"/>
                  </a:lnTo>
                  <a:lnTo>
                    <a:pt x="213" y="525"/>
                  </a:lnTo>
                  <a:lnTo>
                    <a:pt x="209" y="504"/>
                  </a:lnTo>
                  <a:lnTo>
                    <a:pt x="206" y="479"/>
                  </a:lnTo>
                  <a:lnTo>
                    <a:pt x="202" y="467"/>
                  </a:lnTo>
                  <a:lnTo>
                    <a:pt x="199" y="456"/>
                  </a:lnTo>
                  <a:lnTo>
                    <a:pt x="193" y="447"/>
                  </a:lnTo>
                  <a:lnTo>
                    <a:pt x="186" y="442"/>
                  </a:lnTo>
                  <a:lnTo>
                    <a:pt x="186" y="442"/>
                  </a:lnTo>
                  <a:lnTo>
                    <a:pt x="167" y="431"/>
                  </a:lnTo>
                  <a:lnTo>
                    <a:pt x="144" y="421"/>
                  </a:lnTo>
                  <a:lnTo>
                    <a:pt x="107" y="405"/>
                  </a:lnTo>
                  <a:lnTo>
                    <a:pt x="107" y="405"/>
                  </a:lnTo>
                  <a:lnTo>
                    <a:pt x="67" y="393"/>
                  </a:lnTo>
                  <a:lnTo>
                    <a:pt x="44" y="384"/>
                  </a:lnTo>
                  <a:lnTo>
                    <a:pt x="30" y="378"/>
                  </a:lnTo>
                  <a:lnTo>
                    <a:pt x="30" y="378"/>
                  </a:lnTo>
                  <a:lnTo>
                    <a:pt x="21" y="373"/>
                  </a:lnTo>
                  <a:lnTo>
                    <a:pt x="8" y="368"/>
                  </a:lnTo>
                  <a:lnTo>
                    <a:pt x="3" y="363"/>
                  </a:lnTo>
                  <a:lnTo>
                    <a:pt x="0" y="357"/>
                  </a:lnTo>
                  <a:lnTo>
                    <a:pt x="0" y="352"/>
                  </a:lnTo>
                  <a:lnTo>
                    <a:pt x="5" y="345"/>
                  </a:lnTo>
                  <a:lnTo>
                    <a:pt x="5" y="345"/>
                  </a:lnTo>
                  <a:lnTo>
                    <a:pt x="12" y="336"/>
                  </a:lnTo>
                  <a:lnTo>
                    <a:pt x="23" y="327"/>
                  </a:lnTo>
                  <a:lnTo>
                    <a:pt x="49" y="312"/>
                  </a:lnTo>
                  <a:lnTo>
                    <a:pt x="75" y="296"/>
                  </a:lnTo>
                  <a:lnTo>
                    <a:pt x="98" y="285"/>
                  </a:lnTo>
                  <a:lnTo>
                    <a:pt x="98" y="285"/>
                  </a:lnTo>
                  <a:lnTo>
                    <a:pt x="149" y="264"/>
                  </a:lnTo>
                  <a:lnTo>
                    <a:pt x="176" y="255"/>
                  </a:lnTo>
                  <a:lnTo>
                    <a:pt x="186" y="252"/>
                  </a:lnTo>
                  <a:lnTo>
                    <a:pt x="195" y="252"/>
                  </a:lnTo>
                  <a:lnTo>
                    <a:pt x="195" y="252"/>
                  </a:lnTo>
                  <a:lnTo>
                    <a:pt x="213" y="252"/>
                  </a:lnTo>
                  <a:lnTo>
                    <a:pt x="230" y="250"/>
                  </a:lnTo>
                  <a:lnTo>
                    <a:pt x="250" y="250"/>
                  </a:lnTo>
                  <a:lnTo>
                    <a:pt x="259" y="252"/>
                  </a:lnTo>
                  <a:lnTo>
                    <a:pt x="267" y="253"/>
                  </a:lnTo>
                  <a:lnTo>
                    <a:pt x="267" y="253"/>
                  </a:lnTo>
                  <a:lnTo>
                    <a:pt x="276" y="257"/>
                  </a:lnTo>
                  <a:lnTo>
                    <a:pt x="283" y="264"/>
                  </a:lnTo>
                  <a:lnTo>
                    <a:pt x="292" y="273"/>
                  </a:lnTo>
                  <a:lnTo>
                    <a:pt x="301" y="282"/>
                  </a:lnTo>
                  <a:lnTo>
                    <a:pt x="315" y="303"/>
                  </a:lnTo>
                  <a:lnTo>
                    <a:pt x="318" y="312"/>
                  </a:lnTo>
                  <a:lnTo>
                    <a:pt x="320" y="319"/>
                  </a:lnTo>
                  <a:lnTo>
                    <a:pt x="320" y="319"/>
                  </a:lnTo>
                  <a:lnTo>
                    <a:pt x="322" y="334"/>
                  </a:lnTo>
                  <a:lnTo>
                    <a:pt x="322" y="334"/>
                  </a:lnTo>
                  <a:lnTo>
                    <a:pt x="313" y="384"/>
                  </a:lnTo>
                  <a:lnTo>
                    <a:pt x="313" y="384"/>
                  </a:lnTo>
                  <a:lnTo>
                    <a:pt x="313" y="393"/>
                  </a:lnTo>
                  <a:lnTo>
                    <a:pt x="313" y="401"/>
                  </a:lnTo>
                  <a:lnTo>
                    <a:pt x="315" y="414"/>
                  </a:lnTo>
                  <a:lnTo>
                    <a:pt x="318" y="424"/>
                  </a:lnTo>
                  <a:lnTo>
                    <a:pt x="324" y="435"/>
                  </a:lnTo>
                  <a:lnTo>
                    <a:pt x="329" y="444"/>
                  </a:lnTo>
                  <a:lnTo>
                    <a:pt x="336" y="449"/>
                  </a:lnTo>
                  <a:lnTo>
                    <a:pt x="340" y="451"/>
                  </a:lnTo>
                  <a:lnTo>
                    <a:pt x="345" y="451"/>
                  </a:lnTo>
                  <a:lnTo>
                    <a:pt x="345" y="451"/>
                  </a:lnTo>
                  <a:lnTo>
                    <a:pt x="354" y="449"/>
                  </a:lnTo>
                  <a:lnTo>
                    <a:pt x="362" y="444"/>
                  </a:lnTo>
                  <a:lnTo>
                    <a:pt x="371" y="438"/>
                  </a:lnTo>
                  <a:lnTo>
                    <a:pt x="378" y="430"/>
                  </a:lnTo>
                  <a:lnTo>
                    <a:pt x="392" y="410"/>
                  </a:lnTo>
                  <a:lnTo>
                    <a:pt x="405" y="391"/>
                  </a:lnTo>
                  <a:lnTo>
                    <a:pt x="405" y="391"/>
                  </a:lnTo>
                  <a:lnTo>
                    <a:pt x="408" y="378"/>
                  </a:lnTo>
                  <a:lnTo>
                    <a:pt x="410" y="364"/>
                  </a:lnTo>
                  <a:lnTo>
                    <a:pt x="410" y="347"/>
                  </a:lnTo>
                  <a:lnTo>
                    <a:pt x="408" y="329"/>
                  </a:lnTo>
                  <a:lnTo>
                    <a:pt x="405" y="312"/>
                  </a:lnTo>
                  <a:lnTo>
                    <a:pt x="399" y="296"/>
                  </a:lnTo>
                  <a:lnTo>
                    <a:pt x="394" y="283"/>
                  </a:lnTo>
                  <a:lnTo>
                    <a:pt x="389" y="275"/>
                  </a:lnTo>
                  <a:lnTo>
                    <a:pt x="389" y="275"/>
                  </a:lnTo>
                  <a:lnTo>
                    <a:pt x="380" y="264"/>
                  </a:lnTo>
                  <a:lnTo>
                    <a:pt x="370" y="241"/>
                  </a:lnTo>
                  <a:lnTo>
                    <a:pt x="359" y="213"/>
                  </a:lnTo>
                  <a:lnTo>
                    <a:pt x="348" y="178"/>
                  </a:lnTo>
                  <a:lnTo>
                    <a:pt x="345" y="160"/>
                  </a:lnTo>
                  <a:lnTo>
                    <a:pt x="343" y="141"/>
                  </a:lnTo>
                  <a:lnTo>
                    <a:pt x="341" y="121"/>
                  </a:lnTo>
                  <a:lnTo>
                    <a:pt x="341" y="104"/>
                  </a:lnTo>
                  <a:lnTo>
                    <a:pt x="343" y="84"/>
                  </a:lnTo>
                  <a:lnTo>
                    <a:pt x="347" y="67"/>
                  </a:lnTo>
                  <a:lnTo>
                    <a:pt x="352" y="51"/>
                  </a:lnTo>
                  <a:lnTo>
                    <a:pt x="361" y="35"/>
                  </a:lnTo>
                  <a:lnTo>
                    <a:pt x="361" y="35"/>
                  </a:lnTo>
                  <a:lnTo>
                    <a:pt x="394" y="56"/>
                  </a:lnTo>
                  <a:lnTo>
                    <a:pt x="421" y="70"/>
                  </a:lnTo>
                  <a:lnTo>
                    <a:pt x="431" y="74"/>
                  </a:lnTo>
                  <a:lnTo>
                    <a:pt x="442" y="77"/>
                  </a:lnTo>
                  <a:lnTo>
                    <a:pt x="442" y="77"/>
                  </a:lnTo>
                  <a:lnTo>
                    <a:pt x="463" y="77"/>
                  </a:lnTo>
                  <a:lnTo>
                    <a:pt x="496" y="77"/>
                  </a:lnTo>
                  <a:lnTo>
                    <a:pt x="514" y="76"/>
                  </a:lnTo>
                  <a:lnTo>
                    <a:pt x="532" y="74"/>
                  </a:lnTo>
                  <a:lnTo>
                    <a:pt x="549" y="68"/>
                  </a:lnTo>
                  <a:lnTo>
                    <a:pt x="565" y="63"/>
                  </a:lnTo>
                  <a:lnTo>
                    <a:pt x="565" y="63"/>
                  </a:lnTo>
                  <a:lnTo>
                    <a:pt x="598" y="53"/>
                  </a:lnTo>
                  <a:lnTo>
                    <a:pt x="630" y="44"/>
                  </a:lnTo>
                  <a:lnTo>
                    <a:pt x="660" y="39"/>
                  </a:lnTo>
                  <a:lnTo>
                    <a:pt x="685" y="35"/>
                  </a:lnTo>
                  <a:lnTo>
                    <a:pt x="685" y="35"/>
                  </a:lnTo>
                  <a:lnTo>
                    <a:pt x="694" y="33"/>
                  </a:lnTo>
                  <a:lnTo>
                    <a:pt x="702" y="31"/>
                  </a:lnTo>
                  <a:lnTo>
                    <a:pt x="711" y="26"/>
                  </a:lnTo>
                  <a:lnTo>
                    <a:pt x="716" y="23"/>
                  </a:lnTo>
                  <a:lnTo>
                    <a:pt x="727" y="12"/>
                  </a:lnTo>
                  <a:lnTo>
                    <a:pt x="734" y="7"/>
                  </a:lnTo>
                  <a:lnTo>
                    <a:pt x="734" y="7"/>
                  </a:lnTo>
                  <a:lnTo>
                    <a:pt x="739" y="2"/>
                  </a:lnTo>
                  <a:lnTo>
                    <a:pt x="748" y="0"/>
                  </a:lnTo>
                  <a:lnTo>
                    <a:pt x="752" y="0"/>
                  </a:lnTo>
                  <a:lnTo>
                    <a:pt x="755" y="2"/>
                  </a:lnTo>
                  <a:lnTo>
                    <a:pt x="759" y="5"/>
                  </a:lnTo>
                  <a:lnTo>
                    <a:pt x="760" y="10"/>
                  </a:lnTo>
                  <a:lnTo>
                    <a:pt x="760" y="10"/>
                  </a:lnTo>
                  <a:lnTo>
                    <a:pt x="760" y="19"/>
                  </a:lnTo>
                  <a:lnTo>
                    <a:pt x="760" y="33"/>
                  </a:lnTo>
                  <a:lnTo>
                    <a:pt x="755" y="67"/>
                  </a:lnTo>
                  <a:lnTo>
                    <a:pt x="750" y="102"/>
                  </a:lnTo>
                  <a:lnTo>
                    <a:pt x="748" y="127"/>
                  </a:lnTo>
                  <a:lnTo>
                    <a:pt x="748" y="127"/>
                  </a:lnTo>
                  <a:lnTo>
                    <a:pt x="750" y="160"/>
                  </a:lnTo>
                  <a:lnTo>
                    <a:pt x="752" y="190"/>
                  </a:lnTo>
                  <a:lnTo>
                    <a:pt x="752" y="190"/>
                  </a:lnTo>
                  <a:lnTo>
                    <a:pt x="750" y="201"/>
                  </a:lnTo>
                  <a:lnTo>
                    <a:pt x="746" y="213"/>
                  </a:lnTo>
                  <a:lnTo>
                    <a:pt x="741" y="225"/>
                  </a:lnTo>
                  <a:lnTo>
                    <a:pt x="738" y="243"/>
                  </a:lnTo>
                  <a:lnTo>
                    <a:pt x="738" y="243"/>
                  </a:lnTo>
                  <a:lnTo>
                    <a:pt x="734" y="260"/>
                  </a:lnTo>
                  <a:lnTo>
                    <a:pt x="736" y="278"/>
                  </a:lnTo>
                  <a:lnTo>
                    <a:pt x="736" y="278"/>
                  </a:lnTo>
                  <a:lnTo>
                    <a:pt x="738" y="294"/>
                  </a:lnTo>
                  <a:lnTo>
                    <a:pt x="741" y="308"/>
                  </a:lnTo>
                  <a:lnTo>
                    <a:pt x="746" y="319"/>
                  </a:lnTo>
                  <a:lnTo>
                    <a:pt x="750" y="324"/>
                  </a:lnTo>
                  <a:lnTo>
                    <a:pt x="750" y="324"/>
                  </a:lnTo>
                  <a:lnTo>
                    <a:pt x="759" y="331"/>
                  </a:lnTo>
                  <a:lnTo>
                    <a:pt x="759" y="331"/>
                  </a:lnTo>
                  <a:lnTo>
                    <a:pt x="743" y="352"/>
                  </a:lnTo>
                  <a:lnTo>
                    <a:pt x="716" y="384"/>
                  </a:lnTo>
                  <a:lnTo>
                    <a:pt x="716" y="384"/>
                  </a:lnTo>
                  <a:lnTo>
                    <a:pt x="702" y="400"/>
                  </a:lnTo>
                  <a:lnTo>
                    <a:pt x="683" y="417"/>
                  </a:lnTo>
                  <a:lnTo>
                    <a:pt x="658" y="435"/>
                  </a:lnTo>
                  <a:lnTo>
                    <a:pt x="635" y="449"/>
                  </a:lnTo>
                  <a:lnTo>
                    <a:pt x="635" y="449"/>
                  </a:lnTo>
                  <a:lnTo>
                    <a:pt x="613" y="459"/>
                  </a:lnTo>
                  <a:lnTo>
                    <a:pt x="590" y="470"/>
                  </a:lnTo>
                  <a:lnTo>
                    <a:pt x="572" y="475"/>
                  </a:lnTo>
                  <a:lnTo>
                    <a:pt x="558" y="479"/>
                  </a:lnTo>
                  <a:lnTo>
                    <a:pt x="558" y="479"/>
                  </a:lnTo>
                  <a:lnTo>
                    <a:pt x="533" y="481"/>
                  </a:lnTo>
                  <a:lnTo>
                    <a:pt x="533" y="481"/>
                  </a:lnTo>
                  <a:lnTo>
                    <a:pt x="523" y="495"/>
                  </a:lnTo>
                  <a:lnTo>
                    <a:pt x="510" y="507"/>
                  </a:lnTo>
                  <a:lnTo>
                    <a:pt x="502" y="521"/>
                  </a:lnTo>
                  <a:lnTo>
                    <a:pt x="502" y="521"/>
                  </a:lnTo>
                  <a:lnTo>
                    <a:pt x="491" y="535"/>
                  </a:lnTo>
                  <a:lnTo>
                    <a:pt x="480" y="544"/>
                  </a:lnTo>
                  <a:lnTo>
                    <a:pt x="470" y="553"/>
                  </a:lnTo>
                  <a:lnTo>
                    <a:pt x="470" y="553"/>
                  </a:lnTo>
                  <a:lnTo>
                    <a:pt x="459" y="569"/>
                  </a:lnTo>
                  <a:lnTo>
                    <a:pt x="452" y="581"/>
                  </a:lnTo>
                  <a:lnTo>
                    <a:pt x="449" y="586"/>
                  </a:lnTo>
                  <a:lnTo>
                    <a:pt x="449" y="586"/>
                  </a:lnTo>
                  <a:lnTo>
                    <a:pt x="424" y="588"/>
                  </a:lnTo>
                  <a:lnTo>
                    <a:pt x="403" y="590"/>
                  </a:lnTo>
                  <a:lnTo>
                    <a:pt x="403" y="613"/>
                  </a:lnTo>
                  <a:lnTo>
                    <a:pt x="403" y="613"/>
                  </a:lnTo>
                  <a:lnTo>
                    <a:pt x="385" y="634"/>
                  </a:lnTo>
                  <a:lnTo>
                    <a:pt x="371" y="650"/>
                  </a:lnTo>
                  <a:lnTo>
                    <a:pt x="364" y="662"/>
                  </a:lnTo>
                  <a:lnTo>
                    <a:pt x="364" y="662"/>
                  </a:lnTo>
                  <a:lnTo>
                    <a:pt x="354" y="671"/>
                  </a:lnTo>
                  <a:lnTo>
                    <a:pt x="338" y="685"/>
                  </a:lnTo>
                  <a:lnTo>
                    <a:pt x="315" y="701"/>
                  </a:lnTo>
                  <a:lnTo>
                    <a:pt x="315" y="701"/>
                  </a:lnTo>
                  <a:lnTo>
                    <a:pt x="329" y="734"/>
                  </a:lnTo>
                  <a:lnTo>
                    <a:pt x="341" y="762"/>
                  </a:lnTo>
                  <a:lnTo>
                    <a:pt x="345" y="777"/>
                  </a:lnTo>
                  <a:lnTo>
                    <a:pt x="347" y="789"/>
                  </a:lnTo>
                  <a:lnTo>
                    <a:pt x="347" y="789"/>
                  </a:lnTo>
                  <a:lnTo>
                    <a:pt x="348" y="805"/>
                  </a:lnTo>
                  <a:lnTo>
                    <a:pt x="348" y="829"/>
                  </a:lnTo>
                  <a:lnTo>
                    <a:pt x="347" y="889"/>
                  </a:lnTo>
                  <a:lnTo>
                    <a:pt x="343" y="969"/>
                  </a:lnTo>
                  <a:lnTo>
                    <a:pt x="343" y="969"/>
                  </a:lnTo>
                  <a:lnTo>
                    <a:pt x="341" y="981"/>
                  </a:lnTo>
                  <a:lnTo>
                    <a:pt x="338" y="993"/>
                  </a:lnTo>
                  <a:lnTo>
                    <a:pt x="333" y="1007"/>
                  </a:lnTo>
                  <a:lnTo>
                    <a:pt x="324" y="1023"/>
                  </a:lnTo>
                  <a:lnTo>
                    <a:pt x="313" y="1039"/>
                  </a:lnTo>
                  <a:lnTo>
                    <a:pt x="304" y="1046"/>
                  </a:lnTo>
                  <a:lnTo>
                    <a:pt x="297" y="1053"/>
                  </a:lnTo>
                  <a:lnTo>
                    <a:pt x="287" y="1058"/>
                  </a:lnTo>
                  <a:lnTo>
                    <a:pt x="276" y="1064"/>
                  </a:lnTo>
                  <a:lnTo>
                    <a:pt x="276" y="1064"/>
                  </a:lnTo>
                  <a:lnTo>
                    <a:pt x="236" y="1078"/>
                  </a:lnTo>
                  <a:lnTo>
                    <a:pt x="200" y="1088"/>
                  </a:lnTo>
                  <a:lnTo>
                    <a:pt x="174" y="1097"/>
                  </a:lnTo>
                  <a:lnTo>
                    <a:pt x="165" y="1101"/>
                  </a:lnTo>
                  <a:lnTo>
                    <a:pt x="160" y="1106"/>
                  </a:lnTo>
                  <a:lnTo>
                    <a:pt x="160" y="1106"/>
                  </a:lnTo>
                  <a:lnTo>
                    <a:pt x="151" y="1115"/>
                  </a:lnTo>
                  <a:lnTo>
                    <a:pt x="144" y="1122"/>
                  </a:lnTo>
                  <a:lnTo>
                    <a:pt x="139" y="1131"/>
                  </a:lnTo>
                  <a:lnTo>
                    <a:pt x="137" y="1134"/>
                  </a:lnTo>
                  <a:lnTo>
                    <a:pt x="139" y="1139"/>
                  </a:lnTo>
                  <a:lnTo>
                    <a:pt x="139" y="113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4" name="Freeform 38">
              <a:extLst>
                <a:ext uri="{FF2B5EF4-FFF2-40B4-BE49-F238E27FC236}">
                  <a16:creationId xmlns:a16="http://schemas.microsoft.com/office/drawing/2014/main" id="{0EE59CBA-65AB-48B1-ACF3-2A9AA3FAAA74}"/>
                </a:ext>
              </a:extLst>
            </p:cNvPr>
            <p:cNvSpPr>
              <a:spLocks/>
            </p:cNvSpPr>
            <p:nvPr/>
          </p:nvSpPr>
          <p:spPr bwMode="auto">
            <a:xfrm>
              <a:off x="5135155" y="5050471"/>
              <a:ext cx="469338" cy="467554"/>
            </a:xfrm>
            <a:custGeom>
              <a:avLst/>
              <a:gdLst/>
              <a:ahLst/>
              <a:cxnLst>
                <a:cxn ang="0">
                  <a:pos x="0" y="171"/>
                </a:cxn>
                <a:cxn ang="0">
                  <a:pos x="14" y="201"/>
                </a:cxn>
                <a:cxn ang="0">
                  <a:pos x="21" y="231"/>
                </a:cxn>
                <a:cxn ang="0">
                  <a:pos x="34" y="261"/>
                </a:cxn>
                <a:cxn ang="0">
                  <a:pos x="41" y="271"/>
                </a:cxn>
                <a:cxn ang="0">
                  <a:pos x="78" y="303"/>
                </a:cxn>
                <a:cxn ang="0">
                  <a:pos x="104" y="330"/>
                </a:cxn>
                <a:cxn ang="0">
                  <a:pos x="127" y="356"/>
                </a:cxn>
                <a:cxn ang="0">
                  <a:pos x="131" y="365"/>
                </a:cxn>
                <a:cxn ang="0">
                  <a:pos x="148" y="395"/>
                </a:cxn>
                <a:cxn ang="0">
                  <a:pos x="162" y="409"/>
                </a:cxn>
                <a:cxn ang="0">
                  <a:pos x="205" y="442"/>
                </a:cxn>
                <a:cxn ang="0">
                  <a:pos x="234" y="465"/>
                </a:cxn>
                <a:cxn ang="0">
                  <a:pos x="243" y="481"/>
                </a:cxn>
                <a:cxn ang="0">
                  <a:pos x="266" y="485"/>
                </a:cxn>
                <a:cxn ang="0">
                  <a:pos x="298" y="492"/>
                </a:cxn>
                <a:cxn ang="0">
                  <a:pos x="317" y="499"/>
                </a:cxn>
                <a:cxn ang="0">
                  <a:pos x="400" y="523"/>
                </a:cxn>
                <a:cxn ang="0">
                  <a:pos x="442" y="465"/>
                </a:cxn>
                <a:cxn ang="0">
                  <a:pos x="463" y="426"/>
                </a:cxn>
                <a:cxn ang="0">
                  <a:pos x="469" y="412"/>
                </a:cxn>
                <a:cxn ang="0">
                  <a:pos x="481" y="389"/>
                </a:cxn>
                <a:cxn ang="0">
                  <a:pos x="497" y="370"/>
                </a:cxn>
                <a:cxn ang="0">
                  <a:pos x="518" y="347"/>
                </a:cxn>
                <a:cxn ang="0">
                  <a:pos x="523" y="338"/>
                </a:cxn>
                <a:cxn ang="0">
                  <a:pos x="525" y="321"/>
                </a:cxn>
                <a:cxn ang="0">
                  <a:pos x="525" y="293"/>
                </a:cxn>
                <a:cxn ang="0">
                  <a:pos x="523" y="273"/>
                </a:cxn>
                <a:cxn ang="0">
                  <a:pos x="523" y="215"/>
                </a:cxn>
                <a:cxn ang="0">
                  <a:pos x="525" y="196"/>
                </a:cxn>
                <a:cxn ang="0">
                  <a:pos x="521" y="148"/>
                </a:cxn>
                <a:cxn ang="0">
                  <a:pos x="518" y="131"/>
                </a:cxn>
                <a:cxn ang="0">
                  <a:pos x="514" y="118"/>
                </a:cxn>
                <a:cxn ang="0">
                  <a:pos x="507" y="104"/>
                </a:cxn>
                <a:cxn ang="0">
                  <a:pos x="490" y="92"/>
                </a:cxn>
                <a:cxn ang="0">
                  <a:pos x="462" y="79"/>
                </a:cxn>
                <a:cxn ang="0">
                  <a:pos x="375" y="46"/>
                </a:cxn>
                <a:cxn ang="0">
                  <a:pos x="321" y="23"/>
                </a:cxn>
                <a:cxn ang="0">
                  <a:pos x="312" y="11"/>
                </a:cxn>
                <a:cxn ang="0">
                  <a:pos x="314" y="6"/>
                </a:cxn>
                <a:cxn ang="0">
                  <a:pos x="315" y="2"/>
                </a:cxn>
                <a:cxn ang="0">
                  <a:pos x="296" y="2"/>
                </a:cxn>
                <a:cxn ang="0">
                  <a:pos x="261" y="9"/>
                </a:cxn>
                <a:cxn ang="0">
                  <a:pos x="240" y="18"/>
                </a:cxn>
                <a:cxn ang="0">
                  <a:pos x="236" y="21"/>
                </a:cxn>
                <a:cxn ang="0">
                  <a:pos x="220" y="35"/>
                </a:cxn>
                <a:cxn ang="0">
                  <a:pos x="215" y="46"/>
                </a:cxn>
                <a:cxn ang="0">
                  <a:pos x="222" y="60"/>
                </a:cxn>
                <a:cxn ang="0">
                  <a:pos x="231" y="78"/>
                </a:cxn>
                <a:cxn ang="0">
                  <a:pos x="233" y="90"/>
                </a:cxn>
                <a:cxn ang="0">
                  <a:pos x="227" y="102"/>
                </a:cxn>
                <a:cxn ang="0">
                  <a:pos x="212" y="111"/>
                </a:cxn>
                <a:cxn ang="0">
                  <a:pos x="182" y="127"/>
                </a:cxn>
                <a:cxn ang="0">
                  <a:pos x="116" y="166"/>
                </a:cxn>
                <a:cxn ang="0">
                  <a:pos x="94" y="173"/>
                </a:cxn>
                <a:cxn ang="0">
                  <a:pos x="69" y="171"/>
                </a:cxn>
                <a:cxn ang="0">
                  <a:pos x="13" y="168"/>
                </a:cxn>
                <a:cxn ang="0">
                  <a:pos x="2" y="169"/>
                </a:cxn>
                <a:cxn ang="0">
                  <a:pos x="0" y="171"/>
                </a:cxn>
              </a:cxnLst>
              <a:rect l="0" t="0" r="r" b="b"/>
              <a:pathLst>
                <a:path w="527" h="523">
                  <a:moveTo>
                    <a:pt x="0" y="171"/>
                  </a:moveTo>
                  <a:lnTo>
                    <a:pt x="0" y="171"/>
                  </a:lnTo>
                  <a:lnTo>
                    <a:pt x="6" y="182"/>
                  </a:lnTo>
                  <a:lnTo>
                    <a:pt x="14" y="201"/>
                  </a:lnTo>
                  <a:lnTo>
                    <a:pt x="14" y="201"/>
                  </a:lnTo>
                  <a:lnTo>
                    <a:pt x="21" y="231"/>
                  </a:lnTo>
                  <a:lnTo>
                    <a:pt x="34" y="261"/>
                  </a:lnTo>
                  <a:lnTo>
                    <a:pt x="34" y="261"/>
                  </a:lnTo>
                  <a:lnTo>
                    <a:pt x="35" y="266"/>
                  </a:lnTo>
                  <a:lnTo>
                    <a:pt x="41" y="271"/>
                  </a:lnTo>
                  <a:lnTo>
                    <a:pt x="55" y="286"/>
                  </a:lnTo>
                  <a:lnTo>
                    <a:pt x="78" y="303"/>
                  </a:lnTo>
                  <a:lnTo>
                    <a:pt x="78" y="303"/>
                  </a:lnTo>
                  <a:lnTo>
                    <a:pt x="104" y="330"/>
                  </a:lnTo>
                  <a:lnTo>
                    <a:pt x="118" y="345"/>
                  </a:lnTo>
                  <a:lnTo>
                    <a:pt x="127" y="356"/>
                  </a:lnTo>
                  <a:lnTo>
                    <a:pt x="127" y="356"/>
                  </a:lnTo>
                  <a:lnTo>
                    <a:pt x="131" y="365"/>
                  </a:lnTo>
                  <a:lnTo>
                    <a:pt x="138" y="379"/>
                  </a:lnTo>
                  <a:lnTo>
                    <a:pt x="148" y="395"/>
                  </a:lnTo>
                  <a:lnTo>
                    <a:pt x="153" y="402"/>
                  </a:lnTo>
                  <a:lnTo>
                    <a:pt x="162" y="409"/>
                  </a:lnTo>
                  <a:lnTo>
                    <a:pt x="162" y="409"/>
                  </a:lnTo>
                  <a:lnTo>
                    <a:pt x="205" y="442"/>
                  </a:lnTo>
                  <a:lnTo>
                    <a:pt x="226" y="456"/>
                  </a:lnTo>
                  <a:lnTo>
                    <a:pt x="234" y="465"/>
                  </a:lnTo>
                  <a:lnTo>
                    <a:pt x="234" y="465"/>
                  </a:lnTo>
                  <a:lnTo>
                    <a:pt x="243" y="481"/>
                  </a:lnTo>
                  <a:lnTo>
                    <a:pt x="243" y="481"/>
                  </a:lnTo>
                  <a:lnTo>
                    <a:pt x="266" y="485"/>
                  </a:lnTo>
                  <a:lnTo>
                    <a:pt x="286" y="488"/>
                  </a:lnTo>
                  <a:lnTo>
                    <a:pt x="298" y="492"/>
                  </a:lnTo>
                  <a:lnTo>
                    <a:pt x="298" y="492"/>
                  </a:lnTo>
                  <a:lnTo>
                    <a:pt x="317" y="499"/>
                  </a:lnTo>
                  <a:lnTo>
                    <a:pt x="352" y="509"/>
                  </a:lnTo>
                  <a:lnTo>
                    <a:pt x="400" y="523"/>
                  </a:lnTo>
                  <a:lnTo>
                    <a:pt x="442" y="465"/>
                  </a:lnTo>
                  <a:lnTo>
                    <a:pt x="442" y="465"/>
                  </a:lnTo>
                  <a:lnTo>
                    <a:pt x="455" y="444"/>
                  </a:lnTo>
                  <a:lnTo>
                    <a:pt x="463" y="426"/>
                  </a:lnTo>
                  <a:lnTo>
                    <a:pt x="469" y="412"/>
                  </a:lnTo>
                  <a:lnTo>
                    <a:pt x="469" y="412"/>
                  </a:lnTo>
                  <a:lnTo>
                    <a:pt x="474" y="404"/>
                  </a:lnTo>
                  <a:lnTo>
                    <a:pt x="481" y="389"/>
                  </a:lnTo>
                  <a:lnTo>
                    <a:pt x="497" y="370"/>
                  </a:lnTo>
                  <a:lnTo>
                    <a:pt x="497" y="370"/>
                  </a:lnTo>
                  <a:lnTo>
                    <a:pt x="511" y="356"/>
                  </a:lnTo>
                  <a:lnTo>
                    <a:pt x="518" y="347"/>
                  </a:lnTo>
                  <a:lnTo>
                    <a:pt x="521" y="342"/>
                  </a:lnTo>
                  <a:lnTo>
                    <a:pt x="523" y="338"/>
                  </a:lnTo>
                  <a:lnTo>
                    <a:pt x="523" y="338"/>
                  </a:lnTo>
                  <a:lnTo>
                    <a:pt x="525" y="321"/>
                  </a:lnTo>
                  <a:lnTo>
                    <a:pt x="527" y="308"/>
                  </a:lnTo>
                  <a:lnTo>
                    <a:pt x="525" y="293"/>
                  </a:lnTo>
                  <a:lnTo>
                    <a:pt x="525" y="293"/>
                  </a:lnTo>
                  <a:lnTo>
                    <a:pt x="523" y="273"/>
                  </a:lnTo>
                  <a:lnTo>
                    <a:pt x="521" y="252"/>
                  </a:lnTo>
                  <a:lnTo>
                    <a:pt x="523" y="215"/>
                  </a:lnTo>
                  <a:lnTo>
                    <a:pt x="523" y="215"/>
                  </a:lnTo>
                  <a:lnTo>
                    <a:pt x="525" y="196"/>
                  </a:lnTo>
                  <a:lnTo>
                    <a:pt x="523" y="173"/>
                  </a:lnTo>
                  <a:lnTo>
                    <a:pt x="521" y="148"/>
                  </a:lnTo>
                  <a:lnTo>
                    <a:pt x="520" y="138"/>
                  </a:lnTo>
                  <a:lnTo>
                    <a:pt x="518" y="131"/>
                  </a:lnTo>
                  <a:lnTo>
                    <a:pt x="518" y="131"/>
                  </a:lnTo>
                  <a:lnTo>
                    <a:pt x="514" y="118"/>
                  </a:lnTo>
                  <a:lnTo>
                    <a:pt x="509" y="109"/>
                  </a:lnTo>
                  <a:lnTo>
                    <a:pt x="507" y="104"/>
                  </a:lnTo>
                  <a:lnTo>
                    <a:pt x="502" y="101"/>
                  </a:lnTo>
                  <a:lnTo>
                    <a:pt x="490" y="92"/>
                  </a:lnTo>
                  <a:lnTo>
                    <a:pt x="490" y="92"/>
                  </a:lnTo>
                  <a:lnTo>
                    <a:pt x="462" y="79"/>
                  </a:lnTo>
                  <a:lnTo>
                    <a:pt x="425" y="65"/>
                  </a:lnTo>
                  <a:lnTo>
                    <a:pt x="375" y="46"/>
                  </a:lnTo>
                  <a:lnTo>
                    <a:pt x="321" y="23"/>
                  </a:lnTo>
                  <a:lnTo>
                    <a:pt x="321" y="23"/>
                  </a:lnTo>
                  <a:lnTo>
                    <a:pt x="315" y="18"/>
                  </a:lnTo>
                  <a:lnTo>
                    <a:pt x="312" y="11"/>
                  </a:lnTo>
                  <a:lnTo>
                    <a:pt x="312" y="7"/>
                  </a:lnTo>
                  <a:lnTo>
                    <a:pt x="314" y="6"/>
                  </a:lnTo>
                  <a:lnTo>
                    <a:pt x="314" y="6"/>
                  </a:lnTo>
                  <a:lnTo>
                    <a:pt x="315" y="2"/>
                  </a:lnTo>
                  <a:lnTo>
                    <a:pt x="312" y="0"/>
                  </a:lnTo>
                  <a:lnTo>
                    <a:pt x="296" y="2"/>
                  </a:lnTo>
                  <a:lnTo>
                    <a:pt x="296" y="2"/>
                  </a:lnTo>
                  <a:lnTo>
                    <a:pt x="261" y="9"/>
                  </a:lnTo>
                  <a:lnTo>
                    <a:pt x="245" y="14"/>
                  </a:lnTo>
                  <a:lnTo>
                    <a:pt x="240" y="18"/>
                  </a:lnTo>
                  <a:lnTo>
                    <a:pt x="236" y="21"/>
                  </a:lnTo>
                  <a:lnTo>
                    <a:pt x="236" y="21"/>
                  </a:lnTo>
                  <a:lnTo>
                    <a:pt x="227" y="28"/>
                  </a:lnTo>
                  <a:lnTo>
                    <a:pt x="220" y="35"/>
                  </a:lnTo>
                  <a:lnTo>
                    <a:pt x="217" y="41"/>
                  </a:lnTo>
                  <a:lnTo>
                    <a:pt x="215" y="46"/>
                  </a:lnTo>
                  <a:lnTo>
                    <a:pt x="217" y="53"/>
                  </a:lnTo>
                  <a:lnTo>
                    <a:pt x="222" y="60"/>
                  </a:lnTo>
                  <a:lnTo>
                    <a:pt x="222" y="60"/>
                  </a:lnTo>
                  <a:lnTo>
                    <a:pt x="231" y="78"/>
                  </a:lnTo>
                  <a:lnTo>
                    <a:pt x="233" y="85"/>
                  </a:lnTo>
                  <a:lnTo>
                    <a:pt x="233" y="90"/>
                  </a:lnTo>
                  <a:lnTo>
                    <a:pt x="231" y="95"/>
                  </a:lnTo>
                  <a:lnTo>
                    <a:pt x="227" y="102"/>
                  </a:lnTo>
                  <a:lnTo>
                    <a:pt x="220" y="108"/>
                  </a:lnTo>
                  <a:lnTo>
                    <a:pt x="212" y="111"/>
                  </a:lnTo>
                  <a:lnTo>
                    <a:pt x="212" y="111"/>
                  </a:lnTo>
                  <a:lnTo>
                    <a:pt x="182" y="127"/>
                  </a:lnTo>
                  <a:lnTo>
                    <a:pt x="148" y="148"/>
                  </a:lnTo>
                  <a:lnTo>
                    <a:pt x="116" y="166"/>
                  </a:lnTo>
                  <a:lnTo>
                    <a:pt x="102" y="171"/>
                  </a:lnTo>
                  <a:lnTo>
                    <a:pt x="94" y="173"/>
                  </a:lnTo>
                  <a:lnTo>
                    <a:pt x="94" y="173"/>
                  </a:lnTo>
                  <a:lnTo>
                    <a:pt x="69" y="171"/>
                  </a:lnTo>
                  <a:lnTo>
                    <a:pt x="39" y="168"/>
                  </a:lnTo>
                  <a:lnTo>
                    <a:pt x="13" y="168"/>
                  </a:lnTo>
                  <a:lnTo>
                    <a:pt x="4" y="169"/>
                  </a:lnTo>
                  <a:lnTo>
                    <a:pt x="2" y="169"/>
                  </a:lnTo>
                  <a:lnTo>
                    <a:pt x="0" y="171"/>
                  </a:lnTo>
                  <a:lnTo>
                    <a:pt x="0" y="17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5" name="Freeform 39">
              <a:extLst>
                <a:ext uri="{FF2B5EF4-FFF2-40B4-BE49-F238E27FC236}">
                  <a16:creationId xmlns:a16="http://schemas.microsoft.com/office/drawing/2014/main" id="{FC7D2AB9-FDE5-4B11-A942-BC953C4ED788}"/>
                </a:ext>
              </a:extLst>
            </p:cNvPr>
            <p:cNvSpPr>
              <a:spLocks/>
            </p:cNvSpPr>
            <p:nvPr/>
          </p:nvSpPr>
          <p:spPr bwMode="auto">
            <a:xfrm>
              <a:off x="4924578" y="4611470"/>
              <a:ext cx="719176" cy="592473"/>
            </a:xfrm>
            <a:custGeom>
              <a:avLst/>
              <a:gdLst/>
              <a:ahLst/>
              <a:cxnLst>
                <a:cxn ang="0">
                  <a:pos x="458" y="294"/>
                </a:cxn>
                <a:cxn ang="0">
                  <a:pos x="407" y="257"/>
                </a:cxn>
                <a:cxn ang="0">
                  <a:pos x="365" y="245"/>
                </a:cxn>
                <a:cxn ang="0">
                  <a:pos x="319" y="243"/>
                </a:cxn>
                <a:cxn ang="0">
                  <a:pos x="243" y="208"/>
                </a:cxn>
                <a:cxn ang="0">
                  <a:pos x="171" y="171"/>
                </a:cxn>
                <a:cxn ang="0">
                  <a:pos x="160" y="185"/>
                </a:cxn>
                <a:cxn ang="0">
                  <a:pos x="152" y="236"/>
                </a:cxn>
                <a:cxn ang="0">
                  <a:pos x="148" y="283"/>
                </a:cxn>
                <a:cxn ang="0">
                  <a:pos x="139" y="312"/>
                </a:cxn>
                <a:cxn ang="0">
                  <a:pos x="55" y="313"/>
                </a:cxn>
                <a:cxn ang="0">
                  <a:pos x="20" y="310"/>
                </a:cxn>
                <a:cxn ang="0">
                  <a:pos x="4" y="329"/>
                </a:cxn>
                <a:cxn ang="0">
                  <a:pos x="4" y="444"/>
                </a:cxn>
                <a:cxn ang="0">
                  <a:pos x="4" y="502"/>
                </a:cxn>
                <a:cxn ang="0">
                  <a:pos x="0" y="526"/>
                </a:cxn>
                <a:cxn ang="0">
                  <a:pos x="9" y="549"/>
                </a:cxn>
                <a:cxn ang="0">
                  <a:pos x="64" y="618"/>
                </a:cxn>
                <a:cxn ang="0">
                  <a:pos x="79" y="641"/>
                </a:cxn>
                <a:cxn ang="0">
                  <a:pos x="94" y="644"/>
                </a:cxn>
                <a:cxn ang="0">
                  <a:pos x="132" y="636"/>
                </a:cxn>
                <a:cxn ang="0">
                  <a:pos x="146" y="639"/>
                </a:cxn>
                <a:cxn ang="0">
                  <a:pos x="208" y="644"/>
                </a:cxn>
                <a:cxn ang="0">
                  <a:pos x="249" y="660"/>
                </a:cxn>
                <a:cxn ang="0">
                  <a:pos x="330" y="664"/>
                </a:cxn>
                <a:cxn ang="0">
                  <a:pos x="377" y="643"/>
                </a:cxn>
                <a:cxn ang="0">
                  <a:pos x="453" y="599"/>
                </a:cxn>
                <a:cxn ang="0">
                  <a:pos x="467" y="586"/>
                </a:cxn>
                <a:cxn ang="0">
                  <a:pos x="465" y="567"/>
                </a:cxn>
                <a:cxn ang="0">
                  <a:pos x="449" y="535"/>
                </a:cxn>
                <a:cxn ang="0">
                  <a:pos x="458" y="521"/>
                </a:cxn>
                <a:cxn ang="0">
                  <a:pos x="497" y="500"/>
                </a:cxn>
                <a:cxn ang="0">
                  <a:pos x="555" y="493"/>
                </a:cxn>
                <a:cxn ang="0">
                  <a:pos x="606" y="452"/>
                </a:cxn>
                <a:cxn ang="0">
                  <a:pos x="710" y="408"/>
                </a:cxn>
                <a:cxn ang="0">
                  <a:pos x="768" y="398"/>
                </a:cxn>
                <a:cxn ang="0">
                  <a:pos x="770" y="366"/>
                </a:cxn>
                <a:cxn ang="0">
                  <a:pos x="780" y="306"/>
                </a:cxn>
                <a:cxn ang="0">
                  <a:pos x="803" y="260"/>
                </a:cxn>
                <a:cxn ang="0">
                  <a:pos x="807" y="192"/>
                </a:cxn>
                <a:cxn ang="0">
                  <a:pos x="798" y="148"/>
                </a:cxn>
                <a:cxn ang="0">
                  <a:pos x="773" y="81"/>
                </a:cxn>
                <a:cxn ang="0">
                  <a:pos x="743" y="69"/>
                </a:cxn>
                <a:cxn ang="0">
                  <a:pos x="710" y="53"/>
                </a:cxn>
                <a:cxn ang="0">
                  <a:pos x="492" y="0"/>
                </a:cxn>
                <a:cxn ang="0">
                  <a:pos x="481" y="0"/>
                </a:cxn>
                <a:cxn ang="0">
                  <a:pos x="463" y="26"/>
                </a:cxn>
                <a:cxn ang="0">
                  <a:pos x="442" y="130"/>
                </a:cxn>
                <a:cxn ang="0">
                  <a:pos x="448" y="169"/>
                </a:cxn>
                <a:cxn ang="0">
                  <a:pos x="453" y="218"/>
                </a:cxn>
                <a:cxn ang="0">
                  <a:pos x="477" y="252"/>
                </a:cxn>
                <a:cxn ang="0">
                  <a:pos x="523" y="257"/>
                </a:cxn>
                <a:cxn ang="0">
                  <a:pos x="557" y="273"/>
                </a:cxn>
                <a:cxn ang="0">
                  <a:pos x="571" y="297"/>
                </a:cxn>
                <a:cxn ang="0">
                  <a:pos x="539" y="327"/>
                </a:cxn>
              </a:cxnLst>
              <a:rect l="0" t="0" r="r" b="b"/>
              <a:pathLst>
                <a:path w="807" h="664">
                  <a:moveTo>
                    <a:pt x="523" y="334"/>
                  </a:moveTo>
                  <a:lnTo>
                    <a:pt x="523" y="334"/>
                  </a:lnTo>
                  <a:lnTo>
                    <a:pt x="488" y="313"/>
                  </a:lnTo>
                  <a:lnTo>
                    <a:pt x="458" y="294"/>
                  </a:lnTo>
                  <a:lnTo>
                    <a:pt x="432" y="273"/>
                  </a:lnTo>
                  <a:lnTo>
                    <a:pt x="432" y="273"/>
                  </a:lnTo>
                  <a:lnTo>
                    <a:pt x="419" y="264"/>
                  </a:lnTo>
                  <a:lnTo>
                    <a:pt x="407" y="257"/>
                  </a:lnTo>
                  <a:lnTo>
                    <a:pt x="396" y="252"/>
                  </a:lnTo>
                  <a:lnTo>
                    <a:pt x="386" y="248"/>
                  </a:lnTo>
                  <a:lnTo>
                    <a:pt x="372" y="245"/>
                  </a:lnTo>
                  <a:lnTo>
                    <a:pt x="365" y="245"/>
                  </a:lnTo>
                  <a:lnTo>
                    <a:pt x="365" y="245"/>
                  </a:lnTo>
                  <a:lnTo>
                    <a:pt x="345" y="245"/>
                  </a:lnTo>
                  <a:lnTo>
                    <a:pt x="330" y="243"/>
                  </a:lnTo>
                  <a:lnTo>
                    <a:pt x="319" y="243"/>
                  </a:lnTo>
                  <a:lnTo>
                    <a:pt x="319" y="243"/>
                  </a:lnTo>
                  <a:lnTo>
                    <a:pt x="275" y="232"/>
                  </a:lnTo>
                  <a:lnTo>
                    <a:pt x="275" y="232"/>
                  </a:lnTo>
                  <a:lnTo>
                    <a:pt x="243" y="208"/>
                  </a:lnTo>
                  <a:lnTo>
                    <a:pt x="243" y="208"/>
                  </a:lnTo>
                  <a:lnTo>
                    <a:pt x="227" y="197"/>
                  </a:lnTo>
                  <a:lnTo>
                    <a:pt x="205" y="185"/>
                  </a:lnTo>
                  <a:lnTo>
                    <a:pt x="171" y="171"/>
                  </a:lnTo>
                  <a:lnTo>
                    <a:pt x="171" y="171"/>
                  </a:lnTo>
                  <a:lnTo>
                    <a:pt x="168" y="171"/>
                  </a:lnTo>
                  <a:lnTo>
                    <a:pt x="166" y="174"/>
                  </a:lnTo>
                  <a:lnTo>
                    <a:pt x="160" y="185"/>
                  </a:lnTo>
                  <a:lnTo>
                    <a:pt x="155" y="197"/>
                  </a:lnTo>
                  <a:lnTo>
                    <a:pt x="153" y="208"/>
                  </a:lnTo>
                  <a:lnTo>
                    <a:pt x="153" y="208"/>
                  </a:lnTo>
                  <a:lnTo>
                    <a:pt x="152" y="236"/>
                  </a:lnTo>
                  <a:lnTo>
                    <a:pt x="150" y="253"/>
                  </a:lnTo>
                  <a:lnTo>
                    <a:pt x="148" y="269"/>
                  </a:lnTo>
                  <a:lnTo>
                    <a:pt x="148" y="269"/>
                  </a:lnTo>
                  <a:lnTo>
                    <a:pt x="148" y="283"/>
                  </a:lnTo>
                  <a:lnTo>
                    <a:pt x="148" y="297"/>
                  </a:lnTo>
                  <a:lnTo>
                    <a:pt x="148" y="305"/>
                  </a:lnTo>
                  <a:lnTo>
                    <a:pt x="145" y="308"/>
                  </a:lnTo>
                  <a:lnTo>
                    <a:pt x="139" y="312"/>
                  </a:lnTo>
                  <a:lnTo>
                    <a:pt x="132" y="313"/>
                  </a:lnTo>
                  <a:lnTo>
                    <a:pt x="132" y="313"/>
                  </a:lnTo>
                  <a:lnTo>
                    <a:pt x="88" y="315"/>
                  </a:lnTo>
                  <a:lnTo>
                    <a:pt x="55" y="313"/>
                  </a:lnTo>
                  <a:lnTo>
                    <a:pt x="55" y="313"/>
                  </a:lnTo>
                  <a:lnTo>
                    <a:pt x="23" y="310"/>
                  </a:lnTo>
                  <a:lnTo>
                    <a:pt x="23" y="310"/>
                  </a:lnTo>
                  <a:lnTo>
                    <a:pt x="20" y="310"/>
                  </a:lnTo>
                  <a:lnTo>
                    <a:pt x="13" y="313"/>
                  </a:lnTo>
                  <a:lnTo>
                    <a:pt x="9" y="317"/>
                  </a:lnTo>
                  <a:lnTo>
                    <a:pt x="6" y="322"/>
                  </a:lnTo>
                  <a:lnTo>
                    <a:pt x="4" y="329"/>
                  </a:lnTo>
                  <a:lnTo>
                    <a:pt x="2" y="338"/>
                  </a:lnTo>
                  <a:lnTo>
                    <a:pt x="2" y="338"/>
                  </a:lnTo>
                  <a:lnTo>
                    <a:pt x="2" y="400"/>
                  </a:lnTo>
                  <a:lnTo>
                    <a:pt x="4" y="444"/>
                  </a:lnTo>
                  <a:lnTo>
                    <a:pt x="4" y="444"/>
                  </a:lnTo>
                  <a:lnTo>
                    <a:pt x="6" y="474"/>
                  </a:lnTo>
                  <a:lnTo>
                    <a:pt x="6" y="489"/>
                  </a:lnTo>
                  <a:lnTo>
                    <a:pt x="4" y="502"/>
                  </a:lnTo>
                  <a:lnTo>
                    <a:pt x="4" y="502"/>
                  </a:lnTo>
                  <a:lnTo>
                    <a:pt x="2" y="511"/>
                  </a:lnTo>
                  <a:lnTo>
                    <a:pt x="0" y="521"/>
                  </a:lnTo>
                  <a:lnTo>
                    <a:pt x="0" y="526"/>
                  </a:lnTo>
                  <a:lnTo>
                    <a:pt x="2" y="534"/>
                  </a:lnTo>
                  <a:lnTo>
                    <a:pt x="6" y="542"/>
                  </a:lnTo>
                  <a:lnTo>
                    <a:pt x="9" y="549"/>
                  </a:lnTo>
                  <a:lnTo>
                    <a:pt x="9" y="549"/>
                  </a:lnTo>
                  <a:lnTo>
                    <a:pt x="23" y="570"/>
                  </a:lnTo>
                  <a:lnTo>
                    <a:pt x="39" y="592"/>
                  </a:lnTo>
                  <a:lnTo>
                    <a:pt x="55" y="609"/>
                  </a:lnTo>
                  <a:lnTo>
                    <a:pt x="64" y="618"/>
                  </a:lnTo>
                  <a:lnTo>
                    <a:pt x="64" y="618"/>
                  </a:lnTo>
                  <a:lnTo>
                    <a:pt x="69" y="623"/>
                  </a:lnTo>
                  <a:lnTo>
                    <a:pt x="76" y="632"/>
                  </a:lnTo>
                  <a:lnTo>
                    <a:pt x="79" y="641"/>
                  </a:lnTo>
                  <a:lnTo>
                    <a:pt x="81" y="644"/>
                  </a:lnTo>
                  <a:lnTo>
                    <a:pt x="81" y="646"/>
                  </a:lnTo>
                  <a:lnTo>
                    <a:pt x="81" y="646"/>
                  </a:lnTo>
                  <a:lnTo>
                    <a:pt x="94" y="644"/>
                  </a:lnTo>
                  <a:lnTo>
                    <a:pt x="113" y="641"/>
                  </a:lnTo>
                  <a:lnTo>
                    <a:pt x="113" y="641"/>
                  </a:lnTo>
                  <a:lnTo>
                    <a:pt x="127" y="636"/>
                  </a:lnTo>
                  <a:lnTo>
                    <a:pt x="132" y="636"/>
                  </a:lnTo>
                  <a:lnTo>
                    <a:pt x="136" y="637"/>
                  </a:lnTo>
                  <a:lnTo>
                    <a:pt x="136" y="637"/>
                  </a:lnTo>
                  <a:lnTo>
                    <a:pt x="139" y="637"/>
                  </a:lnTo>
                  <a:lnTo>
                    <a:pt x="146" y="639"/>
                  </a:lnTo>
                  <a:lnTo>
                    <a:pt x="166" y="639"/>
                  </a:lnTo>
                  <a:lnTo>
                    <a:pt x="199" y="641"/>
                  </a:lnTo>
                  <a:lnTo>
                    <a:pt x="199" y="641"/>
                  </a:lnTo>
                  <a:lnTo>
                    <a:pt x="208" y="644"/>
                  </a:lnTo>
                  <a:lnTo>
                    <a:pt x="210" y="646"/>
                  </a:lnTo>
                  <a:lnTo>
                    <a:pt x="236" y="662"/>
                  </a:lnTo>
                  <a:lnTo>
                    <a:pt x="236" y="662"/>
                  </a:lnTo>
                  <a:lnTo>
                    <a:pt x="249" y="660"/>
                  </a:lnTo>
                  <a:lnTo>
                    <a:pt x="264" y="659"/>
                  </a:lnTo>
                  <a:lnTo>
                    <a:pt x="293" y="659"/>
                  </a:lnTo>
                  <a:lnTo>
                    <a:pt x="330" y="664"/>
                  </a:lnTo>
                  <a:lnTo>
                    <a:pt x="330" y="664"/>
                  </a:lnTo>
                  <a:lnTo>
                    <a:pt x="345" y="659"/>
                  </a:lnTo>
                  <a:lnTo>
                    <a:pt x="361" y="652"/>
                  </a:lnTo>
                  <a:lnTo>
                    <a:pt x="377" y="643"/>
                  </a:lnTo>
                  <a:lnTo>
                    <a:pt x="377" y="643"/>
                  </a:lnTo>
                  <a:lnTo>
                    <a:pt x="421" y="620"/>
                  </a:lnTo>
                  <a:lnTo>
                    <a:pt x="442" y="607"/>
                  </a:lnTo>
                  <a:lnTo>
                    <a:pt x="449" y="602"/>
                  </a:lnTo>
                  <a:lnTo>
                    <a:pt x="453" y="599"/>
                  </a:lnTo>
                  <a:lnTo>
                    <a:pt x="453" y="599"/>
                  </a:lnTo>
                  <a:lnTo>
                    <a:pt x="458" y="595"/>
                  </a:lnTo>
                  <a:lnTo>
                    <a:pt x="465" y="590"/>
                  </a:lnTo>
                  <a:lnTo>
                    <a:pt x="467" y="586"/>
                  </a:lnTo>
                  <a:lnTo>
                    <a:pt x="469" y="581"/>
                  </a:lnTo>
                  <a:lnTo>
                    <a:pt x="467" y="576"/>
                  </a:lnTo>
                  <a:lnTo>
                    <a:pt x="465" y="567"/>
                  </a:lnTo>
                  <a:lnTo>
                    <a:pt x="465" y="567"/>
                  </a:lnTo>
                  <a:lnTo>
                    <a:pt x="462" y="558"/>
                  </a:lnTo>
                  <a:lnTo>
                    <a:pt x="458" y="551"/>
                  </a:lnTo>
                  <a:lnTo>
                    <a:pt x="451" y="541"/>
                  </a:lnTo>
                  <a:lnTo>
                    <a:pt x="449" y="535"/>
                  </a:lnTo>
                  <a:lnTo>
                    <a:pt x="449" y="532"/>
                  </a:lnTo>
                  <a:lnTo>
                    <a:pt x="453" y="526"/>
                  </a:lnTo>
                  <a:lnTo>
                    <a:pt x="458" y="521"/>
                  </a:lnTo>
                  <a:lnTo>
                    <a:pt x="458" y="521"/>
                  </a:lnTo>
                  <a:lnTo>
                    <a:pt x="472" y="511"/>
                  </a:lnTo>
                  <a:lnTo>
                    <a:pt x="485" y="505"/>
                  </a:lnTo>
                  <a:lnTo>
                    <a:pt x="497" y="500"/>
                  </a:lnTo>
                  <a:lnTo>
                    <a:pt x="497" y="500"/>
                  </a:lnTo>
                  <a:lnTo>
                    <a:pt x="525" y="493"/>
                  </a:lnTo>
                  <a:lnTo>
                    <a:pt x="544" y="491"/>
                  </a:lnTo>
                  <a:lnTo>
                    <a:pt x="551" y="491"/>
                  </a:lnTo>
                  <a:lnTo>
                    <a:pt x="555" y="493"/>
                  </a:lnTo>
                  <a:lnTo>
                    <a:pt x="555" y="493"/>
                  </a:lnTo>
                  <a:lnTo>
                    <a:pt x="569" y="479"/>
                  </a:lnTo>
                  <a:lnTo>
                    <a:pt x="585" y="465"/>
                  </a:lnTo>
                  <a:lnTo>
                    <a:pt x="606" y="452"/>
                  </a:lnTo>
                  <a:lnTo>
                    <a:pt x="606" y="452"/>
                  </a:lnTo>
                  <a:lnTo>
                    <a:pt x="636" y="438"/>
                  </a:lnTo>
                  <a:lnTo>
                    <a:pt x="669" y="424"/>
                  </a:lnTo>
                  <a:lnTo>
                    <a:pt x="710" y="408"/>
                  </a:lnTo>
                  <a:lnTo>
                    <a:pt x="750" y="398"/>
                  </a:lnTo>
                  <a:lnTo>
                    <a:pt x="766" y="398"/>
                  </a:lnTo>
                  <a:lnTo>
                    <a:pt x="766" y="398"/>
                  </a:lnTo>
                  <a:lnTo>
                    <a:pt x="768" y="398"/>
                  </a:lnTo>
                  <a:lnTo>
                    <a:pt x="772" y="393"/>
                  </a:lnTo>
                  <a:lnTo>
                    <a:pt x="772" y="382"/>
                  </a:lnTo>
                  <a:lnTo>
                    <a:pt x="770" y="366"/>
                  </a:lnTo>
                  <a:lnTo>
                    <a:pt x="770" y="366"/>
                  </a:lnTo>
                  <a:lnTo>
                    <a:pt x="768" y="349"/>
                  </a:lnTo>
                  <a:lnTo>
                    <a:pt x="768" y="334"/>
                  </a:lnTo>
                  <a:lnTo>
                    <a:pt x="772" y="322"/>
                  </a:lnTo>
                  <a:lnTo>
                    <a:pt x="780" y="306"/>
                  </a:lnTo>
                  <a:lnTo>
                    <a:pt x="780" y="306"/>
                  </a:lnTo>
                  <a:lnTo>
                    <a:pt x="789" y="290"/>
                  </a:lnTo>
                  <a:lnTo>
                    <a:pt x="798" y="276"/>
                  </a:lnTo>
                  <a:lnTo>
                    <a:pt x="803" y="260"/>
                  </a:lnTo>
                  <a:lnTo>
                    <a:pt x="805" y="252"/>
                  </a:lnTo>
                  <a:lnTo>
                    <a:pt x="805" y="241"/>
                  </a:lnTo>
                  <a:lnTo>
                    <a:pt x="805" y="241"/>
                  </a:lnTo>
                  <a:lnTo>
                    <a:pt x="807" y="192"/>
                  </a:lnTo>
                  <a:lnTo>
                    <a:pt x="805" y="167"/>
                  </a:lnTo>
                  <a:lnTo>
                    <a:pt x="802" y="157"/>
                  </a:lnTo>
                  <a:lnTo>
                    <a:pt x="798" y="148"/>
                  </a:lnTo>
                  <a:lnTo>
                    <a:pt x="798" y="148"/>
                  </a:lnTo>
                  <a:lnTo>
                    <a:pt x="791" y="128"/>
                  </a:lnTo>
                  <a:lnTo>
                    <a:pt x="784" y="105"/>
                  </a:lnTo>
                  <a:lnTo>
                    <a:pt x="777" y="88"/>
                  </a:lnTo>
                  <a:lnTo>
                    <a:pt x="773" y="81"/>
                  </a:lnTo>
                  <a:lnTo>
                    <a:pt x="770" y="77"/>
                  </a:lnTo>
                  <a:lnTo>
                    <a:pt x="770" y="77"/>
                  </a:lnTo>
                  <a:lnTo>
                    <a:pt x="757" y="74"/>
                  </a:lnTo>
                  <a:lnTo>
                    <a:pt x="743" y="69"/>
                  </a:lnTo>
                  <a:lnTo>
                    <a:pt x="726" y="63"/>
                  </a:lnTo>
                  <a:lnTo>
                    <a:pt x="719" y="58"/>
                  </a:lnTo>
                  <a:lnTo>
                    <a:pt x="710" y="53"/>
                  </a:lnTo>
                  <a:lnTo>
                    <a:pt x="710" y="53"/>
                  </a:lnTo>
                  <a:lnTo>
                    <a:pt x="676" y="28"/>
                  </a:lnTo>
                  <a:lnTo>
                    <a:pt x="657" y="14"/>
                  </a:lnTo>
                  <a:lnTo>
                    <a:pt x="627" y="7"/>
                  </a:lnTo>
                  <a:lnTo>
                    <a:pt x="492" y="0"/>
                  </a:lnTo>
                  <a:lnTo>
                    <a:pt x="492" y="0"/>
                  </a:lnTo>
                  <a:lnTo>
                    <a:pt x="488" y="0"/>
                  </a:lnTo>
                  <a:lnTo>
                    <a:pt x="485" y="0"/>
                  </a:lnTo>
                  <a:lnTo>
                    <a:pt x="481" y="0"/>
                  </a:lnTo>
                  <a:lnTo>
                    <a:pt x="476" y="2"/>
                  </a:lnTo>
                  <a:lnTo>
                    <a:pt x="470" y="7"/>
                  </a:lnTo>
                  <a:lnTo>
                    <a:pt x="467" y="14"/>
                  </a:lnTo>
                  <a:lnTo>
                    <a:pt x="463" y="26"/>
                  </a:lnTo>
                  <a:lnTo>
                    <a:pt x="449" y="69"/>
                  </a:lnTo>
                  <a:lnTo>
                    <a:pt x="449" y="69"/>
                  </a:lnTo>
                  <a:lnTo>
                    <a:pt x="444" y="102"/>
                  </a:lnTo>
                  <a:lnTo>
                    <a:pt x="442" y="130"/>
                  </a:lnTo>
                  <a:lnTo>
                    <a:pt x="442" y="142"/>
                  </a:lnTo>
                  <a:lnTo>
                    <a:pt x="444" y="151"/>
                  </a:lnTo>
                  <a:lnTo>
                    <a:pt x="444" y="151"/>
                  </a:lnTo>
                  <a:lnTo>
                    <a:pt x="448" y="169"/>
                  </a:lnTo>
                  <a:lnTo>
                    <a:pt x="449" y="188"/>
                  </a:lnTo>
                  <a:lnTo>
                    <a:pt x="451" y="213"/>
                  </a:lnTo>
                  <a:lnTo>
                    <a:pt x="451" y="213"/>
                  </a:lnTo>
                  <a:lnTo>
                    <a:pt x="453" y="218"/>
                  </a:lnTo>
                  <a:lnTo>
                    <a:pt x="458" y="232"/>
                  </a:lnTo>
                  <a:lnTo>
                    <a:pt x="463" y="239"/>
                  </a:lnTo>
                  <a:lnTo>
                    <a:pt x="469" y="246"/>
                  </a:lnTo>
                  <a:lnTo>
                    <a:pt x="477" y="252"/>
                  </a:lnTo>
                  <a:lnTo>
                    <a:pt x="488" y="255"/>
                  </a:lnTo>
                  <a:lnTo>
                    <a:pt x="488" y="255"/>
                  </a:lnTo>
                  <a:lnTo>
                    <a:pt x="507" y="257"/>
                  </a:lnTo>
                  <a:lnTo>
                    <a:pt x="523" y="257"/>
                  </a:lnTo>
                  <a:lnTo>
                    <a:pt x="530" y="259"/>
                  </a:lnTo>
                  <a:lnTo>
                    <a:pt x="537" y="260"/>
                  </a:lnTo>
                  <a:lnTo>
                    <a:pt x="546" y="266"/>
                  </a:lnTo>
                  <a:lnTo>
                    <a:pt x="557" y="273"/>
                  </a:lnTo>
                  <a:lnTo>
                    <a:pt x="557" y="273"/>
                  </a:lnTo>
                  <a:lnTo>
                    <a:pt x="566" y="282"/>
                  </a:lnTo>
                  <a:lnTo>
                    <a:pt x="571" y="290"/>
                  </a:lnTo>
                  <a:lnTo>
                    <a:pt x="571" y="297"/>
                  </a:lnTo>
                  <a:lnTo>
                    <a:pt x="569" y="305"/>
                  </a:lnTo>
                  <a:lnTo>
                    <a:pt x="562" y="313"/>
                  </a:lnTo>
                  <a:lnTo>
                    <a:pt x="551" y="320"/>
                  </a:lnTo>
                  <a:lnTo>
                    <a:pt x="539" y="327"/>
                  </a:lnTo>
                  <a:lnTo>
                    <a:pt x="523" y="334"/>
                  </a:lnTo>
                  <a:lnTo>
                    <a:pt x="523" y="33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6" name="Freeform 40">
              <a:extLst>
                <a:ext uri="{FF2B5EF4-FFF2-40B4-BE49-F238E27FC236}">
                  <a16:creationId xmlns:a16="http://schemas.microsoft.com/office/drawing/2014/main" id="{6DA72BA9-24E7-4437-BED6-A3DD86AB0F21}"/>
                </a:ext>
              </a:extLst>
            </p:cNvPr>
            <p:cNvSpPr>
              <a:spLocks/>
            </p:cNvSpPr>
            <p:nvPr/>
          </p:nvSpPr>
          <p:spPr bwMode="auto">
            <a:xfrm>
              <a:off x="5608062" y="4672145"/>
              <a:ext cx="173101" cy="478261"/>
            </a:xfrm>
            <a:custGeom>
              <a:avLst/>
              <a:gdLst/>
              <a:ahLst/>
              <a:cxnLst>
                <a:cxn ang="0">
                  <a:pos x="145" y="116"/>
                </a:cxn>
                <a:cxn ang="0">
                  <a:pos x="106" y="46"/>
                </a:cxn>
                <a:cxn ang="0">
                  <a:pos x="92" y="17"/>
                </a:cxn>
                <a:cxn ang="0">
                  <a:pos x="85" y="7"/>
                </a:cxn>
                <a:cxn ang="0">
                  <a:pos x="72" y="2"/>
                </a:cxn>
                <a:cxn ang="0">
                  <a:pos x="53" y="0"/>
                </a:cxn>
                <a:cxn ang="0">
                  <a:pos x="21" y="2"/>
                </a:cxn>
                <a:cxn ang="0">
                  <a:pos x="7" y="7"/>
                </a:cxn>
                <a:cxn ang="0">
                  <a:pos x="4" y="10"/>
                </a:cxn>
                <a:cxn ang="0">
                  <a:pos x="25" y="58"/>
                </a:cxn>
                <a:cxn ang="0">
                  <a:pos x="32" y="79"/>
                </a:cxn>
                <a:cxn ang="0">
                  <a:pos x="41" y="105"/>
                </a:cxn>
                <a:cxn ang="0">
                  <a:pos x="41" y="116"/>
                </a:cxn>
                <a:cxn ang="0">
                  <a:pos x="39" y="174"/>
                </a:cxn>
                <a:cxn ang="0">
                  <a:pos x="34" y="204"/>
                </a:cxn>
                <a:cxn ang="0">
                  <a:pos x="27" y="218"/>
                </a:cxn>
                <a:cxn ang="0">
                  <a:pos x="11" y="245"/>
                </a:cxn>
                <a:cxn ang="0">
                  <a:pos x="2" y="271"/>
                </a:cxn>
                <a:cxn ang="0">
                  <a:pos x="6" y="299"/>
                </a:cxn>
                <a:cxn ang="0">
                  <a:pos x="4" y="324"/>
                </a:cxn>
                <a:cxn ang="0">
                  <a:pos x="0" y="331"/>
                </a:cxn>
                <a:cxn ang="0">
                  <a:pos x="39" y="331"/>
                </a:cxn>
                <a:cxn ang="0">
                  <a:pos x="60" y="340"/>
                </a:cxn>
                <a:cxn ang="0">
                  <a:pos x="83" y="361"/>
                </a:cxn>
                <a:cxn ang="0">
                  <a:pos x="92" y="371"/>
                </a:cxn>
                <a:cxn ang="0">
                  <a:pos x="102" y="389"/>
                </a:cxn>
                <a:cxn ang="0">
                  <a:pos x="104" y="421"/>
                </a:cxn>
                <a:cxn ang="0">
                  <a:pos x="102" y="433"/>
                </a:cxn>
                <a:cxn ang="0">
                  <a:pos x="97" y="461"/>
                </a:cxn>
                <a:cxn ang="0">
                  <a:pos x="95" y="481"/>
                </a:cxn>
                <a:cxn ang="0">
                  <a:pos x="102" y="507"/>
                </a:cxn>
                <a:cxn ang="0">
                  <a:pos x="108" y="521"/>
                </a:cxn>
                <a:cxn ang="0">
                  <a:pos x="122" y="535"/>
                </a:cxn>
                <a:cxn ang="0">
                  <a:pos x="138" y="532"/>
                </a:cxn>
                <a:cxn ang="0">
                  <a:pos x="155" y="518"/>
                </a:cxn>
                <a:cxn ang="0">
                  <a:pos x="166" y="503"/>
                </a:cxn>
                <a:cxn ang="0">
                  <a:pos x="189" y="468"/>
                </a:cxn>
                <a:cxn ang="0">
                  <a:pos x="194" y="454"/>
                </a:cxn>
                <a:cxn ang="0">
                  <a:pos x="194" y="435"/>
                </a:cxn>
                <a:cxn ang="0">
                  <a:pos x="185" y="380"/>
                </a:cxn>
                <a:cxn ang="0">
                  <a:pos x="178" y="364"/>
                </a:cxn>
                <a:cxn ang="0">
                  <a:pos x="168" y="352"/>
                </a:cxn>
                <a:cxn ang="0">
                  <a:pos x="148" y="313"/>
                </a:cxn>
                <a:cxn ang="0">
                  <a:pos x="136" y="275"/>
                </a:cxn>
                <a:cxn ang="0">
                  <a:pos x="131" y="253"/>
                </a:cxn>
                <a:cxn ang="0">
                  <a:pos x="125" y="209"/>
                </a:cxn>
                <a:cxn ang="0">
                  <a:pos x="127" y="171"/>
                </a:cxn>
                <a:cxn ang="0">
                  <a:pos x="132" y="139"/>
                </a:cxn>
                <a:cxn ang="0">
                  <a:pos x="145" y="116"/>
                </a:cxn>
              </a:cxnLst>
              <a:rect l="0" t="0" r="r" b="b"/>
              <a:pathLst>
                <a:path w="194" h="535">
                  <a:moveTo>
                    <a:pt x="145" y="116"/>
                  </a:moveTo>
                  <a:lnTo>
                    <a:pt x="145" y="116"/>
                  </a:lnTo>
                  <a:lnTo>
                    <a:pt x="106" y="46"/>
                  </a:lnTo>
                  <a:lnTo>
                    <a:pt x="106" y="46"/>
                  </a:lnTo>
                  <a:lnTo>
                    <a:pt x="99" y="30"/>
                  </a:lnTo>
                  <a:lnTo>
                    <a:pt x="92" y="17"/>
                  </a:lnTo>
                  <a:lnTo>
                    <a:pt x="88" y="12"/>
                  </a:lnTo>
                  <a:lnTo>
                    <a:pt x="85" y="7"/>
                  </a:lnTo>
                  <a:lnTo>
                    <a:pt x="80" y="3"/>
                  </a:lnTo>
                  <a:lnTo>
                    <a:pt x="72" y="2"/>
                  </a:lnTo>
                  <a:lnTo>
                    <a:pt x="72" y="2"/>
                  </a:lnTo>
                  <a:lnTo>
                    <a:pt x="53" y="0"/>
                  </a:lnTo>
                  <a:lnTo>
                    <a:pt x="32" y="0"/>
                  </a:lnTo>
                  <a:lnTo>
                    <a:pt x="21" y="2"/>
                  </a:lnTo>
                  <a:lnTo>
                    <a:pt x="13" y="3"/>
                  </a:lnTo>
                  <a:lnTo>
                    <a:pt x="7" y="7"/>
                  </a:lnTo>
                  <a:lnTo>
                    <a:pt x="4" y="10"/>
                  </a:lnTo>
                  <a:lnTo>
                    <a:pt x="4" y="10"/>
                  </a:lnTo>
                  <a:lnTo>
                    <a:pt x="9" y="23"/>
                  </a:lnTo>
                  <a:lnTo>
                    <a:pt x="25" y="58"/>
                  </a:lnTo>
                  <a:lnTo>
                    <a:pt x="25" y="58"/>
                  </a:lnTo>
                  <a:lnTo>
                    <a:pt x="32" y="79"/>
                  </a:lnTo>
                  <a:lnTo>
                    <a:pt x="37" y="95"/>
                  </a:lnTo>
                  <a:lnTo>
                    <a:pt x="41" y="105"/>
                  </a:lnTo>
                  <a:lnTo>
                    <a:pt x="41" y="116"/>
                  </a:lnTo>
                  <a:lnTo>
                    <a:pt x="41" y="116"/>
                  </a:lnTo>
                  <a:lnTo>
                    <a:pt x="39" y="174"/>
                  </a:lnTo>
                  <a:lnTo>
                    <a:pt x="39" y="174"/>
                  </a:lnTo>
                  <a:lnTo>
                    <a:pt x="37" y="190"/>
                  </a:lnTo>
                  <a:lnTo>
                    <a:pt x="34" y="204"/>
                  </a:lnTo>
                  <a:lnTo>
                    <a:pt x="27" y="218"/>
                  </a:lnTo>
                  <a:lnTo>
                    <a:pt x="27" y="218"/>
                  </a:lnTo>
                  <a:lnTo>
                    <a:pt x="18" y="230"/>
                  </a:lnTo>
                  <a:lnTo>
                    <a:pt x="11" y="245"/>
                  </a:lnTo>
                  <a:lnTo>
                    <a:pt x="4" y="259"/>
                  </a:lnTo>
                  <a:lnTo>
                    <a:pt x="2" y="271"/>
                  </a:lnTo>
                  <a:lnTo>
                    <a:pt x="2" y="271"/>
                  </a:lnTo>
                  <a:lnTo>
                    <a:pt x="6" y="299"/>
                  </a:lnTo>
                  <a:lnTo>
                    <a:pt x="6" y="317"/>
                  </a:lnTo>
                  <a:lnTo>
                    <a:pt x="4" y="324"/>
                  </a:lnTo>
                  <a:lnTo>
                    <a:pt x="0" y="331"/>
                  </a:lnTo>
                  <a:lnTo>
                    <a:pt x="0" y="331"/>
                  </a:lnTo>
                  <a:lnTo>
                    <a:pt x="39" y="331"/>
                  </a:lnTo>
                  <a:lnTo>
                    <a:pt x="39" y="331"/>
                  </a:lnTo>
                  <a:lnTo>
                    <a:pt x="50" y="334"/>
                  </a:lnTo>
                  <a:lnTo>
                    <a:pt x="60" y="340"/>
                  </a:lnTo>
                  <a:lnTo>
                    <a:pt x="72" y="348"/>
                  </a:lnTo>
                  <a:lnTo>
                    <a:pt x="83" y="361"/>
                  </a:lnTo>
                  <a:lnTo>
                    <a:pt x="83" y="361"/>
                  </a:lnTo>
                  <a:lnTo>
                    <a:pt x="92" y="371"/>
                  </a:lnTo>
                  <a:lnTo>
                    <a:pt x="99" y="382"/>
                  </a:lnTo>
                  <a:lnTo>
                    <a:pt x="102" y="389"/>
                  </a:lnTo>
                  <a:lnTo>
                    <a:pt x="104" y="398"/>
                  </a:lnTo>
                  <a:lnTo>
                    <a:pt x="104" y="421"/>
                  </a:lnTo>
                  <a:lnTo>
                    <a:pt x="104" y="421"/>
                  </a:lnTo>
                  <a:lnTo>
                    <a:pt x="102" y="433"/>
                  </a:lnTo>
                  <a:lnTo>
                    <a:pt x="101" y="444"/>
                  </a:lnTo>
                  <a:lnTo>
                    <a:pt x="97" y="461"/>
                  </a:lnTo>
                  <a:lnTo>
                    <a:pt x="95" y="470"/>
                  </a:lnTo>
                  <a:lnTo>
                    <a:pt x="95" y="481"/>
                  </a:lnTo>
                  <a:lnTo>
                    <a:pt x="97" y="493"/>
                  </a:lnTo>
                  <a:lnTo>
                    <a:pt x="102" y="507"/>
                  </a:lnTo>
                  <a:lnTo>
                    <a:pt x="102" y="507"/>
                  </a:lnTo>
                  <a:lnTo>
                    <a:pt x="108" y="521"/>
                  </a:lnTo>
                  <a:lnTo>
                    <a:pt x="115" y="530"/>
                  </a:lnTo>
                  <a:lnTo>
                    <a:pt x="122" y="535"/>
                  </a:lnTo>
                  <a:lnTo>
                    <a:pt x="129" y="535"/>
                  </a:lnTo>
                  <a:lnTo>
                    <a:pt x="138" y="532"/>
                  </a:lnTo>
                  <a:lnTo>
                    <a:pt x="143" y="528"/>
                  </a:lnTo>
                  <a:lnTo>
                    <a:pt x="155" y="518"/>
                  </a:lnTo>
                  <a:lnTo>
                    <a:pt x="155" y="518"/>
                  </a:lnTo>
                  <a:lnTo>
                    <a:pt x="166" y="503"/>
                  </a:lnTo>
                  <a:lnTo>
                    <a:pt x="178" y="486"/>
                  </a:lnTo>
                  <a:lnTo>
                    <a:pt x="189" y="468"/>
                  </a:lnTo>
                  <a:lnTo>
                    <a:pt x="192" y="461"/>
                  </a:lnTo>
                  <a:lnTo>
                    <a:pt x="194" y="454"/>
                  </a:lnTo>
                  <a:lnTo>
                    <a:pt x="194" y="454"/>
                  </a:lnTo>
                  <a:lnTo>
                    <a:pt x="194" y="435"/>
                  </a:lnTo>
                  <a:lnTo>
                    <a:pt x="190" y="407"/>
                  </a:lnTo>
                  <a:lnTo>
                    <a:pt x="185" y="380"/>
                  </a:lnTo>
                  <a:lnTo>
                    <a:pt x="182" y="370"/>
                  </a:lnTo>
                  <a:lnTo>
                    <a:pt x="178" y="364"/>
                  </a:lnTo>
                  <a:lnTo>
                    <a:pt x="178" y="364"/>
                  </a:lnTo>
                  <a:lnTo>
                    <a:pt x="168" y="352"/>
                  </a:lnTo>
                  <a:lnTo>
                    <a:pt x="155" y="327"/>
                  </a:lnTo>
                  <a:lnTo>
                    <a:pt x="148" y="313"/>
                  </a:lnTo>
                  <a:lnTo>
                    <a:pt x="141" y="294"/>
                  </a:lnTo>
                  <a:lnTo>
                    <a:pt x="136" y="275"/>
                  </a:lnTo>
                  <a:lnTo>
                    <a:pt x="131" y="253"/>
                  </a:lnTo>
                  <a:lnTo>
                    <a:pt x="131" y="253"/>
                  </a:lnTo>
                  <a:lnTo>
                    <a:pt x="127" y="230"/>
                  </a:lnTo>
                  <a:lnTo>
                    <a:pt x="125" y="209"/>
                  </a:lnTo>
                  <a:lnTo>
                    <a:pt x="125" y="190"/>
                  </a:lnTo>
                  <a:lnTo>
                    <a:pt x="127" y="171"/>
                  </a:lnTo>
                  <a:lnTo>
                    <a:pt x="129" y="155"/>
                  </a:lnTo>
                  <a:lnTo>
                    <a:pt x="132" y="139"/>
                  </a:lnTo>
                  <a:lnTo>
                    <a:pt x="138" y="127"/>
                  </a:lnTo>
                  <a:lnTo>
                    <a:pt x="145" y="116"/>
                  </a:lnTo>
                  <a:lnTo>
                    <a:pt x="145" y="11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7" name="Freeform 41">
              <a:extLst>
                <a:ext uri="{FF2B5EF4-FFF2-40B4-BE49-F238E27FC236}">
                  <a16:creationId xmlns:a16="http://schemas.microsoft.com/office/drawing/2014/main" id="{F12D2EC7-A6BE-4432-9A09-51948DCCFA4F}"/>
                </a:ext>
              </a:extLst>
            </p:cNvPr>
            <p:cNvSpPr>
              <a:spLocks/>
            </p:cNvSpPr>
            <p:nvPr/>
          </p:nvSpPr>
          <p:spPr bwMode="auto">
            <a:xfrm>
              <a:off x="5390346" y="4222436"/>
              <a:ext cx="98150" cy="126704"/>
            </a:xfrm>
            <a:custGeom>
              <a:avLst/>
              <a:gdLst/>
              <a:ahLst/>
              <a:cxnLst>
                <a:cxn ang="0">
                  <a:pos x="4" y="25"/>
                </a:cxn>
                <a:cxn ang="0">
                  <a:pos x="4" y="25"/>
                </a:cxn>
                <a:cxn ang="0">
                  <a:pos x="2" y="21"/>
                </a:cxn>
                <a:cxn ang="0">
                  <a:pos x="0" y="18"/>
                </a:cxn>
                <a:cxn ang="0">
                  <a:pos x="0" y="16"/>
                </a:cxn>
                <a:cxn ang="0">
                  <a:pos x="2" y="14"/>
                </a:cxn>
                <a:cxn ang="0">
                  <a:pos x="4" y="12"/>
                </a:cxn>
                <a:cxn ang="0">
                  <a:pos x="9" y="12"/>
                </a:cxn>
                <a:cxn ang="0">
                  <a:pos x="9" y="12"/>
                </a:cxn>
                <a:cxn ang="0">
                  <a:pos x="21" y="14"/>
                </a:cxn>
                <a:cxn ang="0">
                  <a:pos x="35" y="18"/>
                </a:cxn>
                <a:cxn ang="0">
                  <a:pos x="48" y="19"/>
                </a:cxn>
                <a:cxn ang="0">
                  <a:pos x="53" y="19"/>
                </a:cxn>
                <a:cxn ang="0">
                  <a:pos x="57" y="18"/>
                </a:cxn>
                <a:cxn ang="0">
                  <a:pos x="57" y="18"/>
                </a:cxn>
                <a:cxn ang="0">
                  <a:pos x="60" y="14"/>
                </a:cxn>
                <a:cxn ang="0">
                  <a:pos x="62" y="11"/>
                </a:cxn>
                <a:cxn ang="0">
                  <a:pos x="65" y="4"/>
                </a:cxn>
                <a:cxn ang="0">
                  <a:pos x="67" y="2"/>
                </a:cxn>
                <a:cxn ang="0">
                  <a:pos x="69" y="0"/>
                </a:cxn>
                <a:cxn ang="0">
                  <a:pos x="72" y="0"/>
                </a:cxn>
                <a:cxn ang="0">
                  <a:pos x="78" y="2"/>
                </a:cxn>
                <a:cxn ang="0">
                  <a:pos x="78" y="2"/>
                </a:cxn>
                <a:cxn ang="0">
                  <a:pos x="85" y="5"/>
                </a:cxn>
                <a:cxn ang="0">
                  <a:pos x="92" y="11"/>
                </a:cxn>
                <a:cxn ang="0">
                  <a:pos x="99" y="18"/>
                </a:cxn>
                <a:cxn ang="0">
                  <a:pos x="104" y="25"/>
                </a:cxn>
                <a:cxn ang="0">
                  <a:pos x="108" y="33"/>
                </a:cxn>
                <a:cxn ang="0">
                  <a:pos x="109" y="44"/>
                </a:cxn>
                <a:cxn ang="0">
                  <a:pos x="108" y="55"/>
                </a:cxn>
                <a:cxn ang="0">
                  <a:pos x="104" y="65"/>
                </a:cxn>
                <a:cxn ang="0">
                  <a:pos x="104" y="65"/>
                </a:cxn>
                <a:cxn ang="0">
                  <a:pos x="90" y="90"/>
                </a:cxn>
                <a:cxn ang="0">
                  <a:pos x="74" y="114"/>
                </a:cxn>
                <a:cxn ang="0">
                  <a:pos x="67" y="125"/>
                </a:cxn>
                <a:cxn ang="0">
                  <a:pos x="58" y="134"/>
                </a:cxn>
                <a:cxn ang="0">
                  <a:pos x="51" y="139"/>
                </a:cxn>
                <a:cxn ang="0">
                  <a:pos x="43" y="141"/>
                </a:cxn>
                <a:cxn ang="0">
                  <a:pos x="43" y="141"/>
                </a:cxn>
                <a:cxn ang="0">
                  <a:pos x="30" y="143"/>
                </a:cxn>
                <a:cxn ang="0">
                  <a:pos x="18" y="143"/>
                </a:cxn>
                <a:cxn ang="0">
                  <a:pos x="11" y="143"/>
                </a:cxn>
                <a:cxn ang="0">
                  <a:pos x="9" y="141"/>
                </a:cxn>
                <a:cxn ang="0">
                  <a:pos x="9" y="139"/>
                </a:cxn>
                <a:cxn ang="0">
                  <a:pos x="9" y="139"/>
                </a:cxn>
                <a:cxn ang="0">
                  <a:pos x="13" y="132"/>
                </a:cxn>
                <a:cxn ang="0">
                  <a:pos x="18" y="123"/>
                </a:cxn>
                <a:cxn ang="0">
                  <a:pos x="21" y="111"/>
                </a:cxn>
                <a:cxn ang="0">
                  <a:pos x="21" y="102"/>
                </a:cxn>
                <a:cxn ang="0">
                  <a:pos x="21" y="92"/>
                </a:cxn>
                <a:cxn ang="0">
                  <a:pos x="21" y="92"/>
                </a:cxn>
                <a:cxn ang="0">
                  <a:pos x="20" y="72"/>
                </a:cxn>
                <a:cxn ang="0">
                  <a:pos x="16" y="56"/>
                </a:cxn>
                <a:cxn ang="0">
                  <a:pos x="11" y="41"/>
                </a:cxn>
                <a:cxn ang="0">
                  <a:pos x="4" y="25"/>
                </a:cxn>
                <a:cxn ang="0">
                  <a:pos x="4" y="25"/>
                </a:cxn>
              </a:cxnLst>
              <a:rect l="0" t="0" r="r" b="b"/>
              <a:pathLst>
                <a:path w="109" h="143">
                  <a:moveTo>
                    <a:pt x="4" y="25"/>
                  </a:moveTo>
                  <a:lnTo>
                    <a:pt x="4" y="25"/>
                  </a:lnTo>
                  <a:lnTo>
                    <a:pt x="2" y="21"/>
                  </a:lnTo>
                  <a:lnTo>
                    <a:pt x="0" y="18"/>
                  </a:lnTo>
                  <a:lnTo>
                    <a:pt x="0" y="16"/>
                  </a:lnTo>
                  <a:lnTo>
                    <a:pt x="2" y="14"/>
                  </a:lnTo>
                  <a:lnTo>
                    <a:pt x="4" y="12"/>
                  </a:lnTo>
                  <a:lnTo>
                    <a:pt x="9" y="12"/>
                  </a:lnTo>
                  <a:lnTo>
                    <a:pt x="9" y="12"/>
                  </a:lnTo>
                  <a:lnTo>
                    <a:pt x="21" y="14"/>
                  </a:lnTo>
                  <a:lnTo>
                    <a:pt x="35" y="18"/>
                  </a:lnTo>
                  <a:lnTo>
                    <a:pt x="48" y="19"/>
                  </a:lnTo>
                  <a:lnTo>
                    <a:pt x="53" y="19"/>
                  </a:lnTo>
                  <a:lnTo>
                    <a:pt x="57" y="18"/>
                  </a:lnTo>
                  <a:lnTo>
                    <a:pt x="57" y="18"/>
                  </a:lnTo>
                  <a:lnTo>
                    <a:pt x="60" y="14"/>
                  </a:lnTo>
                  <a:lnTo>
                    <a:pt x="62" y="11"/>
                  </a:lnTo>
                  <a:lnTo>
                    <a:pt x="65" y="4"/>
                  </a:lnTo>
                  <a:lnTo>
                    <a:pt x="67" y="2"/>
                  </a:lnTo>
                  <a:lnTo>
                    <a:pt x="69" y="0"/>
                  </a:lnTo>
                  <a:lnTo>
                    <a:pt x="72" y="0"/>
                  </a:lnTo>
                  <a:lnTo>
                    <a:pt x="78" y="2"/>
                  </a:lnTo>
                  <a:lnTo>
                    <a:pt x="78" y="2"/>
                  </a:lnTo>
                  <a:lnTo>
                    <a:pt x="85" y="5"/>
                  </a:lnTo>
                  <a:lnTo>
                    <a:pt x="92" y="11"/>
                  </a:lnTo>
                  <a:lnTo>
                    <a:pt x="99" y="18"/>
                  </a:lnTo>
                  <a:lnTo>
                    <a:pt x="104" y="25"/>
                  </a:lnTo>
                  <a:lnTo>
                    <a:pt x="108" y="33"/>
                  </a:lnTo>
                  <a:lnTo>
                    <a:pt x="109" y="44"/>
                  </a:lnTo>
                  <a:lnTo>
                    <a:pt x="108" y="55"/>
                  </a:lnTo>
                  <a:lnTo>
                    <a:pt x="104" y="65"/>
                  </a:lnTo>
                  <a:lnTo>
                    <a:pt x="104" y="65"/>
                  </a:lnTo>
                  <a:lnTo>
                    <a:pt x="90" y="90"/>
                  </a:lnTo>
                  <a:lnTo>
                    <a:pt x="74" y="114"/>
                  </a:lnTo>
                  <a:lnTo>
                    <a:pt x="67" y="125"/>
                  </a:lnTo>
                  <a:lnTo>
                    <a:pt x="58" y="134"/>
                  </a:lnTo>
                  <a:lnTo>
                    <a:pt x="51" y="139"/>
                  </a:lnTo>
                  <a:lnTo>
                    <a:pt x="43" y="141"/>
                  </a:lnTo>
                  <a:lnTo>
                    <a:pt x="43" y="141"/>
                  </a:lnTo>
                  <a:lnTo>
                    <a:pt x="30" y="143"/>
                  </a:lnTo>
                  <a:lnTo>
                    <a:pt x="18" y="143"/>
                  </a:lnTo>
                  <a:lnTo>
                    <a:pt x="11" y="143"/>
                  </a:lnTo>
                  <a:lnTo>
                    <a:pt x="9" y="141"/>
                  </a:lnTo>
                  <a:lnTo>
                    <a:pt x="9" y="139"/>
                  </a:lnTo>
                  <a:lnTo>
                    <a:pt x="9" y="139"/>
                  </a:lnTo>
                  <a:lnTo>
                    <a:pt x="13" y="132"/>
                  </a:lnTo>
                  <a:lnTo>
                    <a:pt x="18" y="123"/>
                  </a:lnTo>
                  <a:lnTo>
                    <a:pt x="21" y="111"/>
                  </a:lnTo>
                  <a:lnTo>
                    <a:pt x="21" y="102"/>
                  </a:lnTo>
                  <a:lnTo>
                    <a:pt x="21" y="92"/>
                  </a:lnTo>
                  <a:lnTo>
                    <a:pt x="21" y="92"/>
                  </a:lnTo>
                  <a:lnTo>
                    <a:pt x="20" y="72"/>
                  </a:lnTo>
                  <a:lnTo>
                    <a:pt x="16" y="56"/>
                  </a:lnTo>
                  <a:lnTo>
                    <a:pt x="11" y="41"/>
                  </a:lnTo>
                  <a:lnTo>
                    <a:pt x="4" y="25"/>
                  </a:lnTo>
                  <a:lnTo>
                    <a:pt x="4" y="2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8" name="Freeform 42">
              <a:extLst>
                <a:ext uri="{FF2B5EF4-FFF2-40B4-BE49-F238E27FC236}">
                  <a16:creationId xmlns:a16="http://schemas.microsoft.com/office/drawing/2014/main" id="{37DBE39A-613E-4DFA-914A-C67EC72FE4DA}"/>
                </a:ext>
              </a:extLst>
            </p:cNvPr>
            <p:cNvSpPr>
              <a:spLocks/>
            </p:cNvSpPr>
            <p:nvPr/>
          </p:nvSpPr>
          <p:spPr bwMode="auto">
            <a:xfrm>
              <a:off x="5381424" y="4131423"/>
              <a:ext cx="121350" cy="112428"/>
            </a:xfrm>
            <a:custGeom>
              <a:avLst/>
              <a:gdLst/>
              <a:ahLst/>
              <a:cxnLst>
                <a:cxn ang="0">
                  <a:pos x="28" y="35"/>
                </a:cxn>
                <a:cxn ang="0">
                  <a:pos x="28" y="35"/>
                </a:cxn>
                <a:cxn ang="0">
                  <a:pos x="40" y="33"/>
                </a:cxn>
                <a:cxn ang="0">
                  <a:pos x="51" y="28"/>
                </a:cxn>
                <a:cxn ang="0">
                  <a:pos x="61" y="21"/>
                </a:cxn>
                <a:cxn ang="0">
                  <a:pos x="61" y="21"/>
                </a:cxn>
                <a:cxn ang="0">
                  <a:pos x="74" y="14"/>
                </a:cxn>
                <a:cxn ang="0">
                  <a:pos x="86" y="7"/>
                </a:cxn>
                <a:cxn ang="0">
                  <a:pos x="102" y="0"/>
                </a:cxn>
                <a:cxn ang="0">
                  <a:pos x="102" y="0"/>
                </a:cxn>
                <a:cxn ang="0">
                  <a:pos x="118" y="2"/>
                </a:cxn>
                <a:cxn ang="0">
                  <a:pos x="130" y="5"/>
                </a:cxn>
                <a:cxn ang="0">
                  <a:pos x="134" y="9"/>
                </a:cxn>
                <a:cxn ang="0">
                  <a:pos x="135" y="10"/>
                </a:cxn>
                <a:cxn ang="0">
                  <a:pos x="135" y="10"/>
                </a:cxn>
                <a:cxn ang="0">
                  <a:pos x="135" y="19"/>
                </a:cxn>
                <a:cxn ang="0">
                  <a:pos x="132" y="30"/>
                </a:cxn>
                <a:cxn ang="0">
                  <a:pos x="126" y="40"/>
                </a:cxn>
                <a:cxn ang="0">
                  <a:pos x="118" y="53"/>
                </a:cxn>
                <a:cxn ang="0">
                  <a:pos x="118" y="53"/>
                </a:cxn>
                <a:cxn ang="0">
                  <a:pos x="109" y="65"/>
                </a:cxn>
                <a:cxn ang="0">
                  <a:pos x="100" y="79"/>
                </a:cxn>
                <a:cxn ang="0">
                  <a:pos x="95" y="91"/>
                </a:cxn>
                <a:cxn ang="0">
                  <a:pos x="91" y="98"/>
                </a:cxn>
                <a:cxn ang="0">
                  <a:pos x="91" y="98"/>
                </a:cxn>
                <a:cxn ang="0">
                  <a:pos x="91" y="100"/>
                </a:cxn>
                <a:cxn ang="0">
                  <a:pos x="90" y="102"/>
                </a:cxn>
                <a:cxn ang="0">
                  <a:pos x="88" y="104"/>
                </a:cxn>
                <a:cxn ang="0">
                  <a:pos x="88" y="104"/>
                </a:cxn>
                <a:cxn ang="0">
                  <a:pos x="84" y="102"/>
                </a:cxn>
                <a:cxn ang="0">
                  <a:pos x="79" y="100"/>
                </a:cxn>
                <a:cxn ang="0">
                  <a:pos x="77" y="102"/>
                </a:cxn>
                <a:cxn ang="0">
                  <a:pos x="77" y="102"/>
                </a:cxn>
                <a:cxn ang="0">
                  <a:pos x="75" y="107"/>
                </a:cxn>
                <a:cxn ang="0">
                  <a:pos x="72" y="114"/>
                </a:cxn>
                <a:cxn ang="0">
                  <a:pos x="68" y="118"/>
                </a:cxn>
                <a:cxn ang="0">
                  <a:pos x="65" y="120"/>
                </a:cxn>
                <a:cxn ang="0">
                  <a:pos x="60" y="121"/>
                </a:cxn>
                <a:cxn ang="0">
                  <a:pos x="53" y="121"/>
                </a:cxn>
                <a:cxn ang="0">
                  <a:pos x="53" y="121"/>
                </a:cxn>
                <a:cxn ang="0">
                  <a:pos x="37" y="118"/>
                </a:cxn>
                <a:cxn ang="0">
                  <a:pos x="23" y="114"/>
                </a:cxn>
                <a:cxn ang="0">
                  <a:pos x="17" y="114"/>
                </a:cxn>
                <a:cxn ang="0">
                  <a:pos x="14" y="116"/>
                </a:cxn>
                <a:cxn ang="0">
                  <a:pos x="12" y="120"/>
                </a:cxn>
                <a:cxn ang="0">
                  <a:pos x="14" y="127"/>
                </a:cxn>
                <a:cxn ang="0">
                  <a:pos x="14" y="127"/>
                </a:cxn>
                <a:cxn ang="0">
                  <a:pos x="10" y="125"/>
                </a:cxn>
                <a:cxn ang="0">
                  <a:pos x="5" y="120"/>
                </a:cxn>
                <a:cxn ang="0">
                  <a:pos x="1" y="111"/>
                </a:cxn>
                <a:cxn ang="0">
                  <a:pos x="0" y="104"/>
                </a:cxn>
                <a:cxn ang="0">
                  <a:pos x="0" y="98"/>
                </a:cxn>
                <a:cxn ang="0">
                  <a:pos x="0" y="98"/>
                </a:cxn>
                <a:cxn ang="0">
                  <a:pos x="1" y="84"/>
                </a:cxn>
                <a:cxn ang="0">
                  <a:pos x="7" y="72"/>
                </a:cxn>
                <a:cxn ang="0">
                  <a:pos x="19" y="56"/>
                </a:cxn>
                <a:cxn ang="0">
                  <a:pos x="19" y="56"/>
                </a:cxn>
                <a:cxn ang="0">
                  <a:pos x="26" y="46"/>
                </a:cxn>
                <a:cxn ang="0">
                  <a:pos x="30" y="42"/>
                </a:cxn>
                <a:cxn ang="0">
                  <a:pos x="28" y="35"/>
                </a:cxn>
                <a:cxn ang="0">
                  <a:pos x="28" y="35"/>
                </a:cxn>
              </a:cxnLst>
              <a:rect l="0" t="0" r="r" b="b"/>
              <a:pathLst>
                <a:path w="135" h="127">
                  <a:moveTo>
                    <a:pt x="28" y="35"/>
                  </a:moveTo>
                  <a:lnTo>
                    <a:pt x="28" y="35"/>
                  </a:lnTo>
                  <a:lnTo>
                    <a:pt x="40" y="33"/>
                  </a:lnTo>
                  <a:lnTo>
                    <a:pt x="51" y="28"/>
                  </a:lnTo>
                  <a:lnTo>
                    <a:pt x="61" y="21"/>
                  </a:lnTo>
                  <a:lnTo>
                    <a:pt x="61" y="21"/>
                  </a:lnTo>
                  <a:lnTo>
                    <a:pt x="74" y="14"/>
                  </a:lnTo>
                  <a:lnTo>
                    <a:pt x="86" y="7"/>
                  </a:lnTo>
                  <a:lnTo>
                    <a:pt x="102" y="0"/>
                  </a:lnTo>
                  <a:lnTo>
                    <a:pt x="102" y="0"/>
                  </a:lnTo>
                  <a:lnTo>
                    <a:pt x="118" y="2"/>
                  </a:lnTo>
                  <a:lnTo>
                    <a:pt x="130" y="5"/>
                  </a:lnTo>
                  <a:lnTo>
                    <a:pt x="134" y="9"/>
                  </a:lnTo>
                  <a:lnTo>
                    <a:pt x="135" y="10"/>
                  </a:lnTo>
                  <a:lnTo>
                    <a:pt x="135" y="10"/>
                  </a:lnTo>
                  <a:lnTo>
                    <a:pt x="135" y="19"/>
                  </a:lnTo>
                  <a:lnTo>
                    <a:pt x="132" y="30"/>
                  </a:lnTo>
                  <a:lnTo>
                    <a:pt x="126" y="40"/>
                  </a:lnTo>
                  <a:lnTo>
                    <a:pt x="118" y="53"/>
                  </a:lnTo>
                  <a:lnTo>
                    <a:pt x="118" y="53"/>
                  </a:lnTo>
                  <a:lnTo>
                    <a:pt x="109" y="65"/>
                  </a:lnTo>
                  <a:lnTo>
                    <a:pt x="100" y="79"/>
                  </a:lnTo>
                  <a:lnTo>
                    <a:pt x="95" y="91"/>
                  </a:lnTo>
                  <a:lnTo>
                    <a:pt x="91" y="98"/>
                  </a:lnTo>
                  <a:lnTo>
                    <a:pt x="91" y="98"/>
                  </a:lnTo>
                  <a:lnTo>
                    <a:pt x="91" y="100"/>
                  </a:lnTo>
                  <a:lnTo>
                    <a:pt x="90" y="102"/>
                  </a:lnTo>
                  <a:lnTo>
                    <a:pt x="88" y="104"/>
                  </a:lnTo>
                  <a:lnTo>
                    <a:pt x="88" y="104"/>
                  </a:lnTo>
                  <a:lnTo>
                    <a:pt x="84" y="102"/>
                  </a:lnTo>
                  <a:lnTo>
                    <a:pt x="79" y="100"/>
                  </a:lnTo>
                  <a:lnTo>
                    <a:pt x="77" y="102"/>
                  </a:lnTo>
                  <a:lnTo>
                    <a:pt x="77" y="102"/>
                  </a:lnTo>
                  <a:lnTo>
                    <a:pt x="75" y="107"/>
                  </a:lnTo>
                  <a:lnTo>
                    <a:pt x="72" y="114"/>
                  </a:lnTo>
                  <a:lnTo>
                    <a:pt x="68" y="118"/>
                  </a:lnTo>
                  <a:lnTo>
                    <a:pt x="65" y="120"/>
                  </a:lnTo>
                  <a:lnTo>
                    <a:pt x="60" y="121"/>
                  </a:lnTo>
                  <a:lnTo>
                    <a:pt x="53" y="121"/>
                  </a:lnTo>
                  <a:lnTo>
                    <a:pt x="53" y="121"/>
                  </a:lnTo>
                  <a:lnTo>
                    <a:pt x="37" y="118"/>
                  </a:lnTo>
                  <a:lnTo>
                    <a:pt x="23" y="114"/>
                  </a:lnTo>
                  <a:lnTo>
                    <a:pt x="17" y="114"/>
                  </a:lnTo>
                  <a:lnTo>
                    <a:pt x="14" y="116"/>
                  </a:lnTo>
                  <a:lnTo>
                    <a:pt x="12" y="120"/>
                  </a:lnTo>
                  <a:lnTo>
                    <a:pt x="14" y="127"/>
                  </a:lnTo>
                  <a:lnTo>
                    <a:pt x="14" y="127"/>
                  </a:lnTo>
                  <a:lnTo>
                    <a:pt x="10" y="125"/>
                  </a:lnTo>
                  <a:lnTo>
                    <a:pt x="5" y="120"/>
                  </a:lnTo>
                  <a:lnTo>
                    <a:pt x="1" y="111"/>
                  </a:lnTo>
                  <a:lnTo>
                    <a:pt x="0" y="104"/>
                  </a:lnTo>
                  <a:lnTo>
                    <a:pt x="0" y="98"/>
                  </a:lnTo>
                  <a:lnTo>
                    <a:pt x="0" y="98"/>
                  </a:lnTo>
                  <a:lnTo>
                    <a:pt x="1" y="84"/>
                  </a:lnTo>
                  <a:lnTo>
                    <a:pt x="7" y="72"/>
                  </a:lnTo>
                  <a:lnTo>
                    <a:pt x="19" y="56"/>
                  </a:lnTo>
                  <a:lnTo>
                    <a:pt x="19" y="56"/>
                  </a:lnTo>
                  <a:lnTo>
                    <a:pt x="26" y="46"/>
                  </a:lnTo>
                  <a:lnTo>
                    <a:pt x="30" y="42"/>
                  </a:lnTo>
                  <a:lnTo>
                    <a:pt x="28" y="35"/>
                  </a:lnTo>
                  <a:lnTo>
                    <a:pt x="28"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49" name="Freeform 43">
              <a:extLst>
                <a:ext uri="{FF2B5EF4-FFF2-40B4-BE49-F238E27FC236}">
                  <a16:creationId xmlns:a16="http://schemas.microsoft.com/office/drawing/2014/main" id="{7DA2586A-81D6-4C2B-B99F-A0E979C5C2F4}"/>
                </a:ext>
              </a:extLst>
            </p:cNvPr>
            <p:cNvSpPr>
              <a:spLocks/>
            </p:cNvSpPr>
            <p:nvPr/>
          </p:nvSpPr>
          <p:spPr bwMode="auto">
            <a:xfrm>
              <a:off x="5386777" y="4126070"/>
              <a:ext cx="683485" cy="688839"/>
            </a:xfrm>
            <a:custGeom>
              <a:avLst/>
              <a:gdLst/>
              <a:ahLst/>
              <a:cxnLst>
                <a:cxn ang="0">
                  <a:pos x="702" y="373"/>
                </a:cxn>
                <a:cxn ang="0">
                  <a:pos x="708" y="417"/>
                </a:cxn>
                <a:cxn ang="0">
                  <a:pos x="704" y="505"/>
                </a:cxn>
                <a:cxn ang="0">
                  <a:pos x="711" y="583"/>
                </a:cxn>
                <a:cxn ang="0">
                  <a:pos x="741" y="655"/>
                </a:cxn>
                <a:cxn ang="0">
                  <a:pos x="752" y="709"/>
                </a:cxn>
                <a:cxn ang="0">
                  <a:pos x="736" y="720"/>
                </a:cxn>
                <a:cxn ang="0">
                  <a:pos x="662" y="736"/>
                </a:cxn>
                <a:cxn ang="0">
                  <a:pos x="591" y="755"/>
                </a:cxn>
                <a:cxn ang="0">
                  <a:pos x="572" y="762"/>
                </a:cxn>
                <a:cxn ang="0">
                  <a:pos x="521" y="769"/>
                </a:cxn>
                <a:cxn ang="0">
                  <a:pos x="473" y="769"/>
                </a:cxn>
                <a:cxn ang="0">
                  <a:pos x="438" y="755"/>
                </a:cxn>
                <a:cxn ang="0">
                  <a:pos x="391" y="727"/>
                </a:cxn>
                <a:cxn ang="0">
                  <a:pos x="357" y="669"/>
                </a:cxn>
                <a:cxn ang="0">
                  <a:pos x="345" y="641"/>
                </a:cxn>
                <a:cxn ang="0">
                  <a:pos x="331" y="620"/>
                </a:cxn>
                <a:cxn ang="0">
                  <a:pos x="318" y="613"/>
                </a:cxn>
                <a:cxn ang="0">
                  <a:pos x="276" y="611"/>
                </a:cxn>
                <a:cxn ang="0">
                  <a:pos x="252" y="618"/>
                </a:cxn>
                <a:cxn ang="0">
                  <a:pos x="229" y="616"/>
                </a:cxn>
                <a:cxn ang="0">
                  <a:pos x="204" y="605"/>
                </a:cxn>
                <a:cxn ang="0">
                  <a:pos x="137" y="558"/>
                </a:cxn>
                <a:cxn ang="0">
                  <a:pos x="107" y="546"/>
                </a:cxn>
                <a:cxn ang="0">
                  <a:pos x="102" y="486"/>
                </a:cxn>
                <a:cxn ang="0">
                  <a:pos x="84" y="442"/>
                </a:cxn>
                <a:cxn ang="0">
                  <a:pos x="21" y="310"/>
                </a:cxn>
                <a:cxn ang="0">
                  <a:pos x="2" y="258"/>
                </a:cxn>
                <a:cxn ang="0">
                  <a:pos x="12" y="246"/>
                </a:cxn>
                <a:cxn ang="0">
                  <a:pos x="28" y="251"/>
                </a:cxn>
                <a:cxn ang="0">
                  <a:pos x="51" y="246"/>
                </a:cxn>
                <a:cxn ang="0">
                  <a:pos x="77" y="221"/>
                </a:cxn>
                <a:cxn ang="0">
                  <a:pos x="93" y="195"/>
                </a:cxn>
                <a:cxn ang="0">
                  <a:pos x="111" y="165"/>
                </a:cxn>
                <a:cxn ang="0">
                  <a:pos x="111" y="151"/>
                </a:cxn>
                <a:cxn ang="0">
                  <a:pos x="98" y="119"/>
                </a:cxn>
                <a:cxn ang="0">
                  <a:pos x="81" y="109"/>
                </a:cxn>
                <a:cxn ang="0">
                  <a:pos x="98" y="74"/>
                </a:cxn>
                <a:cxn ang="0">
                  <a:pos x="121" y="42"/>
                </a:cxn>
                <a:cxn ang="0">
                  <a:pos x="128" y="15"/>
                </a:cxn>
                <a:cxn ang="0">
                  <a:pos x="473" y="70"/>
                </a:cxn>
                <a:cxn ang="0">
                  <a:pos x="613" y="167"/>
                </a:cxn>
                <a:cxn ang="0">
                  <a:pos x="616" y="188"/>
                </a:cxn>
                <a:cxn ang="0">
                  <a:pos x="667" y="214"/>
                </a:cxn>
                <a:cxn ang="0">
                  <a:pos x="704" y="237"/>
                </a:cxn>
                <a:cxn ang="0">
                  <a:pos x="708" y="248"/>
                </a:cxn>
                <a:cxn ang="0">
                  <a:pos x="694" y="273"/>
                </a:cxn>
                <a:cxn ang="0">
                  <a:pos x="685" y="322"/>
                </a:cxn>
                <a:cxn ang="0">
                  <a:pos x="692" y="354"/>
                </a:cxn>
              </a:cxnLst>
              <a:rect l="0" t="0" r="r" b="b"/>
              <a:pathLst>
                <a:path w="764" h="771">
                  <a:moveTo>
                    <a:pt x="697" y="364"/>
                  </a:moveTo>
                  <a:lnTo>
                    <a:pt x="697" y="364"/>
                  </a:lnTo>
                  <a:lnTo>
                    <a:pt x="702" y="373"/>
                  </a:lnTo>
                  <a:lnTo>
                    <a:pt x="706" y="385"/>
                  </a:lnTo>
                  <a:lnTo>
                    <a:pt x="708" y="399"/>
                  </a:lnTo>
                  <a:lnTo>
                    <a:pt x="708" y="417"/>
                  </a:lnTo>
                  <a:lnTo>
                    <a:pt x="708" y="458"/>
                  </a:lnTo>
                  <a:lnTo>
                    <a:pt x="704" y="505"/>
                  </a:lnTo>
                  <a:lnTo>
                    <a:pt x="704" y="505"/>
                  </a:lnTo>
                  <a:lnTo>
                    <a:pt x="702" y="530"/>
                  </a:lnTo>
                  <a:lnTo>
                    <a:pt x="706" y="556"/>
                  </a:lnTo>
                  <a:lnTo>
                    <a:pt x="711" y="583"/>
                  </a:lnTo>
                  <a:lnTo>
                    <a:pt x="720" y="607"/>
                  </a:lnTo>
                  <a:lnTo>
                    <a:pt x="731" y="632"/>
                  </a:lnTo>
                  <a:lnTo>
                    <a:pt x="741" y="655"/>
                  </a:lnTo>
                  <a:lnTo>
                    <a:pt x="764" y="699"/>
                  </a:lnTo>
                  <a:lnTo>
                    <a:pt x="764" y="699"/>
                  </a:lnTo>
                  <a:lnTo>
                    <a:pt x="752" y="709"/>
                  </a:lnTo>
                  <a:lnTo>
                    <a:pt x="743" y="716"/>
                  </a:lnTo>
                  <a:lnTo>
                    <a:pt x="736" y="720"/>
                  </a:lnTo>
                  <a:lnTo>
                    <a:pt x="736" y="720"/>
                  </a:lnTo>
                  <a:lnTo>
                    <a:pt x="701" y="729"/>
                  </a:lnTo>
                  <a:lnTo>
                    <a:pt x="662" y="736"/>
                  </a:lnTo>
                  <a:lnTo>
                    <a:pt x="662" y="736"/>
                  </a:lnTo>
                  <a:lnTo>
                    <a:pt x="648" y="739"/>
                  </a:lnTo>
                  <a:lnTo>
                    <a:pt x="625" y="745"/>
                  </a:lnTo>
                  <a:lnTo>
                    <a:pt x="591" y="755"/>
                  </a:lnTo>
                  <a:lnTo>
                    <a:pt x="591" y="755"/>
                  </a:lnTo>
                  <a:lnTo>
                    <a:pt x="586" y="757"/>
                  </a:lnTo>
                  <a:lnTo>
                    <a:pt x="572" y="762"/>
                  </a:lnTo>
                  <a:lnTo>
                    <a:pt x="551" y="768"/>
                  </a:lnTo>
                  <a:lnTo>
                    <a:pt x="537" y="769"/>
                  </a:lnTo>
                  <a:lnTo>
                    <a:pt x="521" y="769"/>
                  </a:lnTo>
                  <a:lnTo>
                    <a:pt x="521" y="769"/>
                  </a:lnTo>
                  <a:lnTo>
                    <a:pt x="493" y="771"/>
                  </a:lnTo>
                  <a:lnTo>
                    <a:pt x="473" y="769"/>
                  </a:lnTo>
                  <a:lnTo>
                    <a:pt x="465" y="769"/>
                  </a:lnTo>
                  <a:lnTo>
                    <a:pt x="458" y="766"/>
                  </a:lnTo>
                  <a:lnTo>
                    <a:pt x="438" y="755"/>
                  </a:lnTo>
                  <a:lnTo>
                    <a:pt x="438" y="755"/>
                  </a:lnTo>
                  <a:lnTo>
                    <a:pt x="403" y="734"/>
                  </a:lnTo>
                  <a:lnTo>
                    <a:pt x="391" y="727"/>
                  </a:lnTo>
                  <a:lnTo>
                    <a:pt x="391" y="727"/>
                  </a:lnTo>
                  <a:lnTo>
                    <a:pt x="371" y="694"/>
                  </a:lnTo>
                  <a:lnTo>
                    <a:pt x="357" y="669"/>
                  </a:lnTo>
                  <a:lnTo>
                    <a:pt x="348" y="651"/>
                  </a:lnTo>
                  <a:lnTo>
                    <a:pt x="348" y="651"/>
                  </a:lnTo>
                  <a:lnTo>
                    <a:pt x="345" y="641"/>
                  </a:lnTo>
                  <a:lnTo>
                    <a:pt x="340" y="628"/>
                  </a:lnTo>
                  <a:lnTo>
                    <a:pt x="336" y="623"/>
                  </a:lnTo>
                  <a:lnTo>
                    <a:pt x="331" y="620"/>
                  </a:lnTo>
                  <a:lnTo>
                    <a:pt x="326" y="616"/>
                  </a:lnTo>
                  <a:lnTo>
                    <a:pt x="318" y="613"/>
                  </a:lnTo>
                  <a:lnTo>
                    <a:pt x="318" y="613"/>
                  </a:lnTo>
                  <a:lnTo>
                    <a:pt x="310" y="611"/>
                  </a:lnTo>
                  <a:lnTo>
                    <a:pt x="299" y="609"/>
                  </a:lnTo>
                  <a:lnTo>
                    <a:pt x="276" y="611"/>
                  </a:lnTo>
                  <a:lnTo>
                    <a:pt x="266" y="613"/>
                  </a:lnTo>
                  <a:lnTo>
                    <a:pt x="257" y="614"/>
                  </a:lnTo>
                  <a:lnTo>
                    <a:pt x="252" y="618"/>
                  </a:lnTo>
                  <a:lnTo>
                    <a:pt x="250" y="621"/>
                  </a:lnTo>
                  <a:lnTo>
                    <a:pt x="250" y="621"/>
                  </a:lnTo>
                  <a:lnTo>
                    <a:pt x="229" y="616"/>
                  </a:lnTo>
                  <a:lnTo>
                    <a:pt x="213" y="611"/>
                  </a:lnTo>
                  <a:lnTo>
                    <a:pt x="204" y="605"/>
                  </a:lnTo>
                  <a:lnTo>
                    <a:pt x="204" y="605"/>
                  </a:lnTo>
                  <a:lnTo>
                    <a:pt x="178" y="586"/>
                  </a:lnTo>
                  <a:lnTo>
                    <a:pt x="156" y="572"/>
                  </a:lnTo>
                  <a:lnTo>
                    <a:pt x="137" y="558"/>
                  </a:lnTo>
                  <a:lnTo>
                    <a:pt x="107" y="551"/>
                  </a:lnTo>
                  <a:lnTo>
                    <a:pt x="107" y="551"/>
                  </a:lnTo>
                  <a:lnTo>
                    <a:pt x="107" y="546"/>
                  </a:lnTo>
                  <a:lnTo>
                    <a:pt x="107" y="526"/>
                  </a:lnTo>
                  <a:lnTo>
                    <a:pt x="105" y="502"/>
                  </a:lnTo>
                  <a:lnTo>
                    <a:pt x="102" y="486"/>
                  </a:lnTo>
                  <a:lnTo>
                    <a:pt x="97" y="470"/>
                  </a:lnTo>
                  <a:lnTo>
                    <a:pt x="97" y="470"/>
                  </a:lnTo>
                  <a:lnTo>
                    <a:pt x="84" y="442"/>
                  </a:lnTo>
                  <a:lnTo>
                    <a:pt x="72" y="417"/>
                  </a:lnTo>
                  <a:lnTo>
                    <a:pt x="60" y="396"/>
                  </a:lnTo>
                  <a:lnTo>
                    <a:pt x="21" y="310"/>
                  </a:lnTo>
                  <a:lnTo>
                    <a:pt x="0" y="266"/>
                  </a:lnTo>
                  <a:lnTo>
                    <a:pt x="0" y="266"/>
                  </a:lnTo>
                  <a:lnTo>
                    <a:pt x="2" y="258"/>
                  </a:lnTo>
                  <a:lnTo>
                    <a:pt x="5" y="251"/>
                  </a:lnTo>
                  <a:lnTo>
                    <a:pt x="12" y="246"/>
                  </a:lnTo>
                  <a:lnTo>
                    <a:pt x="12" y="246"/>
                  </a:lnTo>
                  <a:lnTo>
                    <a:pt x="12" y="248"/>
                  </a:lnTo>
                  <a:lnTo>
                    <a:pt x="17" y="250"/>
                  </a:lnTo>
                  <a:lnTo>
                    <a:pt x="28" y="251"/>
                  </a:lnTo>
                  <a:lnTo>
                    <a:pt x="46" y="248"/>
                  </a:lnTo>
                  <a:lnTo>
                    <a:pt x="46" y="248"/>
                  </a:lnTo>
                  <a:lnTo>
                    <a:pt x="51" y="246"/>
                  </a:lnTo>
                  <a:lnTo>
                    <a:pt x="61" y="237"/>
                  </a:lnTo>
                  <a:lnTo>
                    <a:pt x="68" y="230"/>
                  </a:lnTo>
                  <a:lnTo>
                    <a:pt x="77" y="221"/>
                  </a:lnTo>
                  <a:lnTo>
                    <a:pt x="84" y="209"/>
                  </a:lnTo>
                  <a:lnTo>
                    <a:pt x="93" y="195"/>
                  </a:lnTo>
                  <a:lnTo>
                    <a:pt x="93" y="195"/>
                  </a:lnTo>
                  <a:lnTo>
                    <a:pt x="102" y="181"/>
                  </a:lnTo>
                  <a:lnTo>
                    <a:pt x="109" y="170"/>
                  </a:lnTo>
                  <a:lnTo>
                    <a:pt x="111" y="165"/>
                  </a:lnTo>
                  <a:lnTo>
                    <a:pt x="112" y="162"/>
                  </a:lnTo>
                  <a:lnTo>
                    <a:pt x="112" y="162"/>
                  </a:lnTo>
                  <a:lnTo>
                    <a:pt x="111" y="151"/>
                  </a:lnTo>
                  <a:lnTo>
                    <a:pt x="107" y="135"/>
                  </a:lnTo>
                  <a:lnTo>
                    <a:pt x="104" y="126"/>
                  </a:lnTo>
                  <a:lnTo>
                    <a:pt x="98" y="119"/>
                  </a:lnTo>
                  <a:lnTo>
                    <a:pt x="91" y="112"/>
                  </a:lnTo>
                  <a:lnTo>
                    <a:pt x="81" y="109"/>
                  </a:lnTo>
                  <a:lnTo>
                    <a:pt x="81" y="109"/>
                  </a:lnTo>
                  <a:lnTo>
                    <a:pt x="86" y="96"/>
                  </a:lnTo>
                  <a:lnTo>
                    <a:pt x="91" y="84"/>
                  </a:lnTo>
                  <a:lnTo>
                    <a:pt x="98" y="74"/>
                  </a:lnTo>
                  <a:lnTo>
                    <a:pt x="98" y="74"/>
                  </a:lnTo>
                  <a:lnTo>
                    <a:pt x="114" y="51"/>
                  </a:lnTo>
                  <a:lnTo>
                    <a:pt x="121" y="42"/>
                  </a:lnTo>
                  <a:lnTo>
                    <a:pt x="125" y="35"/>
                  </a:lnTo>
                  <a:lnTo>
                    <a:pt x="125" y="35"/>
                  </a:lnTo>
                  <a:lnTo>
                    <a:pt x="128" y="15"/>
                  </a:lnTo>
                  <a:lnTo>
                    <a:pt x="156" y="7"/>
                  </a:lnTo>
                  <a:lnTo>
                    <a:pt x="336" y="0"/>
                  </a:lnTo>
                  <a:lnTo>
                    <a:pt x="473" y="70"/>
                  </a:lnTo>
                  <a:lnTo>
                    <a:pt x="611" y="153"/>
                  </a:lnTo>
                  <a:lnTo>
                    <a:pt x="611" y="153"/>
                  </a:lnTo>
                  <a:lnTo>
                    <a:pt x="613" y="167"/>
                  </a:lnTo>
                  <a:lnTo>
                    <a:pt x="616" y="186"/>
                  </a:lnTo>
                  <a:lnTo>
                    <a:pt x="616" y="186"/>
                  </a:lnTo>
                  <a:lnTo>
                    <a:pt x="616" y="188"/>
                  </a:lnTo>
                  <a:lnTo>
                    <a:pt x="620" y="192"/>
                  </a:lnTo>
                  <a:lnTo>
                    <a:pt x="632" y="197"/>
                  </a:lnTo>
                  <a:lnTo>
                    <a:pt x="667" y="214"/>
                  </a:lnTo>
                  <a:lnTo>
                    <a:pt x="685" y="223"/>
                  </a:lnTo>
                  <a:lnTo>
                    <a:pt x="699" y="232"/>
                  </a:lnTo>
                  <a:lnTo>
                    <a:pt x="704" y="237"/>
                  </a:lnTo>
                  <a:lnTo>
                    <a:pt x="708" y="241"/>
                  </a:lnTo>
                  <a:lnTo>
                    <a:pt x="709" y="244"/>
                  </a:lnTo>
                  <a:lnTo>
                    <a:pt x="708" y="248"/>
                  </a:lnTo>
                  <a:lnTo>
                    <a:pt x="708" y="248"/>
                  </a:lnTo>
                  <a:lnTo>
                    <a:pt x="701" y="262"/>
                  </a:lnTo>
                  <a:lnTo>
                    <a:pt x="694" y="273"/>
                  </a:lnTo>
                  <a:lnTo>
                    <a:pt x="688" y="287"/>
                  </a:lnTo>
                  <a:lnTo>
                    <a:pt x="685" y="304"/>
                  </a:lnTo>
                  <a:lnTo>
                    <a:pt x="685" y="322"/>
                  </a:lnTo>
                  <a:lnTo>
                    <a:pt x="687" y="332"/>
                  </a:lnTo>
                  <a:lnTo>
                    <a:pt x="688" y="343"/>
                  </a:lnTo>
                  <a:lnTo>
                    <a:pt x="692" y="354"/>
                  </a:lnTo>
                  <a:lnTo>
                    <a:pt x="697" y="364"/>
                  </a:lnTo>
                  <a:lnTo>
                    <a:pt x="697" y="3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0" name="Freeform 44">
              <a:extLst>
                <a:ext uri="{FF2B5EF4-FFF2-40B4-BE49-F238E27FC236}">
                  <a16:creationId xmlns:a16="http://schemas.microsoft.com/office/drawing/2014/main" id="{673D0E72-6181-4F7B-91ED-F87C400EEF9F}"/>
                </a:ext>
              </a:extLst>
            </p:cNvPr>
            <p:cNvSpPr>
              <a:spLocks/>
            </p:cNvSpPr>
            <p:nvPr/>
          </p:nvSpPr>
          <p:spPr bwMode="auto">
            <a:xfrm>
              <a:off x="5404623" y="3801281"/>
              <a:ext cx="355126" cy="362266"/>
            </a:xfrm>
            <a:custGeom>
              <a:avLst/>
              <a:gdLst/>
              <a:ahLst/>
              <a:cxnLst>
                <a:cxn ang="0">
                  <a:pos x="100" y="26"/>
                </a:cxn>
                <a:cxn ang="0">
                  <a:pos x="115" y="58"/>
                </a:cxn>
                <a:cxn ang="0">
                  <a:pos x="120" y="90"/>
                </a:cxn>
                <a:cxn ang="0">
                  <a:pos x="118" y="125"/>
                </a:cxn>
                <a:cxn ang="0">
                  <a:pos x="111" y="143"/>
                </a:cxn>
                <a:cxn ang="0">
                  <a:pos x="83" y="199"/>
                </a:cxn>
                <a:cxn ang="0">
                  <a:pos x="56" y="238"/>
                </a:cxn>
                <a:cxn ang="0">
                  <a:pos x="27" y="285"/>
                </a:cxn>
                <a:cxn ang="0">
                  <a:pos x="14" y="329"/>
                </a:cxn>
                <a:cxn ang="0">
                  <a:pos x="9" y="343"/>
                </a:cxn>
                <a:cxn ang="0">
                  <a:pos x="0" y="389"/>
                </a:cxn>
                <a:cxn ang="0">
                  <a:pos x="2" y="405"/>
                </a:cxn>
                <a:cxn ang="0">
                  <a:pos x="9" y="405"/>
                </a:cxn>
                <a:cxn ang="0">
                  <a:pos x="28" y="396"/>
                </a:cxn>
                <a:cxn ang="0">
                  <a:pos x="49" y="380"/>
                </a:cxn>
                <a:cxn ang="0">
                  <a:pos x="67" y="373"/>
                </a:cxn>
                <a:cxn ang="0">
                  <a:pos x="78" y="372"/>
                </a:cxn>
                <a:cxn ang="0">
                  <a:pos x="99" y="373"/>
                </a:cxn>
                <a:cxn ang="0">
                  <a:pos x="108" y="377"/>
                </a:cxn>
                <a:cxn ang="0">
                  <a:pos x="137" y="372"/>
                </a:cxn>
                <a:cxn ang="0">
                  <a:pos x="317" y="365"/>
                </a:cxn>
                <a:cxn ang="0">
                  <a:pos x="336" y="275"/>
                </a:cxn>
                <a:cxn ang="0">
                  <a:pos x="342" y="259"/>
                </a:cxn>
                <a:cxn ang="0">
                  <a:pos x="363" y="211"/>
                </a:cxn>
                <a:cxn ang="0">
                  <a:pos x="370" y="206"/>
                </a:cxn>
                <a:cxn ang="0">
                  <a:pos x="382" y="190"/>
                </a:cxn>
                <a:cxn ang="0">
                  <a:pos x="395" y="166"/>
                </a:cxn>
                <a:cxn ang="0">
                  <a:pos x="398" y="144"/>
                </a:cxn>
                <a:cxn ang="0">
                  <a:pos x="396" y="136"/>
                </a:cxn>
                <a:cxn ang="0">
                  <a:pos x="382" y="72"/>
                </a:cxn>
                <a:cxn ang="0">
                  <a:pos x="370" y="39"/>
                </a:cxn>
                <a:cxn ang="0">
                  <a:pos x="365" y="33"/>
                </a:cxn>
                <a:cxn ang="0">
                  <a:pos x="338" y="12"/>
                </a:cxn>
                <a:cxn ang="0">
                  <a:pos x="321" y="0"/>
                </a:cxn>
                <a:cxn ang="0">
                  <a:pos x="259" y="14"/>
                </a:cxn>
                <a:cxn ang="0">
                  <a:pos x="169" y="26"/>
                </a:cxn>
                <a:cxn ang="0">
                  <a:pos x="113" y="28"/>
                </a:cxn>
                <a:cxn ang="0">
                  <a:pos x="100" y="26"/>
                </a:cxn>
              </a:cxnLst>
              <a:rect l="0" t="0" r="r" b="b"/>
              <a:pathLst>
                <a:path w="398" h="405">
                  <a:moveTo>
                    <a:pt x="100" y="26"/>
                  </a:moveTo>
                  <a:lnTo>
                    <a:pt x="100" y="26"/>
                  </a:lnTo>
                  <a:lnTo>
                    <a:pt x="106" y="35"/>
                  </a:lnTo>
                  <a:lnTo>
                    <a:pt x="115" y="58"/>
                  </a:lnTo>
                  <a:lnTo>
                    <a:pt x="118" y="74"/>
                  </a:lnTo>
                  <a:lnTo>
                    <a:pt x="120" y="90"/>
                  </a:lnTo>
                  <a:lnTo>
                    <a:pt x="120" y="107"/>
                  </a:lnTo>
                  <a:lnTo>
                    <a:pt x="118" y="125"/>
                  </a:lnTo>
                  <a:lnTo>
                    <a:pt x="118" y="125"/>
                  </a:lnTo>
                  <a:lnTo>
                    <a:pt x="111" y="143"/>
                  </a:lnTo>
                  <a:lnTo>
                    <a:pt x="102" y="162"/>
                  </a:lnTo>
                  <a:lnTo>
                    <a:pt x="83" y="199"/>
                  </a:lnTo>
                  <a:lnTo>
                    <a:pt x="64" y="227"/>
                  </a:lnTo>
                  <a:lnTo>
                    <a:pt x="56" y="238"/>
                  </a:lnTo>
                  <a:lnTo>
                    <a:pt x="27" y="285"/>
                  </a:lnTo>
                  <a:lnTo>
                    <a:pt x="27" y="285"/>
                  </a:lnTo>
                  <a:lnTo>
                    <a:pt x="21" y="305"/>
                  </a:lnTo>
                  <a:lnTo>
                    <a:pt x="14" y="329"/>
                  </a:lnTo>
                  <a:lnTo>
                    <a:pt x="14" y="329"/>
                  </a:lnTo>
                  <a:lnTo>
                    <a:pt x="9" y="343"/>
                  </a:lnTo>
                  <a:lnTo>
                    <a:pt x="4" y="365"/>
                  </a:lnTo>
                  <a:lnTo>
                    <a:pt x="0" y="389"/>
                  </a:lnTo>
                  <a:lnTo>
                    <a:pt x="0" y="398"/>
                  </a:lnTo>
                  <a:lnTo>
                    <a:pt x="2" y="405"/>
                  </a:lnTo>
                  <a:lnTo>
                    <a:pt x="2" y="405"/>
                  </a:lnTo>
                  <a:lnTo>
                    <a:pt x="9" y="405"/>
                  </a:lnTo>
                  <a:lnTo>
                    <a:pt x="18" y="403"/>
                  </a:lnTo>
                  <a:lnTo>
                    <a:pt x="28" y="396"/>
                  </a:lnTo>
                  <a:lnTo>
                    <a:pt x="28" y="396"/>
                  </a:lnTo>
                  <a:lnTo>
                    <a:pt x="49" y="380"/>
                  </a:lnTo>
                  <a:lnTo>
                    <a:pt x="60" y="375"/>
                  </a:lnTo>
                  <a:lnTo>
                    <a:pt x="67" y="373"/>
                  </a:lnTo>
                  <a:lnTo>
                    <a:pt x="67" y="373"/>
                  </a:lnTo>
                  <a:lnTo>
                    <a:pt x="78" y="372"/>
                  </a:lnTo>
                  <a:lnTo>
                    <a:pt x="92" y="372"/>
                  </a:lnTo>
                  <a:lnTo>
                    <a:pt x="99" y="373"/>
                  </a:lnTo>
                  <a:lnTo>
                    <a:pt x="104" y="375"/>
                  </a:lnTo>
                  <a:lnTo>
                    <a:pt x="108" y="377"/>
                  </a:lnTo>
                  <a:lnTo>
                    <a:pt x="109" y="380"/>
                  </a:lnTo>
                  <a:lnTo>
                    <a:pt x="137" y="372"/>
                  </a:lnTo>
                  <a:lnTo>
                    <a:pt x="317" y="365"/>
                  </a:lnTo>
                  <a:lnTo>
                    <a:pt x="317" y="365"/>
                  </a:lnTo>
                  <a:lnTo>
                    <a:pt x="326" y="326"/>
                  </a:lnTo>
                  <a:lnTo>
                    <a:pt x="336" y="275"/>
                  </a:lnTo>
                  <a:lnTo>
                    <a:pt x="336" y="275"/>
                  </a:lnTo>
                  <a:lnTo>
                    <a:pt x="342" y="259"/>
                  </a:lnTo>
                  <a:lnTo>
                    <a:pt x="351" y="236"/>
                  </a:lnTo>
                  <a:lnTo>
                    <a:pt x="363" y="211"/>
                  </a:lnTo>
                  <a:lnTo>
                    <a:pt x="363" y="211"/>
                  </a:lnTo>
                  <a:lnTo>
                    <a:pt x="370" y="206"/>
                  </a:lnTo>
                  <a:lnTo>
                    <a:pt x="375" y="199"/>
                  </a:lnTo>
                  <a:lnTo>
                    <a:pt x="382" y="190"/>
                  </a:lnTo>
                  <a:lnTo>
                    <a:pt x="389" y="180"/>
                  </a:lnTo>
                  <a:lnTo>
                    <a:pt x="395" y="166"/>
                  </a:lnTo>
                  <a:lnTo>
                    <a:pt x="398" y="151"/>
                  </a:lnTo>
                  <a:lnTo>
                    <a:pt x="398" y="144"/>
                  </a:lnTo>
                  <a:lnTo>
                    <a:pt x="396" y="136"/>
                  </a:lnTo>
                  <a:lnTo>
                    <a:pt x="396" y="136"/>
                  </a:lnTo>
                  <a:lnTo>
                    <a:pt x="391" y="102"/>
                  </a:lnTo>
                  <a:lnTo>
                    <a:pt x="382" y="72"/>
                  </a:lnTo>
                  <a:lnTo>
                    <a:pt x="375" y="48"/>
                  </a:lnTo>
                  <a:lnTo>
                    <a:pt x="370" y="39"/>
                  </a:lnTo>
                  <a:lnTo>
                    <a:pt x="365" y="33"/>
                  </a:lnTo>
                  <a:lnTo>
                    <a:pt x="365" y="33"/>
                  </a:lnTo>
                  <a:lnTo>
                    <a:pt x="352" y="23"/>
                  </a:lnTo>
                  <a:lnTo>
                    <a:pt x="338" y="12"/>
                  </a:lnTo>
                  <a:lnTo>
                    <a:pt x="321" y="0"/>
                  </a:lnTo>
                  <a:lnTo>
                    <a:pt x="321" y="0"/>
                  </a:lnTo>
                  <a:lnTo>
                    <a:pt x="259" y="14"/>
                  </a:lnTo>
                  <a:lnTo>
                    <a:pt x="259" y="14"/>
                  </a:lnTo>
                  <a:lnTo>
                    <a:pt x="215" y="21"/>
                  </a:lnTo>
                  <a:lnTo>
                    <a:pt x="169" y="26"/>
                  </a:lnTo>
                  <a:lnTo>
                    <a:pt x="129" y="28"/>
                  </a:lnTo>
                  <a:lnTo>
                    <a:pt x="113" y="28"/>
                  </a:lnTo>
                  <a:lnTo>
                    <a:pt x="100" y="26"/>
                  </a:lnTo>
                  <a:lnTo>
                    <a:pt x="100" y="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1" name="Freeform 45">
              <a:extLst>
                <a:ext uri="{FF2B5EF4-FFF2-40B4-BE49-F238E27FC236}">
                  <a16:creationId xmlns:a16="http://schemas.microsoft.com/office/drawing/2014/main" id="{24FC8232-57ED-40FD-B222-73C23706A1A7}"/>
                </a:ext>
              </a:extLst>
            </p:cNvPr>
            <p:cNvSpPr>
              <a:spLocks/>
            </p:cNvSpPr>
            <p:nvPr/>
          </p:nvSpPr>
          <p:spPr bwMode="auto">
            <a:xfrm>
              <a:off x="5688368" y="3751313"/>
              <a:ext cx="505029" cy="599611"/>
            </a:xfrm>
            <a:custGeom>
              <a:avLst/>
              <a:gdLst/>
              <a:ahLst/>
              <a:cxnLst>
                <a:cxn ang="0">
                  <a:pos x="514" y="477"/>
                </a:cxn>
                <a:cxn ang="0">
                  <a:pos x="500" y="482"/>
                </a:cxn>
                <a:cxn ang="0">
                  <a:pos x="493" y="491"/>
                </a:cxn>
                <a:cxn ang="0">
                  <a:pos x="465" y="521"/>
                </a:cxn>
                <a:cxn ang="0">
                  <a:pos x="458" y="535"/>
                </a:cxn>
                <a:cxn ang="0">
                  <a:pos x="454" y="561"/>
                </a:cxn>
                <a:cxn ang="0">
                  <a:pos x="449" y="567"/>
                </a:cxn>
                <a:cxn ang="0">
                  <a:pos x="433" y="567"/>
                </a:cxn>
                <a:cxn ang="0">
                  <a:pos x="425" y="570"/>
                </a:cxn>
                <a:cxn ang="0">
                  <a:pos x="425" y="597"/>
                </a:cxn>
                <a:cxn ang="0">
                  <a:pos x="417" y="634"/>
                </a:cxn>
                <a:cxn ang="0">
                  <a:pos x="393" y="662"/>
                </a:cxn>
                <a:cxn ang="0">
                  <a:pos x="275" y="574"/>
                </a:cxn>
                <a:cxn ang="0">
                  <a:pos x="19" y="327"/>
                </a:cxn>
                <a:cxn ang="0">
                  <a:pos x="51" y="262"/>
                </a:cxn>
                <a:cxn ang="0">
                  <a:pos x="78" y="225"/>
                </a:cxn>
                <a:cxn ang="0">
                  <a:pos x="81" y="199"/>
                </a:cxn>
                <a:cxn ang="0">
                  <a:pos x="65" y="132"/>
                </a:cxn>
                <a:cxn ang="0">
                  <a:pos x="48" y="89"/>
                </a:cxn>
                <a:cxn ang="0">
                  <a:pos x="4" y="56"/>
                </a:cxn>
                <a:cxn ang="0">
                  <a:pos x="5" y="33"/>
                </a:cxn>
                <a:cxn ang="0">
                  <a:pos x="25" y="8"/>
                </a:cxn>
                <a:cxn ang="0">
                  <a:pos x="37" y="7"/>
                </a:cxn>
                <a:cxn ang="0">
                  <a:pos x="113" y="1"/>
                </a:cxn>
                <a:cxn ang="0">
                  <a:pos x="157" y="0"/>
                </a:cxn>
                <a:cxn ang="0">
                  <a:pos x="185" y="10"/>
                </a:cxn>
                <a:cxn ang="0">
                  <a:pos x="238" y="51"/>
                </a:cxn>
                <a:cxn ang="0">
                  <a:pos x="294" y="84"/>
                </a:cxn>
                <a:cxn ang="0">
                  <a:pos x="324" y="96"/>
                </a:cxn>
                <a:cxn ang="0">
                  <a:pos x="363" y="104"/>
                </a:cxn>
                <a:cxn ang="0">
                  <a:pos x="398" y="96"/>
                </a:cxn>
                <a:cxn ang="0">
                  <a:pos x="486" y="72"/>
                </a:cxn>
                <a:cxn ang="0">
                  <a:pos x="518" y="68"/>
                </a:cxn>
                <a:cxn ang="0">
                  <a:pos x="562" y="70"/>
                </a:cxn>
                <a:cxn ang="0">
                  <a:pos x="565" y="79"/>
                </a:cxn>
                <a:cxn ang="0">
                  <a:pos x="546" y="109"/>
                </a:cxn>
                <a:cxn ang="0">
                  <a:pos x="520" y="137"/>
                </a:cxn>
                <a:cxn ang="0">
                  <a:pos x="490" y="167"/>
                </a:cxn>
                <a:cxn ang="0">
                  <a:pos x="486" y="213"/>
                </a:cxn>
                <a:cxn ang="0">
                  <a:pos x="477" y="368"/>
                </a:cxn>
                <a:cxn ang="0">
                  <a:pos x="483" y="408"/>
                </a:cxn>
                <a:cxn ang="0">
                  <a:pos x="490" y="419"/>
                </a:cxn>
                <a:cxn ang="0">
                  <a:pos x="504" y="445"/>
                </a:cxn>
                <a:cxn ang="0">
                  <a:pos x="518" y="458"/>
                </a:cxn>
                <a:cxn ang="0">
                  <a:pos x="528" y="473"/>
                </a:cxn>
              </a:cxnLst>
              <a:rect l="0" t="0" r="r" b="b"/>
              <a:pathLst>
                <a:path w="567" h="672">
                  <a:moveTo>
                    <a:pt x="527" y="477"/>
                  </a:moveTo>
                  <a:lnTo>
                    <a:pt x="527" y="477"/>
                  </a:lnTo>
                  <a:lnTo>
                    <a:pt x="514" y="477"/>
                  </a:lnTo>
                  <a:lnTo>
                    <a:pt x="506" y="479"/>
                  </a:lnTo>
                  <a:lnTo>
                    <a:pt x="502" y="480"/>
                  </a:lnTo>
                  <a:lnTo>
                    <a:pt x="500" y="482"/>
                  </a:lnTo>
                  <a:lnTo>
                    <a:pt x="500" y="482"/>
                  </a:lnTo>
                  <a:lnTo>
                    <a:pt x="498" y="487"/>
                  </a:lnTo>
                  <a:lnTo>
                    <a:pt x="493" y="491"/>
                  </a:lnTo>
                  <a:lnTo>
                    <a:pt x="483" y="502"/>
                  </a:lnTo>
                  <a:lnTo>
                    <a:pt x="470" y="514"/>
                  </a:lnTo>
                  <a:lnTo>
                    <a:pt x="465" y="521"/>
                  </a:lnTo>
                  <a:lnTo>
                    <a:pt x="460" y="528"/>
                  </a:lnTo>
                  <a:lnTo>
                    <a:pt x="460" y="528"/>
                  </a:lnTo>
                  <a:lnTo>
                    <a:pt x="458" y="535"/>
                  </a:lnTo>
                  <a:lnTo>
                    <a:pt x="456" y="542"/>
                  </a:lnTo>
                  <a:lnTo>
                    <a:pt x="454" y="553"/>
                  </a:lnTo>
                  <a:lnTo>
                    <a:pt x="454" y="561"/>
                  </a:lnTo>
                  <a:lnTo>
                    <a:pt x="453" y="565"/>
                  </a:lnTo>
                  <a:lnTo>
                    <a:pt x="449" y="567"/>
                  </a:lnTo>
                  <a:lnTo>
                    <a:pt x="449" y="567"/>
                  </a:lnTo>
                  <a:lnTo>
                    <a:pt x="446" y="569"/>
                  </a:lnTo>
                  <a:lnTo>
                    <a:pt x="442" y="569"/>
                  </a:lnTo>
                  <a:lnTo>
                    <a:pt x="433" y="567"/>
                  </a:lnTo>
                  <a:lnTo>
                    <a:pt x="430" y="567"/>
                  </a:lnTo>
                  <a:lnTo>
                    <a:pt x="426" y="567"/>
                  </a:lnTo>
                  <a:lnTo>
                    <a:pt x="425" y="570"/>
                  </a:lnTo>
                  <a:lnTo>
                    <a:pt x="425" y="577"/>
                  </a:lnTo>
                  <a:lnTo>
                    <a:pt x="425" y="577"/>
                  </a:lnTo>
                  <a:lnTo>
                    <a:pt x="425" y="597"/>
                  </a:lnTo>
                  <a:lnTo>
                    <a:pt x="423" y="613"/>
                  </a:lnTo>
                  <a:lnTo>
                    <a:pt x="419" y="628"/>
                  </a:lnTo>
                  <a:lnTo>
                    <a:pt x="417" y="634"/>
                  </a:lnTo>
                  <a:lnTo>
                    <a:pt x="414" y="641"/>
                  </a:lnTo>
                  <a:lnTo>
                    <a:pt x="414" y="641"/>
                  </a:lnTo>
                  <a:lnTo>
                    <a:pt x="393" y="662"/>
                  </a:lnTo>
                  <a:lnTo>
                    <a:pt x="382" y="672"/>
                  </a:lnTo>
                  <a:lnTo>
                    <a:pt x="280" y="607"/>
                  </a:lnTo>
                  <a:lnTo>
                    <a:pt x="275" y="574"/>
                  </a:lnTo>
                  <a:lnTo>
                    <a:pt x="137" y="491"/>
                  </a:lnTo>
                  <a:lnTo>
                    <a:pt x="0" y="421"/>
                  </a:lnTo>
                  <a:lnTo>
                    <a:pt x="19" y="327"/>
                  </a:lnTo>
                  <a:lnTo>
                    <a:pt x="46" y="267"/>
                  </a:lnTo>
                  <a:lnTo>
                    <a:pt x="46" y="267"/>
                  </a:lnTo>
                  <a:lnTo>
                    <a:pt x="51" y="262"/>
                  </a:lnTo>
                  <a:lnTo>
                    <a:pt x="65" y="246"/>
                  </a:lnTo>
                  <a:lnTo>
                    <a:pt x="72" y="237"/>
                  </a:lnTo>
                  <a:lnTo>
                    <a:pt x="78" y="225"/>
                  </a:lnTo>
                  <a:lnTo>
                    <a:pt x="81" y="213"/>
                  </a:lnTo>
                  <a:lnTo>
                    <a:pt x="81" y="199"/>
                  </a:lnTo>
                  <a:lnTo>
                    <a:pt x="81" y="199"/>
                  </a:lnTo>
                  <a:lnTo>
                    <a:pt x="79" y="183"/>
                  </a:lnTo>
                  <a:lnTo>
                    <a:pt x="76" y="167"/>
                  </a:lnTo>
                  <a:lnTo>
                    <a:pt x="65" y="132"/>
                  </a:lnTo>
                  <a:lnTo>
                    <a:pt x="56" y="104"/>
                  </a:lnTo>
                  <a:lnTo>
                    <a:pt x="51" y="95"/>
                  </a:lnTo>
                  <a:lnTo>
                    <a:pt x="48" y="89"/>
                  </a:lnTo>
                  <a:lnTo>
                    <a:pt x="48" y="89"/>
                  </a:lnTo>
                  <a:lnTo>
                    <a:pt x="4" y="56"/>
                  </a:lnTo>
                  <a:lnTo>
                    <a:pt x="4" y="56"/>
                  </a:lnTo>
                  <a:lnTo>
                    <a:pt x="4" y="49"/>
                  </a:lnTo>
                  <a:lnTo>
                    <a:pt x="4" y="42"/>
                  </a:lnTo>
                  <a:lnTo>
                    <a:pt x="5" y="33"/>
                  </a:lnTo>
                  <a:lnTo>
                    <a:pt x="9" y="24"/>
                  </a:lnTo>
                  <a:lnTo>
                    <a:pt x="14" y="15"/>
                  </a:lnTo>
                  <a:lnTo>
                    <a:pt x="25" y="8"/>
                  </a:lnTo>
                  <a:lnTo>
                    <a:pt x="30" y="7"/>
                  </a:lnTo>
                  <a:lnTo>
                    <a:pt x="37" y="7"/>
                  </a:lnTo>
                  <a:lnTo>
                    <a:pt x="37" y="7"/>
                  </a:lnTo>
                  <a:lnTo>
                    <a:pt x="85" y="3"/>
                  </a:lnTo>
                  <a:lnTo>
                    <a:pt x="113" y="1"/>
                  </a:lnTo>
                  <a:lnTo>
                    <a:pt x="113" y="1"/>
                  </a:lnTo>
                  <a:lnTo>
                    <a:pt x="127" y="0"/>
                  </a:lnTo>
                  <a:lnTo>
                    <a:pt x="146" y="0"/>
                  </a:lnTo>
                  <a:lnTo>
                    <a:pt x="157" y="0"/>
                  </a:lnTo>
                  <a:lnTo>
                    <a:pt x="166" y="1"/>
                  </a:lnTo>
                  <a:lnTo>
                    <a:pt x="176" y="5"/>
                  </a:lnTo>
                  <a:lnTo>
                    <a:pt x="185" y="10"/>
                  </a:lnTo>
                  <a:lnTo>
                    <a:pt x="185" y="10"/>
                  </a:lnTo>
                  <a:lnTo>
                    <a:pt x="208" y="28"/>
                  </a:lnTo>
                  <a:lnTo>
                    <a:pt x="238" y="51"/>
                  </a:lnTo>
                  <a:lnTo>
                    <a:pt x="270" y="72"/>
                  </a:lnTo>
                  <a:lnTo>
                    <a:pt x="284" y="79"/>
                  </a:lnTo>
                  <a:lnTo>
                    <a:pt x="294" y="84"/>
                  </a:lnTo>
                  <a:lnTo>
                    <a:pt x="294" y="84"/>
                  </a:lnTo>
                  <a:lnTo>
                    <a:pt x="314" y="91"/>
                  </a:lnTo>
                  <a:lnTo>
                    <a:pt x="324" y="96"/>
                  </a:lnTo>
                  <a:lnTo>
                    <a:pt x="336" y="100"/>
                  </a:lnTo>
                  <a:lnTo>
                    <a:pt x="349" y="102"/>
                  </a:lnTo>
                  <a:lnTo>
                    <a:pt x="363" y="104"/>
                  </a:lnTo>
                  <a:lnTo>
                    <a:pt x="379" y="102"/>
                  </a:lnTo>
                  <a:lnTo>
                    <a:pt x="398" y="96"/>
                  </a:lnTo>
                  <a:lnTo>
                    <a:pt x="398" y="96"/>
                  </a:lnTo>
                  <a:lnTo>
                    <a:pt x="435" y="84"/>
                  </a:lnTo>
                  <a:lnTo>
                    <a:pt x="465" y="75"/>
                  </a:lnTo>
                  <a:lnTo>
                    <a:pt x="486" y="72"/>
                  </a:lnTo>
                  <a:lnTo>
                    <a:pt x="502" y="70"/>
                  </a:lnTo>
                  <a:lnTo>
                    <a:pt x="502" y="70"/>
                  </a:lnTo>
                  <a:lnTo>
                    <a:pt x="518" y="68"/>
                  </a:lnTo>
                  <a:lnTo>
                    <a:pt x="543" y="68"/>
                  </a:lnTo>
                  <a:lnTo>
                    <a:pt x="553" y="68"/>
                  </a:lnTo>
                  <a:lnTo>
                    <a:pt x="562" y="70"/>
                  </a:lnTo>
                  <a:lnTo>
                    <a:pt x="565" y="74"/>
                  </a:lnTo>
                  <a:lnTo>
                    <a:pt x="567" y="75"/>
                  </a:lnTo>
                  <a:lnTo>
                    <a:pt x="565" y="79"/>
                  </a:lnTo>
                  <a:lnTo>
                    <a:pt x="565" y="79"/>
                  </a:lnTo>
                  <a:lnTo>
                    <a:pt x="558" y="93"/>
                  </a:lnTo>
                  <a:lnTo>
                    <a:pt x="546" y="109"/>
                  </a:lnTo>
                  <a:lnTo>
                    <a:pt x="532" y="125"/>
                  </a:lnTo>
                  <a:lnTo>
                    <a:pt x="520" y="137"/>
                  </a:lnTo>
                  <a:lnTo>
                    <a:pt x="520" y="137"/>
                  </a:lnTo>
                  <a:lnTo>
                    <a:pt x="498" y="153"/>
                  </a:lnTo>
                  <a:lnTo>
                    <a:pt x="491" y="162"/>
                  </a:lnTo>
                  <a:lnTo>
                    <a:pt x="490" y="167"/>
                  </a:lnTo>
                  <a:lnTo>
                    <a:pt x="488" y="172"/>
                  </a:lnTo>
                  <a:lnTo>
                    <a:pt x="488" y="172"/>
                  </a:lnTo>
                  <a:lnTo>
                    <a:pt x="486" y="213"/>
                  </a:lnTo>
                  <a:lnTo>
                    <a:pt x="481" y="290"/>
                  </a:lnTo>
                  <a:lnTo>
                    <a:pt x="479" y="332"/>
                  </a:lnTo>
                  <a:lnTo>
                    <a:pt x="477" y="368"/>
                  </a:lnTo>
                  <a:lnTo>
                    <a:pt x="479" y="396"/>
                  </a:lnTo>
                  <a:lnTo>
                    <a:pt x="481" y="405"/>
                  </a:lnTo>
                  <a:lnTo>
                    <a:pt x="483" y="408"/>
                  </a:lnTo>
                  <a:lnTo>
                    <a:pt x="483" y="408"/>
                  </a:lnTo>
                  <a:lnTo>
                    <a:pt x="486" y="414"/>
                  </a:lnTo>
                  <a:lnTo>
                    <a:pt x="490" y="419"/>
                  </a:lnTo>
                  <a:lnTo>
                    <a:pt x="495" y="431"/>
                  </a:lnTo>
                  <a:lnTo>
                    <a:pt x="500" y="442"/>
                  </a:lnTo>
                  <a:lnTo>
                    <a:pt x="504" y="445"/>
                  </a:lnTo>
                  <a:lnTo>
                    <a:pt x="509" y="450"/>
                  </a:lnTo>
                  <a:lnTo>
                    <a:pt x="509" y="450"/>
                  </a:lnTo>
                  <a:lnTo>
                    <a:pt x="518" y="458"/>
                  </a:lnTo>
                  <a:lnTo>
                    <a:pt x="525" y="465"/>
                  </a:lnTo>
                  <a:lnTo>
                    <a:pt x="528" y="472"/>
                  </a:lnTo>
                  <a:lnTo>
                    <a:pt x="528" y="473"/>
                  </a:lnTo>
                  <a:lnTo>
                    <a:pt x="527" y="477"/>
                  </a:lnTo>
                  <a:lnTo>
                    <a:pt x="527" y="47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2" name="Freeform 46">
              <a:extLst>
                <a:ext uri="{FF2B5EF4-FFF2-40B4-BE49-F238E27FC236}">
                  <a16:creationId xmlns:a16="http://schemas.microsoft.com/office/drawing/2014/main" id="{22EBA0F1-5C04-4EA8-A401-E71AC0B7A5CC}"/>
                </a:ext>
              </a:extLst>
            </p:cNvPr>
            <p:cNvSpPr>
              <a:spLocks/>
            </p:cNvSpPr>
            <p:nvPr/>
          </p:nvSpPr>
          <p:spPr bwMode="auto">
            <a:xfrm>
              <a:off x="4483791" y="3364064"/>
              <a:ext cx="806620" cy="544290"/>
            </a:xfrm>
            <a:custGeom>
              <a:avLst/>
              <a:gdLst/>
              <a:ahLst/>
              <a:cxnLst>
                <a:cxn ang="0">
                  <a:pos x="534" y="2"/>
                </a:cxn>
                <a:cxn ang="0">
                  <a:pos x="504" y="4"/>
                </a:cxn>
                <a:cxn ang="0">
                  <a:pos x="472" y="46"/>
                </a:cxn>
                <a:cxn ang="0">
                  <a:pos x="419" y="109"/>
                </a:cxn>
                <a:cxn ang="0">
                  <a:pos x="370" y="141"/>
                </a:cxn>
                <a:cxn ang="0">
                  <a:pos x="308" y="159"/>
                </a:cxn>
                <a:cxn ang="0">
                  <a:pos x="296" y="161"/>
                </a:cxn>
                <a:cxn ang="0">
                  <a:pos x="284" y="175"/>
                </a:cxn>
                <a:cxn ang="0">
                  <a:pos x="240" y="212"/>
                </a:cxn>
                <a:cxn ang="0">
                  <a:pos x="183" y="233"/>
                </a:cxn>
                <a:cxn ang="0">
                  <a:pos x="72" y="250"/>
                </a:cxn>
                <a:cxn ang="0">
                  <a:pos x="42" y="317"/>
                </a:cxn>
                <a:cxn ang="0">
                  <a:pos x="7" y="365"/>
                </a:cxn>
                <a:cxn ang="0">
                  <a:pos x="2" y="397"/>
                </a:cxn>
                <a:cxn ang="0">
                  <a:pos x="21" y="435"/>
                </a:cxn>
                <a:cxn ang="0">
                  <a:pos x="30" y="478"/>
                </a:cxn>
                <a:cxn ang="0">
                  <a:pos x="27" y="488"/>
                </a:cxn>
                <a:cxn ang="0">
                  <a:pos x="44" y="509"/>
                </a:cxn>
                <a:cxn ang="0">
                  <a:pos x="113" y="583"/>
                </a:cxn>
                <a:cxn ang="0">
                  <a:pos x="120" y="610"/>
                </a:cxn>
                <a:cxn ang="0">
                  <a:pos x="146" y="573"/>
                </a:cxn>
                <a:cxn ang="0">
                  <a:pos x="171" y="536"/>
                </a:cxn>
                <a:cxn ang="0">
                  <a:pos x="215" y="534"/>
                </a:cxn>
                <a:cxn ang="0">
                  <a:pos x="263" y="550"/>
                </a:cxn>
                <a:cxn ang="0">
                  <a:pos x="252" y="501"/>
                </a:cxn>
                <a:cxn ang="0">
                  <a:pos x="257" y="479"/>
                </a:cxn>
                <a:cxn ang="0">
                  <a:pos x="273" y="467"/>
                </a:cxn>
                <a:cxn ang="0">
                  <a:pos x="308" y="439"/>
                </a:cxn>
                <a:cxn ang="0">
                  <a:pos x="324" y="430"/>
                </a:cxn>
                <a:cxn ang="0">
                  <a:pos x="361" y="430"/>
                </a:cxn>
                <a:cxn ang="0">
                  <a:pos x="393" y="460"/>
                </a:cxn>
                <a:cxn ang="0">
                  <a:pos x="407" y="474"/>
                </a:cxn>
                <a:cxn ang="0">
                  <a:pos x="465" y="483"/>
                </a:cxn>
                <a:cxn ang="0">
                  <a:pos x="488" y="495"/>
                </a:cxn>
                <a:cxn ang="0">
                  <a:pos x="539" y="493"/>
                </a:cxn>
                <a:cxn ang="0">
                  <a:pos x="560" y="472"/>
                </a:cxn>
                <a:cxn ang="0">
                  <a:pos x="572" y="444"/>
                </a:cxn>
                <a:cxn ang="0">
                  <a:pos x="615" y="425"/>
                </a:cxn>
                <a:cxn ang="0">
                  <a:pos x="904" y="409"/>
                </a:cxn>
                <a:cxn ang="0">
                  <a:pos x="870" y="370"/>
                </a:cxn>
                <a:cxn ang="0">
                  <a:pos x="837" y="326"/>
                </a:cxn>
                <a:cxn ang="0">
                  <a:pos x="803" y="291"/>
                </a:cxn>
                <a:cxn ang="0">
                  <a:pos x="777" y="250"/>
                </a:cxn>
                <a:cxn ang="0">
                  <a:pos x="727" y="213"/>
                </a:cxn>
                <a:cxn ang="0">
                  <a:pos x="671" y="182"/>
                </a:cxn>
                <a:cxn ang="0">
                  <a:pos x="634" y="152"/>
                </a:cxn>
                <a:cxn ang="0">
                  <a:pos x="622" y="134"/>
                </a:cxn>
                <a:cxn ang="0">
                  <a:pos x="627" y="113"/>
                </a:cxn>
                <a:cxn ang="0">
                  <a:pos x="641" y="81"/>
                </a:cxn>
                <a:cxn ang="0">
                  <a:pos x="599" y="32"/>
                </a:cxn>
                <a:cxn ang="0">
                  <a:pos x="558" y="0"/>
                </a:cxn>
              </a:cxnLst>
              <a:rect l="0" t="0" r="r" b="b"/>
              <a:pathLst>
                <a:path w="904" h="610">
                  <a:moveTo>
                    <a:pt x="558" y="0"/>
                  </a:moveTo>
                  <a:lnTo>
                    <a:pt x="558" y="0"/>
                  </a:lnTo>
                  <a:lnTo>
                    <a:pt x="555" y="2"/>
                  </a:lnTo>
                  <a:lnTo>
                    <a:pt x="534" y="2"/>
                  </a:lnTo>
                  <a:lnTo>
                    <a:pt x="534" y="2"/>
                  </a:lnTo>
                  <a:lnTo>
                    <a:pt x="520" y="2"/>
                  </a:lnTo>
                  <a:lnTo>
                    <a:pt x="511" y="2"/>
                  </a:lnTo>
                  <a:lnTo>
                    <a:pt x="504" y="4"/>
                  </a:lnTo>
                  <a:lnTo>
                    <a:pt x="497" y="11"/>
                  </a:lnTo>
                  <a:lnTo>
                    <a:pt x="497" y="11"/>
                  </a:lnTo>
                  <a:lnTo>
                    <a:pt x="484" y="27"/>
                  </a:lnTo>
                  <a:lnTo>
                    <a:pt x="472" y="46"/>
                  </a:lnTo>
                  <a:lnTo>
                    <a:pt x="456" y="71"/>
                  </a:lnTo>
                  <a:lnTo>
                    <a:pt x="456" y="71"/>
                  </a:lnTo>
                  <a:lnTo>
                    <a:pt x="435" y="92"/>
                  </a:lnTo>
                  <a:lnTo>
                    <a:pt x="419" y="109"/>
                  </a:lnTo>
                  <a:lnTo>
                    <a:pt x="407" y="120"/>
                  </a:lnTo>
                  <a:lnTo>
                    <a:pt x="407" y="120"/>
                  </a:lnTo>
                  <a:lnTo>
                    <a:pt x="393" y="129"/>
                  </a:lnTo>
                  <a:lnTo>
                    <a:pt x="370" y="141"/>
                  </a:lnTo>
                  <a:lnTo>
                    <a:pt x="356" y="148"/>
                  </a:lnTo>
                  <a:lnTo>
                    <a:pt x="342" y="154"/>
                  </a:lnTo>
                  <a:lnTo>
                    <a:pt x="326" y="157"/>
                  </a:lnTo>
                  <a:lnTo>
                    <a:pt x="308" y="159"/>
                  </a:lnTo>
                  <a:lnTo>
                    <a:pt x="308" y="159"/>
                  </a:lnTo>
                  <a:lnTo>
                    <a:pt x="307" y="157"/>
                  </a:lnTo>
                  <a:lnTo>
                    <a:pt x="301" y="159"/>
                  </a:lnTo>
                  <a:lnTo>
                    <a:pt x="296" y="161"/>
                  </a:lnTo>
                  <a:lnTo>
                    <a:pt x="292" y="162"/>
                  </a:lnTo>
                  <a:lnTo>
                    <a:pt x="289" y="168"/>
                  </a:lnTo>
                  <a:lnTo>
                    <a:pt x="284" y="175"/>
                  </a:lnTo>
                  <a:lnTo>
                    <a:pt x="284" y="175"/>
                  </a:lnTo>
                  <a:lnTo>
                    <a:pt x="278" y="182"/>
                  </a:lnTo>
                  <a:lnTo>
                    <a:pt x="271" y="191"/>
                  </a:lnTo>
                  <a:lnTo>
                    <a:pt x="256" y="203"/>
                  </a:lnTo>
                  <a:lnTo>
                    <a:pt x="240" y="212"/>
                  </a:lnTo>
                  <a:lnTo>
                    <a:pt x="231" y="217"/>
                  </a:lnTo>
                  <a:lnTo>
                    <a:pt x="231" y="217"/>
                  </a:lnTo>
                  <a:lnTo>
                    <a:pt x="217" y="222"/>
                  </a:lnTo>
                  <a:lnTo>
                    <a:pt x="183" y="233"/>
                  </a:lnTo>
                  <a:lnTo>
                    <a:pt x="160" y="238"/>
                  </a:lnTo>
                  <a:lnTo>
                    <a:pt x="134" y="243"/>
                  </a:lnTo>
                  <a:lnTo>
                    <a:pt x="104" y="249"/>
                  </a:lnTo>
                  <a:lnTo>
                    <a:pt x="72" y="250"/>
                  </a:lnTo>
                  <a:lnTo>
                    <a:pt x="72" y="250"/>
                  </a:lnTo>
                  <a:lnTo>
                    <a:pt x="62" y="279"/>
                  </a:lnTo>
                  <a:lnTo>
                    <a:pt x="51" y="301"/>
                  </a:lnTo>
                  <a:lnTo>
                    <a:pt x="42" y="317"/>
                  </a:lnTo>
                  <a:lnTo>
                    <a:pt x="42" y="317"/>
                  </a:lnTo>
                  <a:lnTo>
                    <a:pt x="23" y="344"/>
                  </a:lnTo>
                  <a:lnTo>
                    <a:pt x="7" y="365"/>
                  </a:lnTo>
                  <a:lnTo>
                    <a:pt x="7" y="365"/>
                  </a:lnTo>
                  <a:lnTo>
                    <a:pt x="4" y="372"/>
                  </a:lnTo>
                  <a:lnTo>
                    <a:pt x="2" y="383"/>
                  </a:lnTo>
                  <a:lnTo>
                    <a:pt x="0" y="388"/>
                  </a:lnTo>
                  <a:lnTo>
                    <a:pt x="2" y="397"/>
                  </a:lnTo>
                  <a:lnTo>
                    <a:pt x="5" y="405"/>
                  </a:lnTo>
                  <a:lnTo>
                    <a:pt x="11" y="416"/>
                  </a:lnTo>
                  <a:lnTo>
                    <a:pt x="11" y="416"/>
                  </a:lnTo>
                  <a:lnTo>
                    <a:pt x="21" y="435"/>
                  </a:lnTo>
                  <a:lnTo>
                    <a:pt x="27" y="449"/>
                  </a:lnTo>
                  <a:lnTo>
                    <a:pt x="30" y="462"/>
                  </a:lnTo>
                  <a:lnTo>
                    <a:pt x="30" y="478"/>
                  </a:lnTo>
                  <a:lnTo>
                    <a:pt x="30" y="478"/>
                  </a:lnTo>
                  <a:lnTo>
                    <a:pt x="28" y="479"/>
                  </a:lnTo>
                  <a:lnTo>
                    <a:pt x="27" y="481"/>
                  </a:lnTo>
                  <a:lnTo>
                    <a:pt x="27" y="485"/>
                  </a:lnTo>
                  <a:lnTo>
                    <a:pt x="27" y="488"/>
                  </a:lnTo>
                  <a:lnTo>
                    <a:pt x="30" y="493"/>
                  </a:lnTo>
                  <a:lnTo>
                    <a:pt x="35" y="501"/>
                  </a:lnTo>
                  <a:lnTo>
                    <a:pt x="44" y="509"/>
                  </a:lnTo>
                  <a:lnTo>
                    <a:pt x="44" y="509"/>
                  </a:lnTo>
                  <a:lnTo>
                    <a:pt x="67" y="530"/>
                  </a:lnTo>
                  <a:lnTo>
                    <a:pt x="93" y="557"/>
                  </a:lnTo>
                  <a:lnTo>
                    <a:pt x="104" y="571"/>
                  </a:lnTo>
                  <a:lnTo>
                    <a:pt x="113" y="583"/>
                  </a:lnTo>
                  <a:lnTo>
                    <a:pt x="118" y="597"/>
                  </a:lnTo>
                  <a:lnTo>
                    <a:pt x="120" y="604"/>
                  </a:lnTo>
                  <a:lnTo>
                    <a:pt x="120" y="610"/>
                  </a:lnTo>
                  <a:lnTo>
                    <a:pt x="120" y="610"/>
                  </a:lnTo>
                  <a:lnTo>
                    <a:pt x="127" y="601"/>
                  </a:lnTo>
                  <a:lnTo>
                    <a:pt x="139" y="585"/>
                  </a:lnTo>
                  <a:lnTo>
                    <a:pt x="139" y="585"/>
                  </a:lnTo>
                  <a:lnTo>
                    <a:pt x="146" y="573"/>
                  </a:lnTo>
                  <a:lnTo>
                    <a:pt x="153" y="557"/>
                  </a:lnTo>
                  <a:lnTo>
                    <a:pt x="162" y="543"/>
                  </a:lnTo>
                  <a:lnTo>
                    <a:pt x="167" y="538"/>
                  </a:lnTo>
                  <a:lnTo>
                    <a:pt x="171" y="536"/>
                  </a:lnTo>
                  <a:lnTo>
                    <a:pt x="171" y="536"/>
                  </a:lnTo>
                  <a:lnTo>
                    <a:pt x="185" y="532"/>
                  </a:lnTo>
                  <a:lnTo>
                    <a:pt x="197" y="532"/>
                  </a:lnTo>
                  <a:lnTo>
                    <a:pt x="215" y="534"/>
                  </a:lnTo>
                  <a:lnTo>
                    <a:pt x="215" y="534"/>
                  </a:lnTo>
                  <a:lnTo>
                    <a:pt x="234" y="539"/>
                  </a:lnTo>
                  <a:lnTo>
                    <a:pt x="250" y="545"/>
                  </a:lnTo>
                  <a:lnTo>
                    <a:pt x="263" y="550"/>
                  </a:lnTo>
                  <a:lnTo>
                    <a:pt x="263" y="550"/>
                  </a:lnTo>
                  <a:lnTo>
                    <a:pt x="257" y="529"/>
                  </a:lnTo>
                  <a:lnTo>
                    <a:pt x="254" y="513"/>
                  </a:lnTo>
                  <a:lnTo>
                    <a:pt x="252" y="501"/>
                  </a:lnTo>
                  <a:lnTo>
                    <a:pt x="252" y="501"/>
                  </a:lnTo>
                  <a:lnTo>
                    <a:pt x="252" y="492"/>
                  </a:lnTo>
                  <a:lnTo>
                    <a:pt x="254" y="483"/>
                  </a:lnTo>
                  <a:lnTo>
                    <a:pt x="257" y="479"/>
                  </a:lnTo>
                  <a:lnTo>
                    <a:pt x="261" y="476"/>
                  </a:lnTo>
                  <a:lnTo>
                    <a:pt x="266" y="471"/>
                  </a:lnTo>
                  <a:lnTo>
                    <a:pt x="273" y="467"/>
                  </a:lnTo>
                  <a:lnTo>
                    <a:pt x="273" y="467"/>
                  </a:lnTo>
                  <a:lnTo>
                    <a:pt x="289" y="458"/>
                  </a:lnTo>
                  <a:lnTo>
                    <a:pt x="300" y="451"/>
                  </a:lnTo>
                  <a:lnTo>
                    <a:pt x="307" y="444"/>
                  </a:lnTo>
                  <a:lnTo>
                    <a:pt x="308" y="439"/>
                  </a:lnTo>
                  <a:lnTo>
                    <a:pt x="308" y="439"/>
                  </a:lnTo>
                  <a:lnTo>
                    <a:pt x="310" y="437"/>
                  </a:lnTo>
                  <a:lnTo>
                    <a:pt x="314" y="434"/>
                  </a:lnTo>
                  <a:lnTo>
                    <a:pt x="324" y="430"/>
                  </a:lnTo>
                  <a:lnTo>
                    <a:pt x="331" y="428"/>
                  </a:lnTo>
                  <a:lnTo>
                    <a:pt x="340" y="428"/>
                  </a:lnTo>
                  <a:lnTo>
                    <a:pt x="351" y="428"/>
                  </a:lnTo>
                  <a:lnTo>
                    <a:pt x="361" y="430"/>
                  </a:lnTo>
                  <a:lnTo>
                    <a:pt x="361" y="430"/>
                  </a:lnTo>
                  <a:lnTo>
                    <a:pt x="373" y="441"/>
                  </a:lnTo>
                  <a:lnTo>
                    <a:pt x="384" y="451"/>
                  </a:lnTo>
                  <a:lnTo>
                    <a:pt x="393" y="460"/>
                  </a:lnTo>
                  <a:lnTo>
                    <a:pt x="393" y="460"/>
                  </a:lnTo>
                  <a:lnTo>
                    <a:pt x="396" y="467"/>
                  </a:lnTo>
                  <a:lnTo>
                    <a:pt x="400" y="471"/>
                  </a:lnTo>
                  <a:lnTo>
                    <a:pt x="407" y="474"/>
                  </a:lnTo>
                  <a:lnTo>
                    <a:pt x="423" y="476"/>
                  </a:lnTo>
                  <a:lnTo>
                    <a:pt x="423" y="476"/>
                  </a:lnTo>
                  <a:lnTo>
                    <a:pt x="456" y="479"/>
                  </a:lnTo>
                  <a:lnTo>
                    <a:pt x="465" y="483"/>
                  </a:lnTo>
                  <a:lnTo>
                    <a:pt x="472" y="486"/>
                  </a:lnTo>
                  <a:lnTo>
                    <a:pt x="472" y="486"/>
                  </a:lnTo>
                  <a:lnTo>
                    <a:pt x="477" y="490"/>
                  </a:lnTo>
                  <a:lnTo>
                    <a:pt x="488" y="495"/>
                  </a:lnTo>
                  <a:lnTo>
                    <a:pt x="500" y="497"/>
                  </a:lnTo>
                  <a:lnTo>
                    <a:pt x="520" y="497"/>
                  </a:lnTo>
                  <a:lnTo>
                    <a:pt x="520" y="497"/>
                  </a:lnTo>
                  <a:lnTo>
                    <a:pt x="539" y="493"/>
                  </a:lnTo>
                  <a:lnTo>
                    <a:pt x="550" y="488"/>
                  </a:lnTo>
                  <a:lnTo>
                    <a:pt x="553" y="485"/>
                  </a:lnTo>
                  <a:lnTo>
                    <a:pt x="557" y="481"/>
                  </a:lnTo>
                  <a:lnTo>
                    <a:pt x="560" y="472"/>
                  </a:lnTo>
                  <a:lnTo>
                    <a:pt x="560" y="472"/>
                  </a:lnTo>
                  <a:lnTo>
                    <a:pt x="564" y="460"/>
                  </a:lnTo>
                  <a:lnTo>
                    <a:pt x="567" y="453"/>
                  </a:lnTo>
                  <a:lnTo>
                    <a:pt x="572" y="444"/>
                  </a:lnTo>
                  <a:lnTo>
                    <a:pt x="580" y="437"/>
                  </a:lnTo>
                  <a:lnTo>
                    <a:pt x="588" y="432"/>
                  </a:lnTo>
                  <a:lnTo>
                    <a:pt x="601" y="427"/>
                  </a:lnTo>
                  <a:lnTo>
                    <a:pt x="615" y="425"/>
                  </a:lnTo>
                  <a:lnTo>
                    <a:pt x="615" y="425"/>
                  </a:lnTo>
                  <a:lnTo>
                    <a:pt x="777" y="416"/>
                  </a:lnTo>
                  <a:lnTo>
                    <a:pt x="904" y="409"/>
                  </a:lnTo>
                  <a:lnTo>
                    <a:pt x="904" y="409"/>
                  </a:lnTo>
                  <a:lnTo>
                    <a:pt x="895" y="400"/>
                  </a:lnTo>
                  <a:lnTo>
                    <a:pt x="884" y="388"/>
                  </a:lnTo>
                  <a:lnTo>
                    <a:pt x="870" y="370"/>
                  </a:lnTo>
                  <a:lnTo>
                    <a:pt x="870" y="370"/>
                  </a:lnTo>
                  <a:lnTo>
                    <a:pt x="851" y="340"/>
                  </a:lnTo>
                  <a:lnTo>
                    <a:pt x="845" y="333"/>
                  </a:lnTo>
                  <a:lnTo>
                    <a:pt x="837" y="326"/>
                  </a:lnTo>
                  <a:lnTo>
                    <a:pt x="837" y="326"/>
                  </a:lnTo>
                  <a:lnTo>
                    <a:pt x="826" y="319"/>
                  </a:lnTo>
                  <a:lnTo>
                    <a:pt x="819" y="314"/>
                  </a:lnTo>
                  <a:lnTo>
                    <a:pt x="812" y="305"/>
                  </a:lnTo>
                  <a:lnTo>
                    <a:pt x="803" y="291"/>
                  </a:lnTo>
                  <a:lnTo>
                    <a:pt x="803" y="291"/>
                  </a:lnTo>
                  <a:lnTo>
                    <a:pt x="793" y="272"/>
                  </a:lnTo>
                  <a:lnTo>
                    <a:pt x="786" y="261"/>
                  </a:lnTo>
                  <a:lnTo>
                    <a:pt x="777" y="250"/>
                  </a:lnTo>
                  <a:lnTo>
                    <a:pt x="768" y="240"/>
                  </a:lnTo>
                  <a:lnTo>
                    <a:pt x="757" y="229"/>
                  </a:lnTo>
                  <a:lnTo>
                    <a:pt x="743" y="220"/>
                  </a:lnTo>
                  <a:lnTo>
                    <a:pt x="727" y="213"/>
                  </a:lnTo>
                  <a:lnTo>
                    <a:pt x="727" y="213"/>
                  </a:lnTo>
                  <a:lnTo>
                    <a:pt x="712" y="206"/>
                  </a:lnTo>
                  <a:lnTo>
                    <a:pt x="698" y="199"/>
                  </a:lnTo>
                  <a:lnTo>
                    <a:pt x="671" y="182"/>
                  </a:lnTo>
                  <a:lnTo>
                    <a:pt x="653" y="168"/>
                  </a:lnTo>
                  <a:lnTo>
                    <a:pt x="641" y="157"/>
                  </a:lnTo>
                  <a:lnTo>
                    <a:pt x="641" y="157"/>
                  </a:lnTo>
                  <a:lnTo>
                    <a:pt x="634" y="152"/>
                  </a:lnTo>
                  <a:lnTo>
                    <a:pt x="627" y="146"/>
                  </a:lnTo>
                  <a:lnTo>
                    <a:pt x="624" y="143"/>
                  </a:lnTo>
                  <a:lnTo>
                    <a:pt x="622" y="139"/>
                  </a:lnTo>
                  <a:lnTo>
                    <a:pt x="622" y="134"/>
                  </a:lnTo>
                  <a:lnTo>
                    <a:pt x="622" y="127"/>
                  </a:lnTo>
                  <a:lnTo>
                    <a:pt x="622" y="127"/>
                  </a:lnTo>
                  <a:lnTo>
                    <a:pt x="624" y="120"/>
                  </a:lnTo>
                  <a:lnTo>
                    <a:pt x="627" y="113"/>
                  </a:lnTo>
                  <a:lnTo>
                    <a:pt x="634" y="99"/>
                  </a:lnTo>
                  <a:lnTo>
                    <a:pt x="638" y="94"/>
                  </a:lnTo>
                  <a:lnTo>
                    <a:pt x="641" y="87"/>
                  </a:lnTo>
                  <a:lnTo>
                    <a:pt x="641" y="81"/>
                  </a:lnTo>
                  <a:lnTo>
                    <a:pt x="639" y="76"/>
                  </a:lnTo>
                  <a:lnTo>
                    <a:pt x="639" y="76"/>
                  </a:lnTo>
                  <a:lnTo>
                    <a:pt x="625" y="58"/>
                  </a:lnTo>
                  <a:lnTo>
                    <a:pt x="599" y="32"/>
                  </a:lnTo>
                  <a:lnTo>
                    <a:pt x="572" y="9"/>
                  </a:lnTo>
                  <a:lnTo>
                    <a:pt x="564" y="2"/>
                  </a:lnTo>
                  <a:lnTo>
                    <a:pt x="558" y="0"/>
                  </a:lnTo>
                  <a:lnTo>
                    <a:pt x="55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3" name="Freeform 47">
              <a:extLst>
                <a:ext uri="{FF2B5EF4-FFF2-40B4-BE49-F238E27FC236}">
                  <a16:creationId xmlns:a16="http://schemas.microsoft.com/office/drawing/2014/main" id="{9A9657AA-3BB6-477F-92F3-5B25E512BE63}"/>
                </a:ext>
              </a:extLst>
            </p:cNvPr>
            <p:cNvSpPr>
              <a:spLocks/>
            </p:cNvSpPr>
            <p:nvPr/>
          </p:nvSpPr>
          <p:spPr bwMode="auto">
            <a:xfrm>
              <a:off x="5056635" y="1989955"/>
              <a:ext cx="679916" cy="681701"/>
            </a:xfrm>
            <a:custGeom>
              <a:avLst/>
              <a:gdLst/>
              <a:ahLst/>
              <a:cxnLst>
                <a:cxn ang="0">
                  <a:pos x="579" y="727"/>
                </a:cxn>
                <a:cxn ang="0">
                  <a:pos x="629" y="754"/>
                </a:cxn>
                <a:cxn ang="0">
                  <a:pos x="632" y="763"/>
                </a:cxn>
                <a:cxn ang="0">
                  <a:pos x="641" y="754"/>
                </a:cxn>
                <a:cxn ang="0">
                  <a:pos x="657" y="724"/>
                </a:cxn>
                <a:cxn ang="0">
                  <a:pos x="685" y="689"/>
                </a:cxn>
                <a:cxn ang="0">
                  <a:pos x="717" y="660"/>
                </a:cxn>
                <a:cxn ang="0">
                  <a:pos x="761" y="648"/>
                </a:cxn>
                <a:cxn ang="0">
                  <a:pos x="738" y="616"/>
                </a:cxn>
                <a:cxn ang="0">
                  <a:pos x="733" y="604"/>
                </a:cxn>
                <a:cxn ang="0">
                  <a:pos x="741" y="581"/>
                </a:cxn>
                <a:cxn ang="0">
                  <a:pos x="755" y="574"/>
                </a:cxn>
                <a:cxn ang="0">
                  <a:pos x="674" y="488"/>
                </a:cxn>
                <a:cxn ang="0">
                  <a:pos x="644" y="454"/>
                </a:cxn>
                <a:cxn ang="0">
                  <a:pos x="604" y="403"/>
                </a:cxn>
                <a:cxn ang="0">
                  <a:pos x="586" y="356"/>
                </a:cxn>
                <a:cxn ang="0">
                  <a:pos x="551" y="315"/>
                </a:cxn>
                <a:cxn ang="0">
                  <a:pos x="532" y="296"/>
                </a:cxn>
                <a:cxn ang="0">
                  <a:pos x="519" y="268"/>
                </a:cxn>
                <a:cxn ang="0">
                  <a:pos x="486" y="195"/>
                </a:cxn>
                <a:cxn ang="0">
                  <a:pos x="465" y="165"/>
                </a:cxn>
                <a:cxn ang="0">
                  <a:pos x="465" y="150"/>
                </a:cxn>
                <a:cxn ang="0">
                  <a:pos x="477" y="123"/>
                </a:cxn>
                <a:cxn ang="0">
                  <a:pos x="491" y="121"/>
                </a:cxn>
                <a:cxn ang="0">
                  <a:pos x="498" y="134"/>
                </a:cxn>
                <a:cxn ang="0">
                  <a:pos x="525" y="201"/>
                </a:cxn>
                <a:cxn ang="0">
                  <a:pos x="537" y="218"/>
                </a:cxn>
                <a:cxn ang="0">
                  <a:pos x="555" y="243"/>
                </a:cxn>
                <a:cxn ang="0">
                  <a:pos x="567" y="276"/>
                </a:cxn>
                <a:cxn ang="0">
                  <a:pos x="593" y="336"/>
                </a:cxn>
                <a:cxn ang="0">
                  <a:pos x="607" y="354"/>
                </a:cxn>
                <a:cxn ang="0">
                  <a:pos x="622" y="363"/>
                </a:cxn>
                <a:cxn ang="0">
                  <a:pos x="625" y="352"/>
                </a:cxn>
                <a:cxn ang="0">
                  <a:pos x="620" y="308"/>
                </a:cxn>
                <a:cxn ang="0">
                  <a:pos x="620" y="262"/>
                </a:cxn>
                <a:cxn ang="0">
                  <a:pos x="625" y="224"/>
                </a:cxn>
                <a:cxn ang="0">
                  <a:pos x="648" y="180"/>
                </a:cxn>
                <a:cxn ang="0">
                  <a:pos x="653" y="162"/>
                </a:cxn>
                <a:cxn ang="0">
                  <a:pos x="646" y="123"/>
                </a:cxn>
                <a:cxn ang="0">
                  <a:pos x="607" y="26"/>
                </a:cxn>
                <a:cxn ang="0">
                  <a:pos x="600" y="19"/>
                </a:cxn>
                <a:cxn ang="0">
                  <a:pos x="590" y="16"/>
                </a:cxn>
                <a:cxn ang="0">
                  <a:pos x="578" y="26"/>
                </a:cxn>
                <a:cxn ang="0">
                  <a:pos x="541" y="46"/>
                </a:cxn>
                <a:cxn ang="0">
                  <a:pos x="516" y="46"/>
                </a:cxn>
                <a:cxn ang="0">
                  <a:pos x="479" y="40"/>
                </a:cxn>
                <a:cxn ang="0">
                  <a:pos x="463" y="28"/>
                </a:cxn>
                <a:cxn ang="0">
                  <a:pos x="428" y="9"/>
                </a:cxn>
                <a:cxn ang="0">
                  <a:pos x="401" y="2"/>
                </a:cxn>
                <a:cxn ang="0">
                  <a:pos x="359" y="2"/>
                </a:cxn>
                <a:cxn ang="0">
                  <a:pos x="319" y="14"/>
                </a:cxn>
                <a:cxn ang="0">
                  <a:pos x="296" y="28"/>
                </a:cxn>
                <a:cxn ang="0">
                  <a:pos x="268" y="54"/>
                </a:cxn>
                <a:cxn ang="0">
                  <a:pos x="246" y="58"/>
                </a:cxn>
                <a:cxn ang="0">
                  <a:pos x="201" y="51"/>
                </a:cxn>
                <a:cxn ang="0">
                  <a:pos x="176" y="51"/>
                </a:cxn>
                <a:cxn ang="0">
                  <a:pos x="130" y="39"/>
                </a:cxn>
                <a:cxn ang="0">
                  <a:pos x="67" y="33"/>
                </a:cxn>
                <a:cxn ang="0">
                  <a:pos x="14" y="26"/>
                </a:cxn>
              </a:cxnLst>
              <a:rect l="0" t="0" r="r" b="b"/>
              <a:pathLst>
                <a:path w="761" h="763">
                  <a:moveTo>
                    <a:pt x="0" y="21"/>
                  </a:moveTo>
                  <a:lnTo>
                    <a:pt x="30" y="738"/>
                  </a:lnTo>
                  <a:lnTo>
                    <a:pt x="579" y="727"/>
                  </a:lnTo>
                  <a:lnTo>
                    <a:pt x="629" y="750"/>
                  </a:lnTo>
                  <a:lnTo>
                    <a:pt x="629" y="750"/>
                  </a:lnTo>
                  <a:lnTo>
                    <a:pt x="629" y="754"/>
                  </a:lnTo>
                  <a:lnTo>
                    <a:pt x="629" y="761"/>
                  </a:lnTo>
                  <a:lnTo>
                    <a:pt x="629" y="763"/>
                  </a:lnTo>
                  <a:lnTo>
                    <a:pt x="632" y="763"/>
                  </a:lnTo>
                  <a:lnTo>
                    <a:pt x="636" y="761"/>
                  </a:lnTo>
                  <a:lnTo>
                    <a:pt x="641" y="754"/>
                  </a:lnTo>
                  <a:lnTo>
                    <a:pt x="641" y="754"/>
                  </a:lnTo>
                  <a:lnTo>
                    <a:pt x="650" y="741"/>
                  </a:lnTo>
                  <a:lnTo>
                    <a:pt x="652" y="733"/>
                  </a:lnTo>
                  <a:lnTo>
                    <a:pt x="657" y="724"/>
                  </a:lnTo>
                  <a:lnTo>
                    <a:pt x="667" y="710"/>
                  </a:lnTo>
                  <a:lnTo>
                    <a:pt x="667" y="710"/>
                  </a:lnTo>
                  <a:lnTo>
                    <a:pt x="685" y="689"/>
                  </a:lnTo>
                  <a:lnTo>
                    <a:pt x="696" y="678"/>
                  </a:lnTo>
                  <a:lnTo>
                    <a:pt x="706" y="669"/>
                  </a:lnTo>
                  <a:lnTo>
                    <a:pt x="717" y="660"/>
                  </a:lnTo>
                  <a:lnTo>
                    <a:pt x="731" y="653"/>
                  </a:lnTo>
                  <a:lnTo>
                    <a:pt x="745" y="650"/>
                  </a:lnTo>
                  <a:lnTo>
                    <a:pt x="761" y="648"/>
                  </a:lnTo>
                  <a:lnTo>
                    <a:pt x="761" y="648"/>
                  </a:lnTo>
                  <a:lnTo>
                    <a:pt x="747" y="630"/>
                  </a:lnTo>
                  <a:lnTo>
                    <a:pt x="738" y="616"/>
                  </a:lnTo>
                  <a:lnTo>
                    <a:pt x="734" y="609"/>
                  </a:lnTo>
                  <a:lnTo>
                    <a:pt x="733" y="604"/>
                  </a:lnTo>
                  <a:lnTo>
                    <a:pt x="733" y="604"/>
                  </a:lnTo>
                  <a:lnTo>
                    <a:pt x="734" y="593"/>
                  </a:lnTo>
                  <a:lnTo>
                    <a:pt x="740" y="585"/>
                  </a:lnTo>
                  <a:lnTo>
                    <a:pt x="741" y="581"/>
                  </a:lnTo>
                  <a:lnTo>
                    <a:pt x="747" y="578"/>
                  </a:lnTo>
                  <a:lnTo>
                    <a:pt x="750" y="574"/>
                  </a:lnTo>
                  <a:lnTo>
                    <a:pt x="755" y="574"/>
                  </a:lnTo>
                  <a:lnTo>
                    <a:pt x="755" y="574"/>
                  </a:lnTo>
                  <a:lnTo>
                    <a:pt x="717" y="532"/>
                  </a:lnTo>
                  <a:lnTo>
                    <a:pt x="674" y="488"/>
                  </a:lnTo>
                  <a:lnTo>
                    <a:pt x="674" y="488"/>
                  </a:lnTo>
                  <a:lnTo>
                    <a:pt x="664" y="477"/>
                  </a:lnTo>
                  <a:lnTo>
                    <a:pt x="644" y="454"/>
                  </a:lnTo>
                  <a:lnTo>
                    <a:pt x="611" y="416"/>
                  </a:lnTo>
                  <a:lnTo>
                    <a:pt x="611" y="416"/>
                  </a:lnTo>
                  <a:lnTo>
                    <a:pt x="604" y="403"/>
                  </a:lnTo>
                  <a:lnTo>
                    <a:pt x="599" y="387"/>
                  </a:lnTo>
                  <a:lnTo>
                    <a:pt x="593" y="370"/>
                  </a:lnTo>
                  <a:lnTo>
                    <a:pt x="586" y="356"/>
                  </a:lnTo>
                  <a:lnTo>
                    <a:pt x="586" y="356"/>
                  </a:lnTo>
                  <a:lnTo>
                    <a:pt x="574" y="338"/>
                  </a:lnTo>
                  <a:lnTo>
                    <a:pt x="551" y="315"/>
                  </a:lnTo>
                  <a:lnTo>
                    <a:pt x="551" y="315"/>
                  </a:lnTo>
                  <a:lnTo>
                    <a:pt x="539" y="305"/>
                  </a:lnTo>
                  <a:lnTo>
                    <a:pt x="532" y="296"/>
                  </a:lnTo>
                  <a:lnTo>
                    <a:pt x="526" y="285"/>
                  </a:lnTo>
                  <a:lnTo>
                    <a:pt x="519" y="268"/>
                  </a:lnTo>
                  <a:lnTo>
                    <a:pt x="519" y="268"/>
                  </a:lnTo>
                  <a:lnTo>
                    <a:pt x="504" y="231"/>
                  </a:lnTo>
                  <a:lnTo>
                    <a:pt x="486" y="195"/>
                  </a:lnTo>
                  <a:lnTo>
                    <a:pt x="486" y="195"/>
                  </a:lnTo>
                  <a:lnTo>
                    <a:pt x="475" y="178"/>
                  </a:lnTo>
                  <a:lnTo>
                    <a:pt x="468" y="169"/>
                  </a:lnTo>
                  <a:lnTo>
                    <a:pt x="465" y="165"/>
                  </a:lnTo>
                  <a:lnTo>
                    <a:pt x="463" y="160"/>
                  </a:lnTo>
                  <a:lnTo>
                    <a:pt x="463" y="157"/>
                  </a:lnTo>
                  <a:lnTo>
                    <a:pt x="465" y="150"/>
                  </a:lnTo>
                  <a:lnTo>
                    <a:pt x="465" y="150"/>
                  </a:lnTo>
                  <a:lnTo>
                    <a:pt x="470" y="135"/>
                  </a:lnTo>
                  <a:lnTo>
                    <a:pt x="477" y="123"/>
                  </a:lnTo>
                  <a:lnTo>
                    <a:pt x="482" y="121"/>
                  </a:lnTo>
                  <a:lnTo>
                    <a:pt x="486" y="120"/>
                  </a:lnTo>
                  <a:lnTo>
                    <a:pt x="491" y="121"/>
                  </a:lnTo>
                  <a:lnTo>
                    <a:pt x="495" y="125"/>
                  </a:lnTo>
                  <a:lnTo>
                    <a:pt x="495" y="125"/>
                  </a:lnTo>
                  <a:lnTo>
                    <a:pt x="498" y="134"/>
                  </a:lnTo>
                  <a:lnTo>
                    <a:pt x="504" y="144"/>
                  </a:lnTo>
                  <a:lnTo>
                    <a:pt x="514" y="172"/>
                  </a:lnTo>
                  <a:lnTo>
                    <a:pt x="525" y="201"/>
                  </a:lnTo>
                  <a:lnTo>
                    <a:pt x="532" y="211"/>
                  </a:lnTo>
                  <a:lnTo>
                    <a:pt x="537" y="218"/>
                  </a:lnTo>
                  <a:lnTo>
                    <a:pt x="537" y="218"/>
                  </a:lnTo>
                  <a:lnTo>
                    <a:pt x="542" y="224"/>
                  </a:lnTo>
                  <a:lnTo>
                    <a:pt x="548" y="229"/>
                  </a:lnTo>
                  <a:lnTo>
                    <a:pt x="555" y="243"/>
                  </a:lnTo>
                  <a:lnTo>
                    <a:pt x="562" y="259"/>
                  </a:lnTo>
                  <a:lnTo>
                    <a:pt x="567" y="276"/>
                  </a:lnTo>
                  <a:lnTo>
                    <a:pt x="567" y="276"/>
                  </a:lnTo>
                  <a:lnTo>
                    <a:pt x="574" y="296"/>
                  </a:lnTo>
                  <a:lnTo>
                    <a:pt x="585" y="317"/>
                  </a:lnTo>
                  <a:lnTo>
                    <a:pt x="593" y="336"/>
                  </a:lnTo>
                  <a:lnTo>
                    <a:pt x="600" y="347"/>
                  </a:lnTo>
                  <a:lnTo>
                    <a:pt x="600" y="347"/>
                  </a:lnTo>
                  <a:lnTo>
                    <a:pt x="607" y="354"/>
                  </a:lnTo>
                  <a:lnTo>
                    <a:pt x="616" y="361"/>
                  </a:lnTo>
                  <a:lnTo>
                    <a:pt x="620" y="363"/>
                  </a:lnTo>
                  <a:lnTo>
                    <a:pt x="622" y="363"/>
                  </a:lnTo>
                  <a:lnTo>
                    <a:pt x="625" y="359"/>
                  </a:lnTo>
                  <a:lnTo>
                    <a:pt x="625" y="352"/>
                  </a:lnTo>
                  <a:lnTo>
                    <a:pt x="625" y="352"/>
                  </a:lnTo>
                  <a:lnTo>
                    <a:pt x="623" y="336"/>
                  </a:lnTo>
                  <a:lnTo>
                    <a:pt x="622" y="322"/>
                  </a:lnTo>
                  <a:lnTo>
                    <a:pt x="620" y="308"/>
                  </a:lnTo>
                  <a:lnTo>
                    <a:pt x="618" y="294"/>
                  </a:lnTo>
                  <a:lnTo>
                    <a:pt x="618" y="294"/>
                  </a:lnTo>
                  <a:lnTo>
                    <a:pt x="620" y="262"/>
                  </a:lnTo>
                  <a:lnTo>
                    <a:pt x="623" y="231"/>
                  </a:lnTo>
                  <a:lnTo>
                    <a:pt x="623" y="231"/>
                  </a:lnTo>
                  <a:lnTo>
                    <a:pt x="625" y="224"/>
                  </a:lnTo>
                  <a:lnTo>
                    <a:pt x="629" y="215"/>
                  </a:lnTo>
                  <a:lnTo>
                    <a:pt x="639" y="195"/>
                  </a:lnTo>
                  <a:lnTo>
                    <a:pt x="648" y="180"/>
                  </a:lnTo>
                  <a:lnTo>
                    <a:pt x="653" y="167"/>
                  </a:lnTo>
                  <a:lnTo>
                    <a:pt x="653" y="167"/>
                  </a:lnTo>
                  <a:lnTo>
                    <a:pt x="653" y="162"/>
                  </a:lnTo>
                  <a:lnTo>
                    <a:pt x="653" y="155"/>
                  </a:lnTo>
                  <a:lnTo>
                    <a:pt x="650" y="139"/>
                  </a:lnTo>
                  <a:lnTo>
                    <a:pt x="646" y="123"/>
                  </a:lnTo>
                  <a:lnTo>
                    <a:pt x="641" y="111"/>
                  </a:lnTo>
                  <a:lnTo>
                    <a:pt x="641" y="111"/>
                  </a:lnTo>
                  <a:lnTo>
                    <a:pt x="607" y="26"/>
                  </a:lnTo>
                  <a:lnTo>
                    <a:pt x="607" y="26"/>
                  </a:lnTo>
                  <a:lnTo>
                    <a:pt x="606" y="25"/>
                  </a:lnTo>
                  <a:lnTo>
                    <a:pt x="600" y="19"/>
                  </a:lnTo>
                  <a:lnTo>
                    <a:pt x="597" y="16"/>
                  </a:lnTo>
                  <a:lnTo>
                    <a:pt x="593" y="16"/>
                  </a:lnTo>
                  <a:lnTo>
                    <a:pt x="590" y="16"/>
                  </a:lnTo>
                  <a:lnTo>
                    <a:pt x="586" y="17"/>
                  </a:lnTo>
                  <a:lnTo>
                    <a:pt x="586" y="17"/>
                  </a:lnTo>
                  <a:lnTo>
                    <a:pt x="578" y="26"/>
                  </a:lnTo>
                  <a:lnTo>
                    <a:pt x="565" y="35"/>
                  </a:lnTo>
                  <a:lnTo>
                    <a:pt x="549" y="42"/>
                  </a:lnTo>
                  <a:lnTo>
                    <a:pt x="541" y="46"/>
                  </a:lnTo>
                  <a:lnTo>
                    <a:pt x="532" y="46"/>
                  </a:lnTo>
                  <a:lnTo>
                    <a:pt x="532" y="46"/>
                  </a:lnTo>
                  <a:lnTo>
                    <a:pt x="516" y="46"/>
                  </a:lnTo>
                  <a:lnTo>
                    <a:pt x="500" y="46"/>
                  </a:lnTo>
                  <a:lnTo>
                    <a:pt x="486" y="42"/>
                  </a:lnTo>
                  <a:lnTo>
                    <a:pt x="479" y="40"/>
                  </a:lnTo>
                  <a:lnTo>
                    <a:pt x="474" y="37"/>
                  </a:lnTo>
                  <a:lnTo>
                    <a:pt x="474" y="37"/>
                  </a:lnTo>
                  <a:lnTo>
                    <a:pt x="463" y="28"/>
                  </a:lnTo>
                  <a:lnTo>
                    <a:pt x="453" y="21"/>
                  </a:lnTo>
                  <a:lnTo>
                    <a:pt x="438" y="12"/>
                  </a:lnTo>
                  <a:lnTo>
                    <a:pt x="428" y="9"/>
                  </a:lnTo>
                  <a:lnTo>
                    <a:pt x="416" y="5"/>
                  </a:lnTo>
                  <a:lnTo>
                    <a:pt x="416" y="5"/>
                  </a:lnTo>
                  <a:lnTo>
                    <a:pt x="401" y="2"/>
                  </a:lnTo>
                  <a:lnTo>
                    <a:pt x="387" y="2"/>
                  </a:lnTo>
                  <a:lnTo>
                    <a:pt x="373" y="0"/>
                  </a:lnTo>
                  <a:lnTo>
                    <a:pt x="359" y="2"/>
                  </a:lnTo>
                  <a:lnTo>
                    <a:pt x="345" y="5"/>
                  </a:lnTo>
                  <a:lnTo>
                    <a:pt x="331" y="9"/>
                  </a:lnTo>
                  <a:lnTo>
                    <a:pt x="319" y="14"/>
                  </a:lnTo>
                  <a:lnTo>
                    <a:pt x="306" y="21"/>
                  </a:lnTo>
                  <a:lnTo>
                    <a:pt x="306" y="21"/>
                  </a:lnTo>
                  <a:lnTo>
                    <a:pt x="296" y="28"/>
                  </a:lnTo>
                  <a:lnTo>
                    <a:pt x="287" y="37"/>
                  </a:lnTo>
                  <a:lnTo>
                    <a:pt x="275" y="49"/>
                  </a:lnTo>
                  <a:lnTo>
                    <a:pt x="268" y="54"/>
                  </a:lnTo>
                  <a:lnTo>
                    <a:pt x="262" y="58"/>
                  </a:lnTo>
                  <a:lnTo>
                    <a:pt x="255" y="58"/>
                  </a:lnTo>
                  <a:lnTo>
                    <a:pt x="246" y="58"/>
                  </a:lnTo>
                  <a:lnTo>
                    <a:pt x="246" y="58"/>
                  </a:lnTo>
                  <a:lnTo>
                    <a:pt x="215" y="51"/>
                  </a:lnTo>
                  <a:lnTo>
                    <a:pt x="201" y="51"/>
                  </a:lnTo>
                  <a:lnTo>
                    <a:pt x="188" y="51"/>
                  </a:lnTo>
                  <a:lnTo>
                    <a:pt x="188" y="51"/>
                  </a:lnTo>
                  <a:lnTo>
                    <a:pt x="176" y="51"/>
                  </a:lnTo>
                  <a:lnTo>
                    <a:pt x="164" y="49"/>
                  </a:lnTo>
                  <a:lnTo>
                    <a:pt x="130" y="39"/>
                  </a:lnTo>
                  <a:lnTo>
                    <a:pt x="130" y="39"/>
                  </a:lnTo>
                  <a:lnTo>
                    <a:pt x="118" y="37"/>
                  </a:lnTo>
                  <a:lnTo>
                    <a:pt x="102" y="35"/>
                  </a:lnTo>
                  <a:lnTo>
                    <a:pt x="67" y="33"/>
                  </a:lnTo>
                  <a:lnTo>
                    <a:pt x="47" y="32"/>
                  </a:lnTo>
                  <a:lnTo>
                    <a:pt x="30" y="30"/>
                  </a:lnTo>
                  <a:lnTo>
                    <a:pt x="14" y="26"/>
                  </a:lnTo>
                  <a:lnTo>
                    <a:pt x="0" y="21"/>
                  </a:lnTo>
                  <a:lnTo>
                    <a:pt x="0" y="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4" name="Freeform 48">
              <a:extLst>
                <a:ext uri="{FF2B5EF4-FFF2-40B4-BE49-F238E27FC236}">
                  <a16:creationId xmlns:a16="http://schemas.microsoft.com/office/drawing/2014/main" id="{8879F921-E8AD-41F6-B027-B3CFE61141C2}"/>
                </a:ext>
              </a:extLst>
            </p:cNvPr>
            <p:cNvSpPr>
              <a:spLocks/>
            </p:cNvSpPr>
            <p:nvPr/>
          </p:nvSpPr>
          <p:spPr bwMode="auto">
            <a:xfrm>
              <a:off x="4951345" y="2569937"/>
              <a:ext cx="970799" cy="1256328"/>
            </a:xfrm>
            <a:custGeom>
              <a:avLst/>
              <a:gdLst/>
              <a:ahLst/>
              <a:cxnLst>
                <a:cxn ang="0">
                  <a:pos x="870" y="1330"/>
                </a:cxn>
                <a:cxn ang="0">
                  <a:pos x="838" y="1346"/>
                </a:cxn>
                <a:cxn ang="0">
                  <a:pos x="770" y="1393"/>
                </a:cxn>
                <a:cxn ang="0">
                  <a:pos x="618" y="1409"/>
                </a:cxn>
                <a:cxn ang="0">
                  <a:pos x="587" y="1383"/>
                </a:cxn>
                <a:cxn ang="0">
                  <a:pos x="532" y="1360"/>
                </a:cxn>
                <a:cxn ang="0">
                  <a:pos x="479" y="1360"/>
                </a:cxn>
                <a:cxn ang="0">
                  <a:pos x="437" y="1353"/>
                </a:cxn>
                <a:cxn ang="0">
                  <a:pos x="349" y="1261"/>
                </a:cxn>
                <a:cxn ang="0">
                  <a:pos x="314" y="1217"/>
                </a:cxn>
                <a:cxn ang="0">
                  <a:pos x="277" y="1175"/>
                </a:cxn>
                <a:cxn ang="0">
                  <a:pos x="226" y="1115"/>
                </a:cxn>
                <a:cxn ang="0">
                  <a:pos x="164" y="1083"/>
                </a:cxn>
                <a:cxn ang="0">
                  <a:pos x="106" y="1041"/>
                </a:cxn>
                <a:cxn ang="0">
                  <a:pos x="95" y="1015"/>
                </a:cxn>
                <a:cxn ang="0">
                  <a:pos x="116" y="981"/>
                </a:cxn>
                <a:cxn ang="0">
                  <a:pos x="109" y="955"/>
                </a:cxn>
                <a:cxn ang="0">
                  <a:pos x="35" y="891"/>
                </a:cxn>
                <a:cxn ang="0">
                  <a:pos x="46" y="874"/>
                </a:cxn>
                <a:cxn ang="0">
                  <a:pos x="20" y="812"/>
                </a:cxn>
                <a:cxn ang="0">
                  <a:pos x="0" y="729"/>
                </a:cxn>
                <a:cxn ang="0">
                  <a:pos x="5" y="675"/>
                </a:cxn>
                <a:cxn ang="0">
                  <a:pos x="39" y="602"/>
                </a:cxn>
                <a:cxn ang="0">
                  <a:pos x="94" y="564"/>
                </a:cxn>
                <a:cxn ang="0">
                  <a:pos x="136" y="250"/>
                </a:cxn>
                <a:cxn ang="0">
                  <a:pos x="153" y="234"/>
                </a:cxn>
                <a:cxn ang="0">
                  <a:pos x="749" y="102"/>
                </a:cxn>
                <a:cxn ang="0">
                  <a:pos x="750" y="115"/>
                </a:cxn>
                <a:cxn ang="0">
                  <a:pos x="775" y="78"/>
                </a:cxn>
                <a:cxn ang="0">
                  <a:pos x="814" y="30"/>
                </a:cxn>
                <a:cxn ang="0">
                  <a:pos x="881" y="0"/>
                </a:cxn>
                <a:cxn ang="0">
                  <a:pos x="912" y="39"/>
                </a:cxn>
                <a:cxn ang="0">
                  <a:pos x="972" y="95"/>
                </a:cxn>
                <a:cxn ang="0">
                  <a:pos x="978" y="157"/>
                </a:cxn>
                <a:cxn ang="0">
                  <a:pos x="997" y="206"/>
                </a:cxn>
                <a:cxn ang="0">
                  <a:pos x="1020" y="299"/>
                </a:cxn>
                <a:cxn ang="0">
                  <a:pos x="1013" y="322"/>
                </a:cxn>
                <a:cxn ang="0">
                  <a:pos x="1025" y="329"/>
                </a:cxn>
                <a:cxn ang="0">
                  <a:pos x="1087" y="372"/>
                </a:cxn>
                <a:cxn ang="0">
                  <a:pos x="1062" y="403"/>
                </a:cxn>
                <a:cxn ang="0">
                  <a:pos x="1002" y="460"/>
                </a:cxn>
                <a:cxn ang="0">
                  <a:pos x="997" y="500"/>
                </a:cxn>
                <a:cxn ang="0">
                  <a:pos x="979" y="588"/>
                </a:cxn>
                <a:cxn ang="0">
                  <a:pos x="985" y="636"/>
                </a:cxn>
                <a:cxn ang="0">
                  <a:pos x="971" y="696"/>
                </a:cxn>
                <a:cxn ang="0">
                  <a:pos x="953" y="740"/>
                </a:cxn>
                <a:cxn ang="0">
                  <a:pos x="905" y="800"/>
                </a:cxn>
                <a:cxn ang="0">
                  <a:pos x="888" y="872"/>
                </a:cxn>
                <a:cxn ang="0">
                  <a:pos x="856" y="897"/>
                </a:cxn>
                <a:cxn ang="0">
                  <a:pos x="837" y="918"/>
                </a:cxn>
                <a:cxn ang="0">
                  <a:pos x="835" y="1037"/>
                </a:cxn>
                <a:cxn ang="0">
                  <a:pos x="812" y="1062"/>
                </a:cxn>
                <a:cxn ang="0">
                  <a:pos x="764" y="1087"/>
                </a:cxn>
                <a:cxn ang="0">
                  <a:pos x="784" y="1126"/>
                </a:cxn>
                <a:cxn ang="0">
                  <a:pos x="837" y="1161"/>
                </a:cxn>
                <a:cxn ang="0">
                  <a:pos x="909" y="1259"/>
                </a:cxn>
                <a:cxn ang="0">
                  <a:pos x="941" y="1300"/>
                </a:cxn>
              </a:cxnLst>
              <a:rect l="0" t="0" r="r" b="b"/>
              <a:pathLst>
                <a:path w="1089" h="1409">
                  <a:moveTo>
                    <a:pt x="948" y="1326"/>
                  </a:moveTo>
                  <a:lnTo>
                    <a:pt x="948" y="1326"/>
                  </a:lnTo>
                  <a:lnTo>
                    <a:pt x="902" y="1328"/>
                  </a:lnTo>
                  <a:lnTo>
                    <a:pt x="902" y="1328"/>
                  </a:lnTo>
                  <a:lnTo>
                    <a:pt x="870" y="1330"/>
                  </a:lnTo>
                  <a:lnTo>
                    <a:pt x="854" y="1332"/>
                  </a:lnTo>
                  <a:lnTo>
                    <a:pt x="847" y="1333"/>
                  </a:lnTo>
                  <a:lnTo>
                    <a:pt x="844" y="1337"/>
                  </a:lnTo>
                  <a:lnTo>
                    <a:pt x="844" y="1337"/>
                  </a:lnTo>
                  <a:lnTo>
                    <a:pt x="838" y="1346"/>
                  </a:lnTo>
                  <a:lnTo>
                    <a:pt x="833" y="1358"/>
                  </a:lnTo>
                  <a:lnTo>
                    <a:pt x="830" y="1370"/>
                  </a:lnTo>
                  <a:lnTo>
                    <a:pt x="830" y="1381"/>
                  </a:lnTo>
                  <a:lnTo>
                    <a:pt x="830" y="1381"/>
                  </a:lnTo>
                  <a:lnTo>
                    <a:pt x="770" y="1393"/>
                  </a:lnTo>
                  <a:lnTo>
                    <a:pt x="706" y="1406"/>
                  </a:lnTo>
                  <a:lnTo>
                    <a:pt x="706" y="1406"/>
                  </a:lnTo>
                  <a:lnTo>
                    <a:pt x="662" y="1409"/>
                  </a:lnTo>
                  <a:lnTo>
                    <a:pt x="631" y="1409"/>
                  </a:lnTo>
                  <a:lnTo>
                    <a:pt x="618" y="1409"/>
                  </a:lnTo>
                  <a:lnTo>
                    <a:pt x="609" y="1407"/>
                  </a:lnTo>
                  <a:lnTo>
                    <a:pt x="609" y="1407"/>
                  </a:lnTo>
                  <a:lnTo>
                    <a:pt x="606" y="1402"/>
                  </a:lnTo>
                  <a:lnTo>
                    <a:pt x="595" y="1390"/>
                  </a:lnTo>
                  <a:lnTo>
                    <a:pt x="587" y="1383"/>
                  </a:lnTo>
                  <a:lnTo>
                    <a:pt x="574" y="1374"/>
                  </a:lnTo>
                  <a:lnTo>
                    <a:pt x="562" y="1369"/>
                  </a:lnTo>
                  <a:lnTo>
                    <a:pt x="546" y="1363"/>
                  </a:lnTo>
                  <a:lnTo>
                    <a:pt x="546" y="1363"/>
                  </a:lnTo>
                  <a:lnTo>
                    <a:pt x="532" y="1360"/>
                  </a:lnTo>
                  <a:lnTo>
                    <a:pt x="518" y="1358"/>
                  </a:lnTo>
                  <a:lnTo>
                    <a:pt x="497" y="1356"/>
                  </a:lnTo>
                  <a:lnTo>
                    <a:pt x="483" y="1358"/>
                  </a:lnTo>
                  <a:lnTo>
                    <a:pt x="479" y="1360"/>
                  </a:lnTo>
                  <a:lnTo>
                    <a:pt x="479" y="1360"/>
                  </a:lnTo>
                  <a:lnTo>
                    <a:pt x="474" y="1360"/>
                  </a:lnTo>
                  <a:lnTo>
                    <a:pt x="463" y="1360"/>
                  </a:lnTo>
                  <a:lnTo>
                    <a:pt x="449" y="1358"/>
                  </a:lnTo>
                  <a:lnTo>
                    <a:pt x="442" y="1356"/>
                  </a:lnTo>
                  <a:lnTo>
                    <a:pt x="437" y="1353"/>
                  </a:lnTo>
                  <a:lnTo>
                    <a:pt x="437" y="1353"/>
                  </a:lnTo>
                  <a:lnTo>
                    <a:pt x="381" y="1300"/>
                  </a:lnTo>
                  <a:lnTo>
                    <a:pt x="381" y="1300"/>
                  </a:lnTo>
                  <a:lnTo>
                    <a:pt x="363" y="1279"/>
                  </a:lnTo>
                  <a:lnTo>
                    <a:pt x="349" y="1261"/>
                  </a:lnTo>
                  <a:lnTo>
                    <a:pt x="338" y="1247"/>
                  </a:lnTo>
                  <a:lnTo>
                    <a:pt x="338" y="1247"/>
                  </a:lnTo>
                  <a:lnTo>
                    <a:pt x="331" y="1237"/>
                  </a:lnTo>
                  <a:lnTo>
                    <a:pt x="324" y="1229"/>
                  </a:lnTo>
                  <a:lnTo>
                    <a:pt x="314" y="1217"/>
                  </a:lnTo>
                  <a:lnTo>
                    <a:pt x="314" y="1217"/>
                  </a:lnTo>
                  <a:lnTo>
                    <a:pt x="300" y="1205"/>
                  </a:lnTo>
                  <a:lnTo>
                    <a:pt x="289" y="1196"/>
                  </a:lnTo>
                  <a:lnTo>
                    <a:pt x="289" y="1196"/>
                  </a:lnTo>
                  <a:lnTo>
                    <a:pt x="277" y="1175"/>
                  </a:lnTo>
                  <a:lnTo>
                    <a:pt x="266" y="1157"/>
                  </a:lnTo>
                  <a:lnTo>
                    <a:pt x="256" y="1141"/>
                  </a:lnTo>
                  <a:lnTo>
                    <a:pt x="256" y="1141"/>
                  </a:lnTo>
                  <a:lnTo>
                    <a:pt x="241" y="1129"/>
                  </a:lnTo>
                  <a:lnTo>
                    <a:pt x="226" y="1115"/>
                  </a:lnTo>
                  <a:lnTo>
                    <a:pt x="206" y="1104"/>
                  </a:lnTo>
                  <a:lnTo>
                    <a:pt x="187" y="1096"/>
                  </a:lnTo>
                  <a:lnTo>
                    <a:pt x="187" y="1096"/>
                  </a:lnTo>
                  <a:lnTo>
                    <a:pt x="176" y="1090"/>
                  </a:lnTo>
                  <a:lnTo>
                    <a:pt x="164" y="1083"/>
                  </a:lnTo>
                  <a:lnTo>
                    <a:pt x="145" y="1069"/>
                  </a:lnTo>
                  <a:lnTo>
                    <a:pt x="122" y="1052"/>
                  </a:lnTo>
                  <a:lnTo>
                    <a:pt x="122" y="1052"/>
                  </a:lnTo>
                  <a:lnTo>
                    <a:pt x="113" y="1046"/>
                  </a:lnTo>
                  <a:lnTo>
                    <a:pt x="106" y="1041"/>
                  </a:lnTo>
                  <a:lnTo>
                    <a:pt x="101" y="1036"/>
                  </a:lnTo>
                  <a:lnTo>
                    <a:pt x="101" y="1036"/>
                  </a:lnTo>
                  <a:lnTo>
                    <a:pt x="97" y="1030"/>
                  </a:lnTo>
                  <a:lnTo>
                    <a:pt x="95" y="1023"/>
                  </a:lnTo>
                  <a:lnTo>
                    <a:pt x="95" y="1015"/>
                  </a:lnTo>
                  <a:lnTo>
                    <a:pt x="99" y="1008"/>
                  </a:lnTo>
                  <a:lnTo>
                    <a:pt x="99" y="1008"/>
                  </a:lnTo>
                  <a:lnTo>
                    <a:pt x="113" y="983"/>
                  </a:lnTo>
                  <a:lnTo>
                    <a:pt x="113" y="983"/>
                  </a:lnTo>
                  <a:lnTo>
                    <a:pt x="116" y="981"/>
                  </a:lnTo>
                  <a:lnTo>
                    <a:pt x="118" y="978"/>
                  </a:lnTo>
                  <a:lnTo>
                    <a:pt x="120" y="972"/>
                  </a:lnTo>
                  <a:lnTo>
                    <a:pt x="118" y="969"/>
                  </a:lnTo>
                  <a:lnTo>
                    <a:pt x="115" y="962"/>
                  </a:lnTo>
                  <a:lnTo>
                    <a:pt x="109" y="955"/>
                  </a:lnTo>
                  <a:lnTo>
                    <a:pt x="109" y="955"/>
                  </a:lnTo>
                  <a:lnTo>
                    <a:pt x="90" y="937"/>
                  </a:lnTo>
                  <a:lnTo>
                    <a:pt x="65" y="916"/>
                  </a:lnTo>
                  <a:lnTo>
                    <a:pt x="35" y="891"/>
                  </a:lnTo>
                  <a:lnTo>
                    <a:pt x="35" y="891"/>
                  </a:lnTo>
                  <a:lnTo>
                    <a:pt x="39" y="891"/>
                  </a:lnTo>
                  <a:lnTo>
                    <a:pt x="42" y="886"/>
                  </a:lnTo>
                  <a:lnTo>
                    <a:pt x="44" y="882"/>
                  </a:lnTo>
                  <a:lnTo>
                    <a:pt x="46" y="879"/>
                  </a:lnTo>
                  <a:lnTo>
                    <a:pt x="46" y="874"/>
                  </a:lnTo>
                  <a:lnTo>
                    <a:pt x="44" y="867"/>
                  </a:lnTo>
                  <a:lnTo>
                    <a:pt x="44" y="867"/>
                  </a:lnTo>
                  <a:lnTo>
                    <a:pt x="37" y="851"/>
                  </a:lnTo>
                  <a:lnTo>
                    <a:pt x="28" y="831"/>
                  </a:lnTo>
                  <a:lnTo>
                    <a:pt x="20" y="812"/>
                  </a:lnTo>
                  <a:lnTo>
                    <a:pt x="13" y="796"/>
                  </a:lnTo>
                  <a:lnTo>
                    <a:pt x="13" y="796"/>
                  </a:lnTo>
                  <a:lnTo>
                    <a:pt x="7" y="779"/>
                  </a:lnTo>
                  <a:lnTo>
                    <a:pt x="4" y="759"/>
                  </a:lnTo>
                  <a:lnTo>
                    <a:pt x="0" y="729"/>
                  </a:lnTo>
                  <a:lnTo>
                    <a:pt x="0" y="729"/>
                  </a:lnTo>
                  <a:lnTo>
                    <a:pt x="0" y="708"/>
                  </a:lnTo>
                  <a:lnTo>
                    <a:pt x="2" y="690"/>
                  </a:lnTo>
                  <a:lnTo>
                    <a:pt x="5" y="675"/>
                  </a:lnTo>
                  <a:lnTo>
                    <a:pt x="5" y="675"/>
                  </a:lnTo>
                  <a:lnTo>
                    <a:pt x="13" y="655"/>
                  </a:lnTo>
                  <a:lnTo>
                    <a:pt x="23" y="634"/>
                  </a:lnTo>
                  <a:lnTo>
                    <a:pt x="32" y="615"/>
                  </a:lnTo>
                  <a:lnTo>
                    <a:pt x="39" y="602"/>
                  </a:lnTo>
                  <a:lnTo>
                    <a:pt x="39" y="602"/>
                  </a:lnTo>
                  <a:lnTo>
                    <a:pt x="46" y="594"/>
                  </a:lnTo>
                  <a:lnTo>
                    <a:pt x="60" y="581"/>
                  </a:lnTo>
                  <a:lnTo>
                    <a:pt x="78" y="569"/>
                  </a:lnTo>
                  <a:lnTo>
                    <a:pt x="85" y="565"/>
                  </a:lnTo>
                  <a:lnTo>
                    <a:pt x="94" y="564"/>
                  </a:lnTo>
                  <a:lnTo>
                    <a:pt x="90" y="264"/>
                  </a:lnTo>
                  <a:lnTo>
                    <a:pt x="90" y="264"/>
                  </a:lnTo>
                  <a:lnTo>
                    <a:pt x="108" y="257"/>
                  </a:lnTo>
                  <a:lnTo>
                    <a:pt x="123" y="254"/>
                  </a:lnTo>
                  <a:lnTo>
                    <a:pt x="136" y="250"/>
                  </a:lnTo>
                  <a:lnTo>
                    <a:pt x="136" y="250"/>
                  </a:lnTo>
                  <a:lnTo>
                    <a:pt x="145" y="248"/>
                  </a:lnTo>
                  <a:lnTo>
                    <a:pt x="148" y="247"/>
                  </a:lnTo>
                  <a:lnTo>
                    <a:pt x="150" y="243"/>
                  </a:lnTo>
                  <a:lnTo>
                    <a:pt x="153" y="234"/>
                  </a:lnTo>
                  <a:lnTo>
                    <a:pt x="155" y="222"/>
                  </a:lnTo>
                  <a:lnTo>
                    <a:pt x="155" y="222"/>
                  </a:lnTo>
                  <a:lnTo>
                    <a:pt x="150" y="90"/>
                  </a:lnTo>
                  <a:lnTo>
                    <a:pt x="699" y="79"/>
                  </a:lnTo>
                  <a:lnTo>
                    <a:pt x="749" y="102"/>
                  </a:lnTo>
                  <a:lnTo>
                    <a:pt x="749" y="102"/>
                  </a:lnTo>
                  <a:lnTo>
                    <a:pt x="747" y="111"/>
                  </a:lnTo>
                  <a:lnTo>
                    <a:pt x="747" y="113"/>
                  </a:lnTo>
                  <a:lnTo>
                    <a:pt x="749" y="115"/>
                  </a:lnTo>
                  <a:lnTo>
                    <a:pt x="750" y="115"/>
                  </a:lnTo>
                  <a:lnTo>
                    <a:pt x="754" y="111"/>
                  </a:lnTo>
                  <a:lnTo>
                    <a:pt x="754" y="111"/>
                  </a:lnTo>
                  <a:lnTo>
                    <a:pt x="763" y="100"/>
                  </a:lnTo>
                  <a:lnTo>
                    <a:pt x="770" y="88"/>
                  </a:lnTo>
                  <a:lnTo>
                    <a:pt x="775" y="78"/>
                  </a:lnTo>
                  <a:lnTo>
                    <a:pt x="780" y="67"/>
                  </a:lnTo>
                  <a:lnTo>
                    <a:pt x="780" y="67"/>
                  </a:lnTo>
                  <a:lnTo>
                    <a:pt x="793" y="53"/>
                  </a:lnTo>
                  <a:lnTo>
                    <a:pt x="801" y="42"/>
                  </a:lnTo>
                  <a:lnTo>
                    <a:pt x="814" y="30"/>
                  </a:lnTo>
                  <a:lnTo>
                    <a:pt x="828" y="19"/>
                  </a:lnTo>
                  <a:lnTo>
                    <a:pt x="844" y="9"/>
                  </a:lnTo>
                  <a:lnTo>
                    <a:pt x="861" y="2"/>
                  </a:lnTo>
                  <a:lnTo>
                    <a:pt x="870" y="0"/>
                  </a:lnTo>
                  <a:lnTo>
                    <a:pt x="881" y="0"/>
                  </a:lnTo>
                  <a:lnTo>
                    <a:pt x="881" y="0"/>
                  </a:lnTo>
                  <a:lnTo>
                    <a:pt x="891" y="16"/>
                  </a:lnTo>
                  <a:lnTo>
                    <a:pt x="902" y="28"/>
                  </a:lnTo>
                  <a:lnTo>
                    <a:pt x="912" y="39"/>
                  </a:lnTo>
                  <a:lnTo>
                    <a:pt x="912" y="39"/>
                  </a:lnTo>
                  <a:lnTo>
                    <a:pt x="928" y="49"/>
                  </a:lnTo>
                  <a:lnTo>
                    <a:pt x="946" y="65"/>
                  </a:lnTo>
                  <a:lnTo>
                    <a:pt x="962" y="81"/>
                  </a:lnTo>
                  <a:lnTo>
                    <a:pt x="969" y="88"/>
                  </a:lnTo>
                  <a:lnTo>
                    <a:pt x="972" y="95"/>
                  </a:lnTo>
                  <a:lnTo>
                    <a:pt x="972" y="95"/>
                  </a:lnTo>
                  <a:lnTo>
                    <a:pt x="974" y="100"/>
                  </a:lnTo>
                  <a:lnTo>
                    <a:pt x="974" y="111"/>
                  </a:lnTo>
                  <a:lnTo>
                    <a:pt x="976" y="132"/>
                  </a:lnTo>
                  <a:lnTo>
                    <a:pt x="978" y="157"/>
                  </a:lnTo>
                  <a:lnTo>
                    <a:pt x="981" y="169"/>
                  </a:lnTo>
                  <a:lnTo>
                    <a:pt x="985" y="180"/>
                  </a:lnTo>
                  <a:lnTo>
                    <a:pt x="985" y="180"/>
                  </a:lnTo>
                  <a:lnTo>
                    <a:pt x="992" y="194"/>
                  </a:lnTo>
                  <a:lnTo>
                    <a:pt x="997" y="206"/>
                  </a:lnTo>
                  <a:lnTo>
                    <a:pt x="1006" y="238"/>
                  </a:lnTo>
                  <a:lnTo>
                    <a:pt x="1006" y="238"/>
                  </a:lnTo>
                  <a:lnTo>
                    <a:pt x="1016" y="273"/>
                  </a:lnTo>
                  <a:lnTo>
                    <a:pt x="1020" y="287"/>
                  </a:lnTo>
                  <a:lnTo>
                    <a:pt x="1020" y="299"/>
                  </a:lnTo>
                  <a:lnTo>
                    <a:pt x="1020" y="299"/>
                  </a:lnTo>
                  <a:lnTo>
                    <a:pt x="1020" y="307"/>
                  </a:lnTo>
                  <a:lnTo>
                    <a:pt x="1018" y="312"/>
                  </a:lnTo>
                  <a:lnTo>
                    <a:pt x="1015" y="319"/>
                  </a:lnTo>
                  <a:lnTo>
                    <a:pt x="1013" y="322"/>
                  </a:lnTo>
                  <a:lnTo>
                    <a:pt x="1013" y="324"/>
                  </a:lnTo>
                  <a:lnTo>
                    <a:pt x="1015" y="326"/>
                  </a:lnTo>
                  <a:lnTo>
                    <a:pt x="1018" y="328"/>
                  </a:lnTo>
                  <a:lnTo>
                    <a:pt x="1018" y="328"/>
                  </a:lnTo>
                  <a:lnTo>
                    <a:pt x="1025" y="329"/>
                  </a:lnTo>
                  <a:lnTo>
                    <a:pt x="1036" y="335"/>
                  </a:lnTo>
                  <a:lnTo>
                    <a:pt x="1059" y="351"/>
                  </a:lnTo>
                  <a:lnTo>
                    <a:pt x="1089" y="372"/>
                  </a:lnTo>
                  <a:lnTo>
                    <a:pt x="1089" y="372"/>
                  </a:lnTo>
                  <a:lnTo>
                    <a:pt x="1087" y="372"/>
                  </a:lnTo>
                  <a:lnTo>
                    <a:pt x="1083" y="373"/>
                  </a:lnTo>
                  <a:lnTo>
                    <a:pt x="1078" y="377"/>
                  </a:lnTo>
                  <a:lnTo>
                    <a:pt x="1073" y="388"/>
                  </a:lnTo>
                  <a:lnTo>
                    <a:pt x="1073" y="388"/>
                  </a:lnTo>
                  <a:lnTo>
                    <a:pt x="1062" y="403"/>
                  </a:lnTo>
                  <a:lnTo>
                    <a:pt x="1043" y="425"/>
                  </a:lnTo>
                  <a:lnTo>
                    <a:pt x="1025" y="444"/>
                  </a:lnTo>
                  <a:lnTo>
                    <a:pt x="1011" y="454"/>
                  </a:lnTo>
                  <a:lnTo>
                    <a:pt x="1011" y="454"/>
                  </a:lnTo>
                  <a:lnTo>
                    <a:pt x="1002" y="460"/>
                  </a:lnTo>
                  <a:lnTo>
                    <a:pt x="999" y="465"/>
                  </a:lnTo>
                  <a:lnTo>
                    <a:pt x="997" y="474"/>
                  </a:lnTo>
                  <a:lnTo>
                    <a:pt x="997" y="490"/>
                  </a:lnTo>
                  <a:lnTo>
                    <a:pt x="997" y="490"/>
                  </a:lnTo>
                  <a:lnTo>
                    <a:pt x="997" y="500"/>
                  </a:lnTo>
                  <a:lnTo>
                    <a:pt x="995" y="511"/>
                  </a:lnTo>
                  <a:lnTo>
                    <a:pt x="988" y="539"/>
                  </a:lnTo>
                  <a:lnTo>
                    <a:pt x="983" y="567"/>
                  </a:lnTo>
                  <a:lnTo>
                    <a:pt x="981" y="578"/>
                  </a:lnTo>
                  <a:lnTo>
                    <a:pt x="979" y="588"/>
                  </a:lnTo>
                  <a:lnTo>
                    <a:pt x="979" y="588"/>
                  </a:lnTo>
                  <a:lnTo>
                    <a:pt x="981" y="604"/>
                  </a:lnTo>
                  <a:lnTo>
                    <a:pt x="983" y="615"/>
                  </a:lnTo>
                  <a:lnTo>
                    <a:pt x="985" y="625"/>
                  </a:lnTo>
                  <a:lnTo>
                    <a:pt x="985" y="636"/>
                  </a:lnTo>
                  <a:lnTo>
                    <a:pt x="985" y="636"/>
                  </a:lnTo>
                  <a:lnTo>
                    <a:pt x="983" y="650"/>
                  </a:lnTo>
                  <a:lnTo>
                    <a:pt x="978" y="668"/>
                  </a:lnTo>
                  <a:lnTo>
                    <a:pt x="972" y="685"/>
                  </a:lnTo>
                  <a:lnTo>
                    <a:pt x="971" y="696"/>
                  </a:lnTo>
                  <a:lnTo>
                    <a:pt x="969" y="708"/>
                  </a:lnTo>
                  <a:lnTo>
                    <a:pt x="969" y="708"/>
                  </a:lnTo>
                  <a:lnTo>
                    <a:pt x="967" y="719"/>
                  </a:lnTo>
                  <a:lnTo>
                    <a:pt x="962" y="729"/>
                  </a:lnTo>
                  <a:lnTo>
                    <a:pt x="953" y="740"/>
                  </a:lnTo>
                  <a:lnTo>
                    <a:pt x="942" y="750"/>
                  </a:lnTo>
                  <a:lnTo>
                    <a:pt x="921" y="773"/>
                  </a:lnTo>
                  <a:lnTo>
                    <a:pt x="912" y="786"/>
                  </a:lnTo>
                  <a:lnTo>
                    <a:pt x="905" y="800"/>
                  </a:lnTo>
                  <a:lnTo>
                    <a:pt x="905" y="800"/>
                  </a:lnTo>
                  <a:lnTo>
                    <a:pt x="902" y="812"/>
                  </a:lnTo>
                  <a:lnTo>
                    <a:pt x="898" y="824"/>
                  </a:lnTo>
                  <a:lnTo>
                    <a:pt x="895" y="845"/>
                  </a:lnTo>
                  <a:lnTo>
                    <a:pt x="891" y="865"/>
                  </a:lnTo>
                  <a:lnTo>
                    <a:pt x="888" y="872"/>
                  </a:lnTo>
                  <a:lnTo>
                    <a:pt x="884" y="881"/>
                  </a:lnTo>
                  <a:lnTo>
                    <a:pt x="884" y="881"/>
                  </a:lnTo>
                  <a:lnTo>
                    <a:pt x="877" y="886"/>
                  </a:lnTo>
                  <a:lnTo>
                    <a:pt x="870" y="891"/>
                  </a:lnTo>
                  <a:lnTo>
                    <a:pt x="856" y="897"/>
                  </a:lnTo>
                  <a:lnTo>
                    <a:pt x="849" y="898"/>
                  </a:lnTo>
                  <a:lnTo>
                    <a:pt x="844" y="904"/>
                  </a:lnTo>
                  <a:lnTo>
                    <a:pt x="838" y="909"/>
                  </a:lnTo>
                  <a:lnTo>
                    <a:pt x="837" y="918"/>
                  </a:lnTo>
                  <a:lnTo>
                    <a:pt x="837" y="918"/>
                  </a:lnTo>
                  <a:lnTo>
                    <a:pt x="837" y="946"/>
                  </a:lnTo>
                  <a:lnTo>
                    <a:pt x="838" y="979"/>
                  </a:lnTo>
                  <a:lnTo>
                    <a:pt x="838" y="1015"/>
                  </a:lnTo>
                  <a:lnTo>
                    <a:pt x="837" y="1027"/>
                  </a:lnTo>
                  <a:lnTo>
                    <a:pt x="835" y="1037"/>
                  </a:lnTo>
                  <a:lnTo>
                    <a:pt x="835" y="1037"/>
                  </a:lnTo>
                  <a:lnTo>
                    <a:pt x="831" y="1045"/>
                  </a:lnTo>
                  <a:lnTo>
                    <a:pt x="826" y="1052"/>
                  </a:lnTo>
                  <a:lnTo>
                    <a:pt x="819" y="1057"/>
                  </a:lnTo>
                  <a:lnTo>
                    <a:pt x="812" y="1062"/>
                  </a:lnTo>
                  <a:lnTo>
                    <a:pt x="794" y="1071"/>
                  </a:lnTo>
                  <a:lnTo>
                    <a:pt x="777" y="1078"/>
                  </a:lnTo>
                  <a:lnTo>
                    <a:pt x="777" y="1078"/>
                  </a:lnTo>
                  <a:lnTo>
                    <a:pt x="770" y="1082"/>
                  </a:lnTo>
                  <a:lnTo>
                    <a:pt x="764" y="1087"/>
                  </a:lnTo>
                  <a:lnTo>
                    <a:pt x="761" y="1092"/>
                  </a:lnTo>
                  <a:lnTo>
                    <a:pt x="761" y="1101"/>
                  </a:lnTo>
                  <a:lnTo>
                    <a:pt x="764" y="1108"/>
                  </a:lnTo>
                  <a:lnTo>
                    <a:pt x="772" y="1117"/>
                  </a:lnTo>
                  <a:lnTo>
                    <a:pt x="784" y="1126"/>
                  </a:lnTo>
                  <a:lnTo>
                    <a:pt x="801" y="1134"/>
                  </a:lnTo>
                  <a:lnTo>
                    <a:pt x="801" y="1134"/>
                  </a:lnTo>
                  <a:lnTo>
                    <a:pt x="810" y="1140"/>
                  </a:lnTo>
                  <a:lnTo>
                    <a:pt x="819" y="1147"/>
                  </a:lnTo>
                  <a:lnTo>
                    <a:pt x="837" y="1161"/>
                  </a:lnTo>
                  <a:lnTo>
                    <a:pt x="851" y="1178"/>
                  </a:lnTo>
                  <a:lnTo>
                    <a:pt x="863" y="1196"/>
                  </a:lnTo>
                  <a:lnTo>
                    <a:pt x="886" y="1233"/>
                  </a:lnTo>
                  <a:lnTo>
                    <a:pt x="898" y="1247"/>
                  </a:lnTo>
                  <a:lnTo>
                    <a:pt x="909" y="1259"/>
                  </a:lnTo>
                  <a:lnTo>
                    <a:pt x="909" y="1259"/>
                  </a:lnTo>
                  <a:lnTo>
                    <a:pt x="921" y="1270"/>
                  </a:lnTo>
                  <a:lnTo>
                    <a:pt x="930" y="1281"/>
                  </a:lnTo>
                  <a:lnTo>
                    <a:pt x="935" y="1289"/>
                  </a:lnTo>
                  <a:lnTo>
                    <a:pt x="941" y="1300"/>
                  </a:lnTo>
                  <a:lnTo>
                    <a:pt x="946" y="1316"/>
                  </a:lnTo>
                  <a:lnTo>
                    <a:pt x="948" y="1326"/>
                  </a:lnTo>
                  <a:lnTo>
                    <a:pt x="948" y="13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5" name="Freeform 49">
              <a:extLst>
                <a:ext uri="{FF2B5EF4-FFF2-40B4-BE49-F238E27FC236}">
                  <a16:creationId xmlns:a16="http://schemas.microsoft.com/office/drawing/2014/main" id="{E7825386-CF65-4F86-8062-C8637187030E}"/>
                </a:ext>
              </a:extLst>
            </p:cNvPr>
            <p:cNvSpPr>
              <a:spLocks/>
            </p:cNvSpPr>
            <p:nvPr/>
          </p:nvSpPr>
          <p:spPr bwMode="auto">
            <a:xfrm>
              <a:off x="6114876" y="3280190"/>
              <a:ext cx="622810" cy="895847"/>
            </a:xfrm>
            <a:custGeom>
              <a:avLst/>
              <a:gdLst/>
              <a:ahLst/>
              <a:cxnLst>
                <a:cxn ang="0">
                  <a:pos x="44" y="988"/>
                </a:cxn>
                <a:cxn ang="0">
                  <a:pos x="28" y="974"/>
                </a:cxn>
                <a:cxn ang="0">
                  <a:pos x="11" y="949"/>
                </a:cxn>
                <a:cxn ang="0">
                  <a:pos x="2" y="926"/>
                </a:cxn>
                <a:cxn ang="0">
                  <a:pos x="9" y="694"/>
                </a:cxn>
                <a:cxn ang="0">
                  <a:pos x="28" y="671"/>
                </a:cxn>
                <a:cxn ang="0">
                  <a:pos x="69" y="632"/>
                </a:cxn>
                <a:cxn ang="0">
                  <a:pos x="88" y="601"/>
                </a:cxn>
                <a:cxn ang="0">
                  <a:pos x="118" y="597"/>
                </a:cxn>
                <a:cxn ang="0">
                  <a:pos x="141" y="583"/>
                </a:cxn>
                <a:cxn ang="0">
                  <a:pos x="160" y="549"/>
                </a:cxn>
                <a:cxn ang="0">
                  <a:pos x="183" y="541"/>
                </a:cxn>
                <a:cxn ang="0">
                  <a:pos x="245" y="523"/>
                </a:cxn>
                <a:cxn ang="0">
                  <a:pos x="382" y="393"/>
                </a:cxn>
                <a:cxn ang="0">
                  <a:pos x="439" y="329"/>
                </a:cxn>
                <a:cxn ang="0">
                  <a:pos x="463" y="305"/>
                </a:cxn>
                <a:cxn ang="0">
                  <a:pos x="467" y="294"/>
                </a:cxn>
                <a:cxn ang="0">
                  <a:pos x="446" y="287"/>
                </a:cxn>
                <a:cxn ang="0">
                  <a:pos x="388" y="284"/>
                </a:cxn>
                <a:cxn ang="0">
                  <a:pos x="307" y="257"/>
                </a:cxn>
                <a:cxn ang="0">
                  <a:pos x="224" y="213"/>
                </a:cxn>
                <a:cxn ang="0">
                  <a:pos x="164" y="155"/>
                </a:cxn>
                <a:cxn ang="0">
                  <a:pos x="145" y="134"/>
                </a:cxn>
                <a:cxn ang="0">
                  <a:pos x="132" y="99"/>
                </a:cxn>
                <a:cxn ang="0">
                  <a:pos x="141" y="74"/>
                </a:cxn>
                <a:cxn ang="0">
                  <a:pos x="183" y="104"/>
                </a:cxn>
                <a:cxn ang="0">
                  <a:pos x="227" y="136"/>
                </a:cxn>
                <a:cxn ang="0">
                  <a:pos x="255" y="136"/>
                </a:cxn>
                <a:cxn ang="0">
                  <a:pos x="292" y="113"/>
                </a:cxn>
                <a:cxn ang="0">
                  <a:pos x="329" y="95"/>
                </a:cxn>
                <a:cxn ang="0">
                  <a:pos x="388" y="93"/>
                </a:cxn>
                <a:cxn ang="0">
                  <a:pos x="416" y="79"/>
                </a:cxn>
                <a:cxn ang="0">
                  <a:pos x="444" y="58"/>
                </a:cxn>
                <a:cxn ang="0">
                  <a:pos x="520" y="49"/>
                </a:cxn>
                <a:cxn ang="0">
                  <a:pos x="601" y="30"/>
                </a:cxn>
                <a:cxn ang="0">
                  <a:pos x="645" y="11"/>
                </a:cxn>
                <a:cxn ang="0">
                  <a:pos x="669" y="0"/>
                </a:cxn>
                <a:cxn ang="0">
                  <a:pos x="689" y="11"/>
                </a:cxn>
                <a:cxn ang="0">
                  <a:pos x="692" y="60"/>
                </a:cxn>
                <a:cxn ang="0">
                  <a:pos x="690" y="99"/>
                </a:cxn>
                <a:cxn ang="0">
                  <a:pos x="696" y="111"/>
                </a:cxn>
                <a:cxn ang="0">
                  <a:pos x="687" y="109"/>
                </a:cxn>
                <a:cxn ang="0">
                  <a:pos x="682" y="121"/>
                </a:cxn>
                <a:cxn ang="0">
                  <a:pos x="655" y="210"/>
                </a:cxn>
                <a:cxn ang="0">
                  <a:pos x="636" y="266"/>
                </a:cxn>
                <a:cxn ang="0">
                  <a:pos x="618" y="292"/>
                </a:cxn>
                <a:cxn ang="0">
                  <a:pos x="608" y="319"/>
                </a:cxn>
                <a:cxn ang="0">
                  <a:pos x="599" y="382"/>
                </a:cxn>
                <a:cxn ang="0">
                  <a:pos x="481" y="560"/>
                </a:cxn>
                <a:cxn ang="0">
                  <a:pos x="125" y="907"/>
                </a:cxn>
                <a:cxn ang="0">
                  <a:pos x="100" y="946"/>
                </a:cxn>
                <a:cxn ang="0">
                  <a:pos x="56" y="1000"/>
                </a:cxn>
              </a:cxnLst>
              <a:rect l="0" t="0" r="r" b="b"/>
              <a:pathLst>
                <a:path w="697" h="1004">
                  <a:moveTo>
                    <a:pt x="48" y="1004"/>
                  </a:moveTo>
                  <a:lnTo>
                    <a:pt x="48" y="1004"/>
                  </a:lnTo>
                  <a:lnTo>
                    <a:pt x="48" y="995"/>
                  </a:lnTo>
                  <a:lnTo>
                    <a:pt x="44" y="988"/>
                  </a:lnTo>
                  <a:lnTo>
                    <a:pt x="42" y="985"/>
                  </a:lnTo>
                  <a:lnTo>
                    <a:pt x="39" y="983"/>
                  </a:lnTo>
                  <a:lnTo>
                    <a:pt x="39" y="983"/>
                  </a:lnTo>
                  <a:lnTo>
                    <a:pt x="28" y="974"/>
                  </a:lnTo>
                  <a:lnTo>
                    <a:pt x="18" y="962"/>
                  </a:lnTo>
                  <a:lnTo>
                    <a:pt x="18" y="962"/>
                  </a:lnTo>
                  <a:lnTo>
                    <a:pt x="14" y="955"/>
                  </a:lnTo>
                  <a:lnTo>
                    <a:pt x="11" y="949"/>
                  </a:lnTo>
                  <a:lnTo>
                    <a:pt x="9" y="942"/>
                  </a:lnTo>
                  <a:lnTo>
                    <a:pt x="4" y="935"/>
                  </a:lnTo>
                  <a:lnTo>
                    <a:pt x="4" y="935"/>
                  </a:lnTo>
                  <a:lnTo>
                    <a:pt x="2" y="926"/>
                  </a:lnTo>
                  <a:lnTo>
                    <a:pt x="0" y="909"/>
                  </a:lnTo>
                  <a:lnTo>
                    <a:pt x="0" y="858"/>
                  </a:lnTo>
                  <a:lnTo>
                    <a:pt x="2" y="787"/>
                  </a:lnTo>
                  <a:lnTo>
                    <a:pt x="9" y="694"/>
                  </a:lnTo>
                  <a:lnTo>
                    <a:pt x="9" y="694"/>
                  </a:lnTo>
                  <a:lnTo>
                    <a:pt x="12" y="685"/>
                  </a:lnTo>
                  <a:lnTo>
                    <a:pt x="19" y="678"/>
                  </a:lnTo>
                  <a:lnTo>
                    <a:pt x="28" y="671"/>
                  </a:lnTo>
                  <a:lnTo>
                    <a:pt x="28" y="671"/>
                  </a:lnTo>
                  <a:lnTo>
                    <a:pt x="41" y="662"/>
                  </a:lnTo>
                  <a:lnTo>
                    <a:pt x="53" y="650"/>
                  </a:lnTo>
                  <a:lnTo>
                    <a:pt x="69" y="632"/>
                  </a:lnTo>
                  <a:lnTo>
                    <a:pt x="69" y="632"/>
                  </a:lnTo>
                  <a:lnTo>
                    <a:pt x="74" y="625"/>
                  </a:lnTo>
                  <a:lnTo>
                    <a:pt x="81" y="615"/>
                  </a:lnTo>
                  <a:lnTo>
                    <a:pt x="88" y="601"/>
                  </a:lnTo>
                  <a:lnTo>
                    <a:pt x="88" y="601"/>
                  </a:lnTo>
                  <a:lnTo>
                    <a:pt x="95" y="601"/>
                  </a:lnTo>
                  <a:lnTo>
                    <a:pt x="109" y="599"/>
                  </a:lnTo>
                  <a:lnTo>
                    <a:pt x="118" y="597"/>
                  </a:lnTo>
                  <a:lnTo>
                    <a:pt x="127" y="595"/>
                  </a:lnTo>
                  <a:lnTo>
                    <a:pt x="134" y="590"/>
                  </a:lnTo>
                  <a:lnTo>
                    <a:pt x="141" y="583"/>
                  </a:lnTo>
                  <a:lnTo>
                    <a:pt x="141" y="583"/>
                  </a:lnTo>
                  <a:lnTo>
                    <a:pt x="148" y="571"/>
                  </a:lnTo>
                  <a:lnTo>
                    <a:pt x="152" y="560"/>
                  </a:lnTo>
                  <a:lnTo>
                    <a:pt x="155" y="553"/>
                  </a:lnTo>
                  <a:lnTo>
                    <a:pt x="160" y="549"/>
                  </a:lnTo>
                  <a:lnTo>
                    <a:pt x="166" y="546"/>
                  </a:lnTo>
                  <a:lnTo>
                    <a:pt x="166" y="546"/>
                  </a:lnTo>
                  <a:lnTo>
                    <a:pt x="174" y="542"/>
                  </a:lnTo>
                  <a:lnTo>
                    <a:pt x="183" y="541"/>
                  </a:lnTo>
                  <a:lnTo>
                    <a:pt x="206" y="535"/>
                  </a:lnTo>
                  <a:lnTo>
                    <a:pt x="229" y="530"/>
                  </a:lnTo>
                  <a:lnTo>
                    <a:pt x="238" y="528"/>
                  </a:lnTo>
                  <a:lnTo>
                    <a:pt x="245" y="523"/>
                  </a:lnTo>
                  <a:lnTo>
                    <a:pt x="245" y="523"/>
                  </a:lnTo>
                  <a:lnTo>
                    <a:pt x="273" y="498"/>
                  </a:lnTo>
                  <a:lnTo>
                    <a:pt x="321" y="454"/>
                  </a:lnTo>
                  <a:lnTo>
                    <a:pt x="382" y="393"/>
                  </a:lnTo>
                  <a:lnTo>
                    <a:pt x="382" y="393"/>
                  </a:lnTo>
                  <a:lnTo>
                    <a:pt x="409" y="365"/>
                  </a:lnTo>
                  <a:lnTo>
                    <a:pt x="428" y="343"/>
                  </a:lnTo>
                  <a:lnTo>
                    <a:pt x="439" y="329"/>
                  </a:lnTo>
                  <a:lnTo>
                    <a:pt x="439" y="329"/>
                  </a:lnTo>
                  <a:lnTo>
                    <a:pt x="446" y="322"/>
                  </a:lnTo>
                  <a:lnTo>
                    <a:pt x="453" y="313"/>
                  </a:lnTo>
                  <a:lnTo>
                    <a:pt x="463" y="305"/>
                  </a:lnTo>
                  <a:lnTo>
                    <a:pt x="463" y="305"/>
                  </a:lnTo>
                  <a:lnTo>
                    <a:pt x="465" y="301"/>
                  </a:lnTo>
                  <a:lnTo>
                    <a:pt x="467" y="298"/>
                  </a:lnTo>
                  <a:lnTo>
                    <a:pt x="467" y="294"/>
                  </a:lnTo>
                  <a:lnTo>
                    <a:pt x="467" y="291"/>
                  </a:lnTo>
                  <a:lnTo>
                    <a:pt x="463" y="289"/>
                  </a:lnTo>
                  <a:lnTo>
                    <a:pt x="456" y="287"/>
                  </a:lnTo>
                  <a:lnTo>
                    <a:pt x="446" y="287"/>
                  </a:lnTo>
                  <a:lnTo>
                    <a:pt x="446" y="287"/>
                  </a:lnTo>
                  <a:lnTo>
                    <a:pt x="432" y="289"/>
                  </a:lnTo>
                  <a:lnTo>
                    <a:pt x="417" y="289"/>
                  </a:lnTo>
                  <a:lnTo>
                    <a:pt x="388" y="284"/>
                  </a:lnTo>
                  <a:lnTo>
                    <a:pt x="358" y="276"/>
                  </a:lnTo>
                  <a:lnTo>
                    <a:pt x="333" y="268"/>
                  </a:lnTo>
                  <a:lnTo>
                    <a:pt x="333" y="268"/>
                  </a:lnTo>
                  <a:lnTo>
                    <a:pt x="307" y="257"/>
                  </a:lnTo>
                  <a:lnTo>
                    <a:pt x="275" y="241"/>
                  </a:lnTo>
                  <a:lnTo>
                    <a:pt x="245" y="225"/>
                  </a:lnTo>
                  <a:lnTo>
                    <a:pt x="224" y="213"/>
                  </a:lnTo>
                  <a:lnTo>
                    <a:pt x="224" y="213"/>
                  </a:lnTo>
                  <a:lnTo>
                    <a:pt x="206" y="201"/>
                  </a:lnTo>
                  <a:lnTo>
                    <a:pt x="190" y="185"/>
                  </a:lnTo>
                  <a:lnTo>
                    <a:pt x="176" y="169"/>
                  </a:lnTo>
                  <a:lnTo>
                    <a:pt x="164" y="155"/>
                  </a:lnTo>
                  <a:lnTo>
                    <a:pt x="164" y="155"/>
                  </a:lnTo>
                  <a:lnTo>
                    <a:pt x="157" y="146"/>
                  </a:lnTo>
                  <a:lnTo>
                    <a:pt x="150" y="141"/>
                  </a:lnTo>
                  <a:lnTo>
                    <a:pt x="145" y="134"/>
                  </a:lnTo>
                  <a:lnTo>
                    <a:pt x="139" y="123"/>
                  </a:lnTo>
                  <a:lnTo>
                    <a:pt x="139" y="123"/>
                  </a:lnTo>
                  <a:lnTo>
                    <a:pt x="136" y="109"/>
                  </a:lnTo>
                  <a:lnTo>
                    <a:pt x="132" y="99"/>
                  </a:lnTo>
                  <a:lnTo>
                    <a:pt x="132" y="90"/>
                  </a:lnTo>
                  <a:lnTo>
                    <a:pt x="132" y="83"/>
                  </a:lnTo>
                  <a:lnTo>
                    <a:pt x="132" y="83"/>
                  </a:lnTo>
                  <a:lnTo>
                    <a:pt x="141" y="74"/>
                  </a:lnTo>
                  <a:lnTo>
                    <a:pt x="146" y="69"/>
                  </a:lnTo>
                  <a:lnTo>
                    <a:pt x="146" y="69"/>
                  </a:lnTo>
                  <a:lnTo>
                    <a:pt x="166" y="88"/>
                  </a:lnTo>
                  <a:lnTo>
                    <a:pt x="183" y="104"/>
                  </a:lnTo>
                  <a:lnTo>
                    <a:pt x="201" y="118"/>
                  </a:lnTo>
                  <a:lnTo>
                    <a:pt x="201" y="118"/>
                  </a:lnTo>
                  <a:lnTo>
                    <a:pt x="215" y="129"/>
                  </a:lnTo>
                  <a:lnTo>
                    <a:pt x="227" y="136"/>
                  </a:lnTo>
                  <a:lnTo>
                    <a:pt x="233" y="139"/>
                  </a:lnTo>
                  <a:lnTo>
                    <a:pt x="240" y="139"/>
                  </a:lnTo>
                  <a:lnTo>
                    <a:pt x="247" y="139"/>
                  </a:lnTo>
                  <a:lnTo>
                    <a:pt x="255" y="136"/>
                  </a:lnTo>
                  <a:lnTo>
                    <a:pt x="255" y="136"/>
                  </a:lnTo>
                  <a:lnTo>
                    <a:pt x="266" y="132"/>
                  </a:lnTo>
                  <a:lnTo>
                    <a:pt x="275" y="127"/>
                  </a:lnTo>
                  <a:lnTo>
                    <a:pt x="292" y="113"/>
                  </a:lnTo>
                  <a:lnTo>
                    <a:pt x="310" y="102"/>
                  </a:lnTo>
                  <a:lnTo>
                    <a:pt x="319" y="97"/>
                  </a:lnTo>
                  <a:lnTo>
                    <a:pt x="329" y="95"/>
                  </a:lnTo>
                  <a:lnTo>
                    <a:pt x="329" y="95"/>
                  </a:lnTo>
                  <a:lnTo>
                    <a:pt x="347" y="95"/>
                  </a:lnTo>
                  <a:lnTo>
                    <a:pt x="361" y="97"/>
                  </a:lnTo>
                  <a:lnTo>
                    <a:pt x="379" y="95"/>
                  </a:lnTo>
                  <a:lnTo>
                    <a:pt x="388" y="93"/>
                  </a:lnTo>
                  <a:lnTo>
                    <a:pt x="398" y="90"/>
                  </a:lnTo>
                  <a:lnTo>
                    <a:pt x="398" y="90"/>
                  </a:lnTo>
                  <a:lnTo>
                    <a:pt x="409" y="84"/>
                  </a:lnTo>
                  <a:lnTo>
                    <a:pt x="416" y="79"/>
                  </a:lnTo>
                  <a:lnTo>
                    <a:pt x="428" y="70"/>
                  </a:lnTo>
                  <a:lnTo>
                    <a:pt x="435" y="63"/>
                  </a:lnTo>
                  <a:lnTo>
                    <a:pt x="444" y="58"/>
                  </a:lnTo>
                  <a:lnTo>
                    <a:pt x="444" y="58"/>
                  </a:lnTo>
                  <a:lnTo>
                    <a:pt x="451" y="56"/>
                  </a:lnTo>
                  <a:lnTo>
                    <a:pt x="461" y="55"/>
                  </a:lnTo>
                  <a:lnTo>
                    <a:pt x="488" y="53"/>
                  </a:lnTo>
                  <a:lnTo>
                    <a:pt x="520" y="49"/>
                  </a:lnTo>
                  <a:lnTo>
                    <a:pt x="535" y="47"/>
                  </a:lnTo>
                  <a:lnTo>
                    <a:pt x="550" y="44"/>
                  </a:lnTo>
                  <a:lnTo>
                    <a:pt x="550" y="44"/>
                  </a:lnTo>
                  <a:lnTo>
                    <a:pt x="601" y="30"/>
                  </a:lnTo>
                  <a:lnTo>
                    <a:pt x="618" y="26"/>
                  </a:lnTo>
                  <a:lnTo>
                    <a:pt x="629" y="23"/>
                  </a:lnTo>
                  <a:lnTo>
                    <a:pt x="629" y="23"/>
                  </a:lnTo>
                  <a:lnTo>
                    <a:pt x="645" y="11"/>
                  </a:lnTo>
                  <a:lnTo>
                    <a:pt x="653" y="5"/>
                  </a:lnTo>
                  <a:lnTo>
                    <a:pt x="660" y="2"/>
                  </a:lnTo>
                  <a:lnTo>
                    <a:pt x="660" y="2"/>
                  </a:lnTo>
                  <a:lnTo>
                    <a:pt x="669" y="0"/>
                  </a:lnTo>
                  <a:lnTo>
                    <a:pt x="675" y="0"/>
                  </a:lnTo>
                  <a:lnTo>
                    <a:pt x="680" y="2"/>
                  </a:lnTo>
                  <a:lnTo>
                    <a:pt x="683" y="5"/>
                  </a:lnTo>
                  <a:lnTo>
                    <a:pt x="689" y="11"/>
                  </a:lnTo>
                  <a:lnTo>
                    <a:pt x="692" y="19"/>
                  </a:lnTo>
                  <a:lnTo>
                    <a:pt x="692" y="33"/>
                  </a:lnTo>
                  <a:lnTo>
                    <a:pt x="692" y="33"/>
                  </a:lnTo>
                  <a:lnTo>
                    <a:pt x="692" y="60"/>
                  </a:lnTo>
                  <a:lnTo>
                    <a:pt x="690" y="81"/>
                  </a:lnTo>
                  <a:lnTo>
                    <a:pt x="689" y="93"/>
                  </a:lnTo>
                  <a:lnTo>
                    <a:pt x="690" y="97"/>
                  </a:lnTo>
                  <a:lnTo>
                    <a:pt x="690" y="99"/>
                  </a:lnTo>
                  <a:lnTo>
                    <a:pt x="690" y="99"/>
                  </a:lnTo>
                  <a:lnTo>
                    <a:pt x="696" y="104"/>
                  </a:lnTo>
                  <a:lnTo>
                    <a:pt x="697" y="107"/>
                  </a:lnTo>
                  <a:lnTo>
                    <a:pt x="696" y="111"/>
                  </a:lnTo>
                  <a:lnTo>
                    <a:pt x="696" y="111"/>
                  </a:lnTo>
                  <a:lnTo>
                    <a:pt x="692" y="113"/>
                  </a:lnTo>
                  <a:lnTo>
                    <a:pt x="690" y="113"/>
                  </a:lnTo>
                  <a:lnTo>
                    <a:pt x="687" y="109"/>
                  </a:lnTo>
                  <a:lnTo>
                    <a:pt x="685" y="109"/>
                  </a:lnTo>
                  <a:lnTo>
                    <a:pt x="683" y="111"/>
                  </a:lnTo>
                  <a:lnTo>
                    <a:pt x="682" y="121"/>
                  </a:lnTo>
                  <a:lnTo>
                    <a:pt x="682" y="121"/>
                  </a:lnTo>
                  <a:lnTo>
                    <a:pt x="678" y="143"/>
                  </a:lnTo>
                  <a:lnTo>
                    <a:pt x="671" y="167"/>
                  </a:lnTo>
                  <a:lnTo>
                    <a:pt x="662" y="190"/>
                  </a:lnTo>
                  <a:lnTo>
                    <a:pt x="655" y="210"/>
                  </a:lnTo>
                  <a:lnTo>
                    <a:pt x="655" y="210"/>
                  </a:lnTo>
                  <a:lnTo>
                    <a:pt x="648" y="227"/>
                  </a:lnTo>
                  <a:lnTo>
                    <a:pt x="641" y="248"/>
                  </a:lnTo>
                  <a:lnTo>
                    <a:pt x="636" y="266"/>
                  </a:lnTo>
                  <a:lnTo>
                    <a:pt x="631" y="276"/>
                  </a:lnTo>
                  <a:lnTo>
                    <a:pt x="631" y="276"/>
                  </a:lnTo>
                  <a:lnTo>
                    <a:pt x="625" y="284"/>
                  </a:lnTo>
                  <a:lnTo>
                    <a:pt x="618" y="292"/>
                  </a:lnTo>
                  <a:lnTo>
                    <a:pt x="611" y="303"/>
                  </a:lnTo>
                  <a:lnTo>
                    <a:pt x="609" y="310"/>
                  </a:lnTo>
                  <a:lnTo>
                    <a:pt x="608" y="319"/>
                  </a:lnTo>
                  <a:lnTo>
                    <a:pt x="608" y="319"/>
                  </a:lnTo>
                  <a:lnTo>
                    <a:pt x="608" y="336"/>
                  </a:lnTo>
                  <a:lnTo>
                    <a:pt x="606" y="356"/>
                  </a:lnTo>
                  <a:lnTo>
                    <a:pt x="602" y="373"/>
                  </a:lnTo>
                  <a:lnTo>
                    <a:pt x="599" y="382"/>
                  </a:lnTo>
                  <a:lnTo>
                    <a:pt x="594" y="393"/>
                  </a:lnTo>
                  <a:lnTo>
                    <a:pt x="594" y="393"/>
                  </a:lnTo>
                  <a:lnTo>
                    <a:pt x="530" y="486"/>
                  </a:lnTo>
                  <a:lnTo>
                    <a:pt x="481" y="560"/>
                  </a:lnTo>
                  <a:lnTo>
                    <a:pt x="333" y="719"/>
                  </a:lnTo>
                  <a:lnTo>
                    <a:pt x="139" y="888"/>
                  </a:lnTo>
                  <a:lnTo>
                    <a:pt x="139" y="888"/>
                  </a:lnTo>
                  <a:lnTo>
                    <a:pt x="125" y="907"/>
                  </a:lnTo>
                  <a:lnTo>
                    <a:pt x="115" y="921"/>
                  </a:lnTo>
                  <a:lnTo>
                    <a:pt x="108" y="932"/>
                  </a:lnTo>
                  <a:lnTo>
                    <a:pt x="108" y="932"/>
                  </a:lnTo>
                  <a:lnTo>
                    <a:pt x="100" y="946"/>
                  </a:lnTo>
                  <a:lnTo>
                    <a:pt x="85" y="969"/>
                  </a:lnTo>
                  <a:lnTo>
                    <a:pt x="74" y="981"/>
                  </a:lnTo>
                  <a:lnTo>
                    <a:pt x="65" y="992"/>
                  </a:lnTo>
                  <a:lnTo>
                    <a:pt x="56" y="1000"/>
                  </a:lnTo>
                  <a:lnTo>
                    <a:pt x="48" y="1004"/>
                  </a:lnTo>
                  <a:lnTo>
                    <a:pt x="48" y="10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6" name="Freeform 50">
              <a:extLst>
                <a:ext uri="{FF2B5EF4-FFF2-40B4-BE49-F238E27FC236}">
                  <a16:creationId xmlns:a16="http://schemas.microsoft.com/office/drawing/2014/main" id="{E65CD55B-FA4E-441B-BB8C-615CB9D2E945}"/>
                </a:ext>
              </a:extLst>
            </p:cNvPr>
            <p:cNvSpPr>
              <a:spLocks/>
            </p:cNvSpPr>
            <p:nvPr/>
          </p:nvSpPr>
          <p:spPr bwMode="auto">
            <a:xfrm>
              <a:off x="5627693" y="3130288"/>
              <a:ext cx="902986" cy="712039"/>
            </a:xfrm>
            <a:custGeom>
              <a:avLst/>
              <a:gdLst/>
              <a:ahLst/>
              <a:cxnLst>
                <a:cxn ang="0">
                  <a:pos x="213" y="53"/>
                </a:cxn>
                <a:cxn ang="0">
                  <a:pos x="210" y="84"/>
                </a:cxn>
                <a:cxn ang="0">
                  <a:pos x="171" y="134"/>
                </a:cxn>
                <a:cxn ang="0">
                  <a:pos x="145" y="172"/>
                </a:cxn>
                <a:cxn ang="0">
                  <a:pos x="129" y="246"/>
                </a:cxn>
                <a:cxn ang="0">
                  <a:pos x="99" y="266"/>
                </a:cxn>
                <a:cxn ang="0">
                  <a:pos x="81" y="278"/>
                </a:cxn>
                <a:cxn ang="0">
                  <a:pos x="76" y="326"/>
                </a:cxn>
                <a:cxn ang="0">
                  <a:pos x="76" y="408"/>
                </a:cxn>
                <a:cxn ang="0">
                  <a:pos x="53" y="433"/>
                </a:cxn>
                <a:cxn ang="0">
                  <a:pos x="13" y="449"/>
                </a:cxn>
                <a:cxn ang="0">
                  <a:pos x="0" y="468"/>
                </a:cxn>
                <a:cxn ang="0">
                  <a:pos x="14" y="490"/>
                </a:cxn>
                <a:cxn ang="0">
                  <a:pos x="67" y="523"/>
                </a:cxn>
                <a:cxn ang="0">
                  <a:pos x="108" y="572"/>
                </a:cxn>
                <a:cxn ang="0">
                  <a:pos x="150" y="630"/>
                </a:cxn>
                <a:cxn ang="0">
                  <a:pos x="180" y="664"/>
                </a:cxn>
                <a:cxn ang="0">
                  <a:pos x="189" y="697"/>
                </a:cxn>
                <a:cxn ang="0">
                  <a:pos x="234" y="697"/>
                </a:cxn>
                <a:cxn ang="0">
                  <a:pos x="275" y="724"/>
                </a:cxn>
                <a:cxn ang="0">
                  <a:pos x="321" y="755"/>
                </a:cxn>
                <a:cxn ang="0">
                  <a:pos x="375" y="784"/>
                </a:cxn>
                <a:cxn ang="0">
                  <a:pos x="425" y="798"/>
                </a:cxn>
                <a:cxn ang="0">
                  <a:pos x="490" y="782"/>
                </a:cxn>
                <a:cxn ang="0">
                  <a:pos x="562" y="766"/>
                </a:cxn>
                <a:cxn ang="0">
                  <a:pos x="606" y="766"/>
                </a:cxn>
                <a:cxn ang="0">
                  <a:pos x="634" y="770"/>
                </a:cxn>
                <a:cxn ang="0">
                  <a:pos x="680" y="759"/>
                </a:cxn>
                <a:cxn ang="0">
                  <a:pos x="703" y="724"/>
                </a:cxn>
                <a:cxn ang="0">
                  <a:pos x="719" y="711"/>
                </a:cxn>
                <a:cxn ang="0">
                  <a:pos x="779" y="699"/>
                </a:cxn>
                <a:cxn ang="0">
                  <a:pos x="849" y="637"/>
                </a:cxn>
                <a:cxn ang="0">
                  <a:pos x="1009" y="468"/>
                </a:cxn>
                <a:cxn ang="0">
                  <a:pos x="1007" y="458"/>
                </a:cxn>
                <a:cxn ang="0">
                  <a:pos x="974" y="456"/>
                </a:cxn>
                <a:cxn ang="0">
                  <a:pos x="870" y="431"/>
                </a:cxn>
                <a:cxn ang="0">
                  <a:pos x="784" y="391"/>
                </a:cxn>
                <a:cxn ang="0">
                  <a:pos x="743" y="359"/>
                </a:cxn>
                <a:cxn ang="0">
                  <a:pos x="691" y="303"/>
                </a:cxn>
                <a:cxn ang="0">
                  <a:pos x="682" y="273"/>
                </a:cxn>
                <a:cxn ang="0">
                  <a:pos x="689" y="239"/>
                </a:cxn>
                <a:cxn ang="0">
                  <a:pos x="654" y="257"/>
                </a:cxn>
                <a:cxn ang="0">
                  <a:pos x="604" y="259"/>
                </a:cxn>
                <a:cxn ang="0">
                  <a:pos x="587" y="245"/>
                </a:cxn>
                <a:cxn ang="0">
                  <a:pos x="587" y="194"/>
                </a:cxn>
                <a:cxn ang="0">
                  <a:pos x="608" y="153"/>
                </a:cxn>
                <a:cxn ang="0">
                  <a:pos x="601" y="141"/>
                </a:cxn>
                <a:cxn ang="0">
                  <a:pos x="548" y="106"/>
                </a:cxn>
                <a:cxn ang="0">
                  <a:pos x="534" y="79"/>
                </a:cxn>
                <a:cxn ang="0">
                  <a:pos x="513" y="63"/>
                </a:cxn>
                <a:cxn ang="0">
                  <a:pos x="451" y="44"/>
                </a:cxn>
                <a:cxn ang="0">
                  <a:pos x="400" y="12"/>
                </a:cxn>
                <a:cxn ang="0">
                  <a:pos x="365" y="2"/>
                </a:cxn>
                <a:cxn ang="0">
                  <a:pos x="294" y="2"/>
                </a:cxn>
                <a:cxn ang="0">
                  <a:pos x="248" y="9"/>
                </a:cxn>
                <a:cxn ang="0">
                  <a:pos x="226" y="2"/>
                </a:cxn>
              </a:cxnLst>
              <a:rect l="0" t="0" r="r" b="b"/>
              <a:pathLst>
                <a:path w="1011" h="798">
                  <a:moveTo>
                    <a:pt x="226" y="2"/>
                  </a:moveTo>
                  <a:lnTo>
                    <a:pt x="226" y="2"/>
                  </a:lnTo>
                  <a:lnTo>
                    <a:pt x="222" y="21"/>
                  </a:lnTo>
                  <a:lnTo>
                    <a:pt x="213" y="53"/>
                  </a:lnTo>
                  <a:lnTo>
                    <a:pt x="213" y="53"/>
                  </a:lnTo>
                  <a:lnTo>
                    <a:pt x="212" y="63"/>
                  </a:lnTo>
                  <a:lnTo>
                    <a:pt x="212" y="74"/>
                  </a:lnTo>
                  <a:lnTo>
                    <a:pt x="210" y="84"/>
                  </a:lnTo>
                  <a:lnTo>
                    <a:pt x="208" y="90"/>
                  </a:lnTo>
                  <a:lnTo>
                    <a:pt x="208" y="90"/>
                  </a:lnTo>
                  <a:lnTo>
                    <a:pt x="194" y="107"/>
                  </a:lnTo>
                  <a:lnTo>
                    <a:pt x="171" y="134"/>
                  </a:lnTo>
                  <a:lnTo>
                    <a:pt x="171" y="134"/>
                  </a:lnTo>
                  <a:lnTo>
                    <a:pt x="160" y="146"/>
                  </a:lnTo>
                  <a:lnTo>
                    <a:pt x="152" y="158"/>
                  </a:lnTo>
                  <a:lnTo>
                    <a:pt x="145" y="172"/>
                  </a:lnTo>
                  <a:lnTo>
                    <a:pt x="141" y="190"/>
                  </a:lnTo>
                  <a:lnTo>
                    <a:pt x="141" y="190"/>
                  </a:lnTo>
                  <a:lnTo>
                    <a:pt x="134" y="231"/>
                  </a:lnTo>
                  <a:lnTo>
                    <a:pt x="129" y="246"/>
                  </a:lnTo>
                  <a:lnTo>
                    <a:pt x="125" y="252"/>
                  </a:lnTo>
                  <a:lnTo>
                    <a:pt x="122" y="255"/>
                  </a:lnTo>
                  <a:lnTo>
                    <a:pt x="122" y="255"/>
                  </a:lnTo>
                  <a:lnTo>
                    <a:pt x="99" y="266"/>
                  </a:lnTo>
                  <a:lnTo>
                    <a:pt x="88" y="271"/>
                  </a:lnTo>
                  <a:lnTo>
                    <a:pt x="83" y="275"/>
                  </a:lnTo>
                  <a:lnTo>
                    <a:pt x="83" y="275"/>
                  </a:lnTo>
                  <a:lnTo>
                    <a:pt x="81" y="278"/>
                  </a:lnTo>
                  <a:lnTo>
                    <a:pt x="78" y="287"/>
                  </a:lnTo>
                  <a:lnTo>
                    <a:pt x="76" y="303"/>
                  </a:lnTo>
                  <a:lnTo>
                    <a:pt x="76" y="326"/>
                  </a:lnTo>
                  <a:lnTo>
                    <a:pt x="76" y="326"/>
                  </a:lnTo>
                  <a:lnTo>
                    <a:pt x="79" y="377"/>
                  </a:lnTo>
                  <a:lnTo>
                    <a:pt x="79" y="396"/>
                  </a:lnTo>
                  <a:lnTo>
                    <a:pt x="79" y="403"/>
                  </a:lnTo>
                  <a:lnTo>
                    <a:pt x="76" y="408"/>
                  </a:lnTo>
                  <a:lnTo>
                    <a:pt x="76" y="408"/>
                  </a:lnTo>
                  <a:lnTo>
                    <a:pt x="71" y="417"/>
                  </a:lnTo>
                  <a:lnTo>
                    <a:pt x="64" y="424"/>
                  </a:lnTo>
                  <a:lnTo>
                    <a:pt x="53" y="433"/>
                  </a:lnTo>
                  <a:lnTo>
                    <a:pt x="37" y="438"/>
                  </a:lnTo>
                  <a:lnTo>
                    <a:pt x="37" y="438"/>
                  </a:lnTo>
                  <a:lnTo>
                    <a:pt x="20" y="445"/>
                  </a:lnTo>
                  <a:lnTo>
                    <a:pt x="13" y="449"/>
                  </a:lnTo>
                  <a:lnTo>
                    <a:pt x="7" y="454"/>
                  </a:lnTo>
                  <a:lnTo>
                    <a:pt x="4" y="458"/>
                  </a:lnTo>
                  <a:lnTo>
                    <a:pt x="0" y="463"/>
                  </a:lnTo>
                  <a:lnTo>
                    <a:pt x="0" y="468"/>
                  </a:lnTo>
                  <a:lnTo>
                    <a:pt x="2" y="475"/>
                  </a:lnTo>
                  <a:lnTo>
                    <a:pt x="2" y="475"/>
                  </a:lnTo>
                  <a:lnTo>
                    <a:pt x="7" y="482"/>
                  </a:lnTo>
                  <a:lnTo>
                    <a:pt x="14" y="490"/>
                  </a:lnTo>
                  <a:lnTo>
                    <a:pt x="34" y="502"/>
                  </a:lnTo>
                  <a:lnTo>
                    <a:pt x="60" y="518"/>
                  </a:lnTo>
                  <a:lnTo>
                    <a:pt x="60" y="518"/>
                  </a:lnTo>
                  <a:lnTo>
                    <a:pt x="67" y="523"/>
                  </a:lnTo>
                  <a:lnTo>
                    <a:pt x="79" y="537"/>
                  </a:lnTo>
                  <a:lnTo>
                    <a:pt x="95" y="553"/>
                  </a:lnTo>
                  <a:lnTo>
                    <a:pt x="101" y="563"/>
                  </a:lnTo>
                  <a:lnTo>
                    <a:pt x="108" y="572"/>
                  </a:lnTo>
                  <a:lnTo>
                    <a:pt x="108" y="572"/>
                  </a:lnTo>
                  <a:lnTo>
                    <a:pt x="118" y="592"/>
                  </a:lnTo>
                  <a:lnTo>
                    <a:pt x="131" y="608"/>
                  </a:lnTo>
                  <a:lnTo>
                    <a:pt x="150" y="630"/>
                  </a:lnTo>
                  <a:lnTo>
                    <a:pt x="150" y="630"/>
                  </a:lnTo>
                  <a:lnTo>
                    <a:pt x="160" y="641"/>
                  </a:lnTo>
                  <a:lnTo>
                    <a:pt x="175" y="655"/>
                  </a:lnTo>
                  <a:lnTo>
                    <a:pt x="180" y="664"/>
                  </a:lnTo>
                  <a:lnTo>
                    <a:pt x="185" y="674"/>
                  </a:lnTo>
                  <a:lnTo>
                    <a:pt x="187" y="685"/>
                  </a:lnTo>
                  <a:lnTo>
                    <a:pt x="189" y="697"/>
                  </a:lnTo>
                  <a:lnTo>
                    <a:pt x="189" y="697"/>
                  </a:lnTo>
                  <a:lnTo>
                    <a:pt x="194" y="696"/>
                  </a:lnTo>
                  <a:lnTo>
                    <a:pt x="208" y="696"/>
                  </a:lnTo>
                  <a:lnTo>
                    <a:pt x="226" y="696"/>
                  </a:lnTo>
                  <a:lnTo>
                    <a:pt x="234" y="697"/>
                  </a:lnTo>
                  <a:lnTo>
                    <a:pt x="241" y="701"/>
                  </a:lnTo>
                  <a:lnTo>
                    <a:pt x="241" y="701"/>
                  </a:lnTo>
                  <a:lnTo>
                    <a:pt x="257" y="711"/>
                  </a:lnTo>
                  <a:lnTo>
                    <a:pt x="275" y="724"/>
                  </a:lnTo>
                  <a:lnTo>
                    <a:pt x="293" y="738"/>
                  </a:lnTo>
                  <a:lnTo>
                    <a:pt x="307" y="747"/>
                  </a:lnTo>
                  <a:lnTo>
                    <a:pt x="307" y="747"/>
                  </a:lnTo>
                  <a:lnTo>
                    <a:pt x="321" y="755"/>
                  </a:lnTo>
                  <a:lnTo>
                    <a:pt x="335" y="764"/>
                  </a:lnTo>
                  <a:lnTo>
                    <a:pt x="354" y="775"/>
                  </a:lnTo>
                  <a:lnTo>
                    <a:pt x="365" y="780"/>
                  </a:lnTo>
                  <a:lnTo>
                    <a:pt x="375" y="784"/>
                  </a:lnTo>
                  <a:lnTo>
                    <a:pt x="375" y="784"/>
                  </a:lnTo>
                  <a:lnTo>
                    <a:pt x="405" y="794"/>
                  </a:lnTo>
                  <a:lnTo>
                    <a:pt x="414" y="796"/>
                  </a:lnTo>
                  <a:lnTo>
                    <a:pt x="425" y="798"/>
                  </a:lnTo>
                  <a:lnTo>
                    <a:pt x="425" y="798"/>
                  </a:lnTo>
                  <a:lnTo>
                    <a:pt x="444" y="794"/>
                  </a:lnTo>
                  <a:lnTo>
                    <a:pt x="467" y="789"/>
                  </a:lnTo>
                  <a:lnTo>
                    <a:pt x="490" y="782"/>
                  </a:lnTo>
                  <a:lnTo>
                    <a:pt x="504" y="778"/>
                  </a:lnTo>
                  <a:lnTo>
                    <a:pt x="504" y="778"/>
                  </a:lnTo>
                  <a:lnTo>
                    <a:pt x="537" y="771"/>
                  </a:lnTo>
                  <a:lnTo>
                    <a:pt x="562" y="766"/>
                  </a:lnTo>
                  <a:lnTo>
                    <a:pt x="574" y="766"/>
                  </a:lnTo>
                  <a:lnTo>
                    <a:pt x="587" y="766"/>
                  </a:lnTo>
                  <a:lnTo>
                    <a:pt x="587" y="766"/>
                  </a:lnTo>
                  <a:lnTo>
                    <a:pt x="606" y="766"/>
                  </a:lnTo>
                  <a:lnTo>
                    <a:pt x="618" y="764"/>
                  </a:lnTo>
                  <a:lnTo>
                    <a:pt x="627" y="764"/>
                  </a:lnTo>
                  <a:lnTo>
                    <a:pt x="634" y="770"/>
                  </a:lnTo>
                  <a:lnTo>
                    <a:pt x="634" y="770"/>
                  </a:lnTo>
                  <a:lnTo>
                    <a:pt x="654" y="768"/>
                  </a:lnTo>
                  <a:lnTo>
                    <a:pt x="668" y="766"/>
                  </a:lnTo>
                  <a:lnTo>
                    <a:pt x="675" y="763"/>
                  </a:lnTo>
                  <a:lnTo>
                    <a:pt x="680" y="759"/>
                  </a:lnTo>
                  <a:lnTo>
                    <a:pt x="680" y="759"/>
                  </a:lnTo>
                  <a:lnTo>
                    <a:pt x="689" y="750"/>
                  </a:lnTo>
                  <a:lnTo>
                    <a:pt x="696" y="736"/>
                  </a:lnTo>
                  <a:lnTo>
                    <a:pt x="703" y="724"/>
                  </a:lnTo>
                  <a:lnTo>
                    <a:pt x="706" y="718"/>
                  </a:lnTo>
                  <a:lnTo>
                    <a:pt x="712" y="715"/>
                  </a:lnTo>
                  <a:lnTo>
                    <a:pt x="712" y="715"/>
                  </a:lnTo>
                  <a:lnTo>
                    <a:pt x="719" y="711"/>
                  </a:lnTo>
                  <a:lnTo>
                    <a:pt x="727" y="710"/>
                  </a:lnTo>
                  <a:lnTo>
                    <a:pt x="749" y="706"/>
                  </a:lnTo>
                  <a:lnTo>
                    <a:pt x="770" y="703"/>
                  </a:lnTo>
                  <a:lnTo>
                    <a:pt x="779" y="699"/>
                  </a:lnTo>
                  <a:lnTo>
                    <a:pt x="786" y="696"/>
                  </a:lnTo>
                  <a:lnTo>
                    <a:pt x="786" y="696"/>
                  </a:lnTo>
                  <a:lnTo>
                    <a:pt x="810" y="674"/>
                  </a:lnTo>
                  <a:lnTo>
                    <a:pt x="849" y="637"/>
                  </a:lnTo>
                  <a:lnTo>
                    <a:pt x="904" y="585"/>
                  </a:lnTo>
                  <a:lnTo>
                    <a:pt x="985" y="498"/>
                  </a:lnTo>
                  <a:lnTo>
                    <a:pt x="1009" y="468"/>
                  </a:lnTo>
                  <a:lnTo>
                    <a:pt x="1009" y="468"/>
                  </a:lnTo>
                  <a:lnTo>
                    <a:pt x="1011" y="467"/>
                  </a:lnTo>
                  <a:lnTo>
                    <a:pt x="1011" y="461"/>
                  </a:lnTo>
                  <a:lnTo>
                    <a:pt x="1011" y="460"/>
                  </a:lnTo>
                  <a:lnTo>
                    <a:pt x="1007" y="458"/>
                  </a:lnTo>
                  <a:lnTo>
                    <a:pt x="1004" y="456"/>
                  </a:lnTo>
                  <a:lnTo>
                    <a:pt x="995" y="456"/>
                  </a:lnTo>
                  <a:lnTo>
                    <a:pt x="995" y="456"/>
                  </a:lnTo>
                  <a:lnTo>
                    <a:pt x="974" y="456"/>
                  </a:lnTo>
                  <a:lnTo>
                    <a:pt x="946" y="453"/>
                  </a:lnTo>
                  <a:lnTo>
                    <a:pt x="911" y="445"/>
                  </a:lnTo>
                  <a:lnTo>
                    <a:pt x="891" y="440"/>
                  </a:lnTo>
                  <a:lnTo>
                    <a:pt x="870" y="431"/>
                  </a:lnTo>
                  <a:lnTo>
                    <a:pt x="870" y="431"/>
                  </a:lnTo>
                  <a:lnTo>
                    <a:pt x="833" y="416"/>
                  </a:lnTo>
                  <a:lnTo>
                    <a:pt x="805" y="403"/>
                  </a:lnTo>
                  <a:lnTo>
                    <a:pt x="784" y="391"/>
                  </a:lnTo>
                  <a:lnTo>
                    <a:pt x="770" y="382"/>
                  </a:lnTo>
                  <a:lnTo>
                    <a:pt x="770" y="382"/>
                  </a:lnTo>
                  <a:lnTo>
                    <a:pt x="756" y="373"/>
                  </a:lnTo>
                  <a:lnTo>
                    <a:pt x="743" y="359"/>
                  </a:lnTo>
                  <a:lnTo>
                    <a:pt x="726" y="342"/>
                  </a:lnTo>
                  <a:lnTo>
                    <a:pt x="726" y="342"/>
                  </a:lnTo>
                  <a:lnTo>
                    <a:pt x="710" y="326"/>
                  </a:lnTo>
                  <a:lnTo>
                    <a:pt x="691" y="303"/>
                  </a:lnTo>
                  <a:lnTo>
                    <a:pt x="691" y="303"/>
                  </a:lnTo>
                  <a:lnTo>
                    <a:pt x="687" y="298"/>
                  </a:lnTo>
                  <a:lnTo>
                    <a:pt x="685" y="289"/>
                  </a:lnTo>
                  <a:lnTo>
                    <a:pt x="682" y="273"/>
                  </a:lnTo>
                  <a:lnTo>
                    <a:pt x="678" y="252"/>
                  </a:lnTo>
                  <a:lnTo>
                    <a:pt x="692" y="238"/>
                  </a:lnTo>
                  <a:lnTo>
                    <a:pt x="692" y="238"/>
                  </a:lnTo>
                  <a:lnTo>
                    <a:pt x="689" y="239"/>
                  </a:lnTo>
                  <a:lnTo>
                    <a:pt x="680" y="246"/>
                  </a:lnTo>
                  <a:lnTo>
                    <a:pt x="668" y="253"/>
                  </a:lnTo>
                  <a:lnTo>
                    <a:pt x="662" y="257"/>
                  </a:lnTo>
                  <a:lnTo>
                    <a:pt x="654" y="257"/>
                  </a:lnTo>
                  <a:lnTo>
                    <a:pt x="654" y="257"/>
                  </a:lnTo>
                  <a:lnTo>
                    <a:pt x="636" y="259"/>
                  </a:lnTo>
                  <a:lnTo>
                    <a:pt x="615" y="261"/>
                  </a:lnTo>
                  <a:lnTo>
                    <a:pt x="604" y="259"/>
                  </a:lnTo>
                  <a:lnTo>
                    <a:pt x="597" y="257"/>
                  </a:lnTo>
                  <a:lnTo>
                    <a:pt x="590" y="252"/>
                  </a:lnTo>
                  <a:lnTo>
                    <a:pt x="588" y="248"/>
                  </a:lnTo>
                  <a:lnTo>
                    <a:pt x="587" y="245"/>
                  </a:lnTo>
                  <a:lnTo>
                    <a:pt x="587" y="245"/>
                  </a:lnTo>
                  <a:lnTo>
                    <a:pt x="583" y="225"/>
                  </a:lnTo>
                  <a:lnTo>
                    <a:pt x="583" y="208"/>
                  </a:lnTo>
                  <a:lnTo>
                    <a:pt x="587" y="194"/>
                  </a:lnTo>
                  <a:lnTo>
                    <a:pt x="592" y="181"/>
                  </a:lnTo>
                  <a:lnTo>
                    <a:pt x="592" y="181"/>
                  </a:lnTo>
                  <a:lnTo>
                    <a:pt x="604" y="160"/>
                  </a:lnTo>
                  <a:lnTo>
                    <a:pt x="608" y="153"/>
                  </a:lnTo>
                  <a:lnTo>
                    <a:pt x="608" y="148"/>
                  </a:lnTo>
                  <a:lnTo>
                    <a:pt x="608" y="148"/>
                  </a:lnTo>
                  <a:lnTo>
                    <a:pt x="606" y="146"/>
                  </a:lnTo>
                  <a:lnTo>
                    <a:pt x="601" y="141"/>
                  </a:lnTo>
                  <a:lnTo>
                    <a:pt x="583" y="130"/>
                  </a:lnTo>
                  <a:lnTo>
                    <a:pt x="564" y="116"/>
                  </a:lnTo>
                  <a:lnTo>
                    <a:pt x="548" y="106"/>
                  </a:lnTo>
                  <a:lnTo>
                    <a:pt x="548" y="106"/>
                  </a:lnTo>
                  <a:lnTo>
                    <a:pt x="544" y="100"/>
                  </a:lnTo>
                  <a:lnTo>
                    <a:pt x="541" y="95"/>
                  </a:lnTo>
                  <a:lnTo>
                    <a:pt x="537" y="84"/>
                  </a:lnTo>
                  <a:lnTo>
                    <a:pt x="534" y="79"/>
                  </a:lnTo>
                  <a:lnTo>
                    <a:pt x="528" y="74"/>
                  </a:lnTo>
                  <a:lnTo>
                    <a:pt x="521" y="69"/>
                  </a:lnTo>
                  <a:lnTo>
                    <a:pt x="513" y="63"/>
                  </a:lnTo>
                  <a:lnTo>
                    <a:pt x="513" y="63"/>
                  </a:lnTo>
                  <a:lnTo>
                    <a:pt x="493" y="56"/>
                  </a:lnTo>
                  <a:lnTo>
                    <a:pt x="477" y="53"/>
                  </a:lnTo>
                  <a:lnTo>
                    <a:pt x="462" y="49"/>
                  </a:lnTo>
                  <a:lnTo>
                    <a:pt x="451" y="44"/>
                  </a:lnTo>
                  <a:lnTo>
                    <a:pt x="440" y="37"/>
                  </a:lnTo>
                  <a:lnTo>
                    <a:pt x="440" y="37"/>
                  </a:lnTo>
                  <a:lnTo>
                    <a:pt x="419" y="23"/>
                  </a:lnTo>
                  <a:lnTo>
                    <a:pt x="400" y="12"/>
                  </a:lnTo>
                  <a:lnTo>
                    <a:pt x="391" y="7"/>
                  </a:lnTo>
                  <a:lnTo>
                    <a:pt x="384" y="5"/>
                  </a:lnTo>
                  <a:lnTo>
                    <a:pt x="374" y="3"/>
                  </a:lnTo>
                  <a:lnTo>
                    <a:pt x="365" y="2"/>
                  </a:lnTo>
                  <a:lnTo>
                    <a:pt x="365" y="2"/>
                  </a:lnTo>
                  <a:lnTo>
                    <a:pt x="324" y="0"/>
                  </a:lnTo>
                  <a:lnTo>
                    <a:pt x="307" y="0"/>
                  </a:lnTo>
                  <a:lnTo>
                    <a:pt x="294" y="2"/>
                  </a:lnTo>
                  <a:lnTo>
                    <a:pt x="294" y="2"/>
                  </a:lnTo>
                  <a:lnTo>
                    <a:pt x="280" y="5"/>
                  </a:lnTo>
                  <a:lnTo>
                    <a:pt x="259" y="9"/>
                  </a:lnTo>
                  <a:lnTo>
                    <a:pt x="248" y="9"/>
                  </a:lnTo>
                  <a:lnTo>
                    <a:pt x="240" y="9"/>
                  </a:lnTo>
                  <a:lnTo>
                    <a:pt x="231" y="5"/>
                  </a:lnTo>
                  <a:lnTo>
                    <a:pt x="226" y="2"/>
                  </a:lnTo>
                  <a:lnTo>
                    <a:pt x="226"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7" name="Freeform 51">
              <a:extLst>
                <a:ext uri="{FF2B5EF4-FFF2-40B4-BE49-F238E27FC236}">
                  <a16:creationId xmlns:a16="http://schemas.microsoft.com/office/drawing/2014/main" id="{2AA1A210-976A-46DF-882B-A6CF7B4F70B2}"/>
                </a:ext>
              </a:extLst>
            </p:cNvPr>
            <p:cNvSpPr>
              <a:spLocks/>
            </p:cNvSpPr>
            <p:nvPr/>
          </p:nvSpPr>
          <p:spPr bwMode="auto">
            <a:xfrm>
              <a:off x="5823994" y="2900079"/>
              <a:ext cx="387248" cy="362266"/>
            </a:xfrm>
            <a:custGeom>
              <a:avLst/>
              <a:gdLst/>
              <a:ahLst/>
              <a:cxnLst>
                <a:cxn ang="0">
                  <a:pos x="106" y="1"/>
                </a:cxn>
                <a:cxn ang="0">
                  <a:pos x="94" y="16"/>
                </a:cxn>
                <a:cxn ang="0">
                  <a:pos x="57" y="63"/>
                </a:cxn>
                <a:cxn ang="0">
                  <a:pos x="36" y="77"/>
                </a:cxn>
                <a:cxn ang="0">
                  <a:pos x="23" y="90"/>
                </a:cxn>
                <a:cxn ang="0">
                  <a:pos x="18" y="118"/>
                </a:cxn>
                <a:cxn ang="0">
                  <a:pos x="13" y="144"/>
                </a:cxn>
                <a:cxn ang="0">
                  <a:pos x="7" y="171"/>
                </a:cxn>
                <a:cxn ang="0">
                  <a:pos x="0" y="225"/>
                </a:cxn>
                <a:cxn ang="0">
                  <a:pos x="6" y="264"/>
                </a:cxn>
                <a:cxn ang="0">
                  <a:pos x="43" y="267"/>
                </a:cxn>
                <a:cxn ang="0">
                  <a:pos x="60" y="264"/>
                </a:cxn>
                <a:cxn ang="0">
                  <a:pos x="106" y="259"/>
                </a:cxn>
                <a:cxn ang="0">
                  <a:pos x="155" y="260"/>
                </a:cxn>
                <a:cxn ang="0">
                  <a:pos x="203" y="283"/>
                </a:cxn>
                <a:cxn ang="0">
                  <a:pos x="236" y="303"/>
                </a:cxn>
                <a:cxn ang="0">
                  <a:pos x="273" y="315"/>
                </a:cxn>
                <a:cxn ang="0">
                  <a:pos x="300" y="326"/>
                </a:cxn>
                <a:cxn ang="0">
                  <a:pos x="319" y="343"/>
                </a:cxn>
                <a:cxn ang="0">
                  <a:pos x="326" y="357"/>
                </a:cxn>
                <a:cxn ang="0">
                  <a:pos x="368" y="391"/>
                </a:cxn>
                <a:cxn ang="0">
                  <a:pos x="398" y="405"/>
                </a:cxn>
                <a:cxn ang="0">
                  <a:pos x="412" y="396"/>
                </a:cxn>
                <a:cxn ang="0">
                  <a:pos x="426" y="378"/>
                </a:cxn>
                <a:cxn ang="0">
                  <a:pos x="434" y="363"/>
                </a:cxn>
                <a:cxn ang="0">
                  <a:pos x="426" y="355"/>
                </a:cxn>
                <a:cxn ang="0">
                  <a:pos x="388" y="340"/>
                </a:cxn>
                <a:cxn ang="0">
                  <a:pos x="358" y="322"/>
                </a:cxn>
                <a:cxn ang="0">
                  <a:pos x="347" y="308"/>
                </a:cxn>
                <a:cxn ang="0">
                  <a:pos x="323" y="266"/>
                </a:cxn>
                <a:cxn ang="0">
                  <a:pos x="310" y="259"/>
                </a:cxn>
                <a:cxn ang="0">
                  <a:pos x="286" y="255"/>
                </a:cxn>
                <a:cxn ang="0">
                  <a:pos x="272" y="246"/>
                </a:cxn>
                <a:cxn ang="0">
                  <a:pos x="263" y="229"/>
                </a:cxn>
                <a:cxn ang="0">
                  <a:pos x="250" y="216"/>
                </a:cxn>
                <a:cxn ang="0">
                  <a:pos x="227" y="195"/>
                </a:cxn>
                <a:cxn ang="0">
                  <a:pos x="220" y="195"/>
                </a:cxn>
                <a:cxn ang="0">
                  <a:pos x="210" y="202"/>
                </a:cxn>
                <a:cxn ang="0">
                  <a:pos x="196" y="204"/>
                </a:cxn>
                <a:cxn ang="0">
                  <a:pos x="187" y="192"/>
                </a:cxn>
                <a:cxn ang="0">
                  <a:pos x="175" y="153"/>
                </a:cxn>
                <a:cxn ang="0">
                  <a:pos x="166" y="109"/>
                </a:cxn>
                <a:cxn ang="0">
                  <a:pos x="141" y="45"/>
                </a:cxn>
                <a:cxn ang="0">
                  <a:pos x="117" y="8"/>
                </a:cxn>
              </a:cxnLst>
              <a:rect l="0" t="0" r="r" b="b"/>
              <a:pathLst>
                <a:path w="434" h="405">
                  <a:moveTo>
                    <a:pt x="110" y="0"/>
                  </a:moveTo>
                  <a:lnTo>
                    <a:pt x="110" y="0"/>
                  </a:lnTo>
                  <a:lnTo>
                    <a:pt x="106" y="1"/>
                  </a:lnTo>
                  <a:lnTo>
                    <a:pt x="101" y="5"/>
                  </a:lnTo>
                  <a:lnTo>
                    <a:pt x="94" y="16"/>
                  </a:lnTo>
                  <a:lnTo>
                    <a:pt x="94" y="16"/>
                  </a:lnTo>
                  <a:lnTo>
                    <a:pt x="74" y="42"/>
                  </a:lnTo>
                  <a:lnTo>
                    <a:pt x="65" y="54"/>
                  </a:lnTo>
                  <a:lnTo>
                    <a:pt x="57" y="63"/>
                  </a:lnTo>
                  <a:lnTo>
                    <a:pt x="57" y="63"/>
                  </a:lnTo>
                  <a:lnTo>
                    <a:pt x="46" y="70"/>
                  </a:lnTo>
                  <a:lnTo>
                    <a:pt x="36" y="77"/>
                  </a:lnTo>
                  <a:lnTo>
                    <a:pt x="27" y="84"/>
                  </a:lnTo>
                  <a:lnTo>
                    <a:pt x="25" y="86"/>
                  </a:lnTo>
                  <a:lnTo>
                    <a:pt x="23" y="90"/>
                  </a:lnTo>
                  <a:lnTo>
                    <a:pt x="23" y="90"/>
                  </a:lnTo>
                  <a:lnTo>
                    <a:pt x="21" y="100"/>
                  </a:lnTo>
                  <a:lnTo>
                    <a:pt x="18" y="118"/>
                  </a:lnTo>
                  <a:lnTo>
                    <a:pt x="18" y="118"/>
                  </a:lnTo>
                  <a:lnTo>
                    <a:pt x="16" y="130"/>
                  </a:lnTo>
                  <a:lnTo>
                    <a:pt x="13" y="144"/>
                  </a:lnTo>
                  <a:lnTo>
                    <a:pt x="9" y="160"/>
                  </a:lnTo>
                  <a:lnTo>
                    <a:pt x="7" y="171"/>
                  </a:lnTo>
                  <a:lnTo>
                    <a:pt x="7" y="171"/>
                  </a:lnTo>
                  <a:lnTo>
                    <a:pt x="6" y="183"/>
                  </a:lnTo>
                  <a:lnTo>
                    <a:pt x="2" y="202"/>
                  </a:lnTo>
                  <a:lnTo>
                    <a:pt x="0" y="225"/>
                  </a:lnTo>
                  <a:lnTo>
                    <a:pt x="2" y="236"/>
                  </a:lnTo>
                  <a:lnTo>
                    <a:pt x="4" y="248"/>
                  </a:lnTo>
                  <a:lnTo>
                    <a:pt x="6" y="264"/>
                  </a:lnTo>
                  <a:lnTo>
                    <a:pt x="6" y="264"/>
                  </a:lnTo>
                  <a:lnTo>
                    <a:pt x="25" y="266"/>
                  </a:lnTo>
                  <a:lnTo>
                    <a:pt x="43" y="267"/>
                  </a:lnTo>
                  <a:lnTo>
                    <a:pt x="51" y="266"/>
                  </a:lnTo>
                  <a:lnTo>
                    <a:pt x="60" y="264"/>
                  </a:lnTo>
                  <a:lnTo>
                    <a:pt x="60" y="264"/>
                  </a:lnTo>
                  <a:lnTo>
                    <a:pt x="71" y="262"/>
                  </a:lnTo>
                  <a:lnTo>
                    <a:pt x="81" y="260"/>
                  </a:lnTo>
                  <a:lnTo>
                    <a:pt x="106" y="259"/>
                  </a:lnTo>
                  <a:lnTo>
                    <a:pt x="145" y="259"/>
                  </a:lnTo>
                  <a:lnTo>
                    <a:pt x="145" y="259"/>
                  </a:lnTo>
                  <a:lnTo>
                    <a:pt x="155" y="260"/>
                  </a:lnTo>
                  <a:lnTo>
                    <a:pt x="168" y="266"/>
                  </a:lnTo>
                  <a:lnTo>
                    <a:pt x="183" y="273"/>
                  </a:lnTo>
                  <a:lnTo>
                    <a:pt x="203" y="283"/>
                  </a:lnTo>
                  <a:lnTo>
                    <a:pt x="203" y="283"/>
                  </a:lnTo>
                  <a:lnTo>
                    <a:pt x="220" y="296"/>
                  </a:lnTo>
                  <a:lnTo>
                    <a:pt x="236" y="303"/>
                  </a:lnTo>
                  <a:lnTo>
                    <a:pt x="261" y="313"/>
                  </a:lnTo>
                  <a:lnTo>
                    <a:pt x="261" y="313"/>
                  </a:lnTo>
                  <a:lnTo>
                    <a:pt x="273" y="315"/>
                  </a:lnTo>
                  <a:lnTo>
                    <a:pt x="286" y="317"/>
                  </a:lnTo>
                  <a:lnTo>
                    <a:pt x="293" y="320"/>
                  </a:lnTo>
                  <a:lnTo>
                    <a:pt x="300" y="326"/>
                  </a:lnTo>
                  <a:lnTo>
                    <a:pt x="308" y="333"/>
                  </a:lnTo>
                  <a:lnTo>
                    <a:pt x="319" y="343"/>
                  </a:lnTo>
                  <a:lnTo>
                    <a:pt x="319" y="343"/>
                  </a:lnTo>
                  <a:lnTo>
                    <a:pt x="319" y="345"/>
                  </a:lnTo>
                  <a:lnTo>
                    <a:pt x="321" y="350"/>
                  </a:lnTo>
                  <a:lnTo>
                    <a:pt x="326" y="357"/>
                  </a:lnTo>
                  <a:lnTo>
                    <a:pt x="335" y="366"/>
                  </a:lnTo>
                  <a:lnTo>
                    <a:pt x="335" y="366"/>
                  </a:lnTo>
                  <a:lnTo>
                    <a:pt x="368" y="391"/>
                  </a:lnTo>
                  <a:lnTo>
                    <a:pt x="388" y="405"/>
                  </a:lnTo>
                  <a:lnTo>
                    <a:pt x="388" y="405"/>
                  </a:lnTo>
                  <a:lnTo>
                    <a:pt x="398" y="405"/>
                  </a:lnTo>
                  <a:lnTo>
                    <a:pt x="407" y="401"/>
                  </a:lnTo>
                  <a:lnTo>
                    <a:pt x="411" y="400"/>
                  </a:lnTo>
                  <a:lnTo>
                    <a:pt x="412" y="396"/>
                  </a:lnTo>
                  <a:lnTo>
                    <a:pt x="412" y="396"/>
                  </a:lnTo>
                  <a:lnTo>
                    <a:pt x="419" y="389"/>
                  </a:lnTo>
                  <a:lnTo>
                    <a:pt x="426" y="378"/>
                  </a:lnTo>
                  <a:lnTo>
                    <a:pt x="432" y="370"/>
                  </a:lnTo>
                  <a:lnTo>
                    <a:pt x="434" y="366"/>
                  </a:lnTo>
                  <a:lnTo>
                    <a:pt x="434" y="363"/>
                  </a:lnTo>
                  <a:lnTo>
                    <a:pt x="434" y="363"/>
                  </a:lnTo>
                  <a:lnTo>
                    <a:pt x="430" y="359"/>
                  </a:lnTo>
                  <a:lnTo>
                    <a:pt x="426" y="355"/>
                  </a:lnTo>
                  <a:lnTo>
                    <a:pt x="405" y="347"/>
                  </a:lnTo>
                  <a:lnTo>
                    <a:pt x="405" y="347"/>
                  </a:lnTo>
                  <a:lnTo>
                    <a:pt x="388" y="340"/>
                  </a:lnTo>
                  <a:lnTo>
                    <a:pt x="372" y="333"/>
                  </a:lnTo>
                  <a:lnTo>
                    <a:pt x="365" y="327"/>
                  </a:lnTo>
                  <a:lnTo>
                    <a:pt x="358" y="322"/>
                  </a:lnTo>
                  <a:lnTo>
                    <a:pt x="353" y="315"/>
                  </a:lnTo>
                  <a:lnTo>
                    <a:pt x="347" y="308"/>
                  </a:lnTo>
                  <a:lnTo>
                    <a:pt x="347" y="308"/>
                  </a:lnTo>
                  <a:lnTo>
                    <a:pt x="335" y="282"/>
                  </a:lnTo>
                  <a:lnTo>
                    <a:pt x="328" y="271"/>
                  </a:lnTo>
                  <a:lnTo>
                    <a:pt x="323" y="266"/>
                  </a:lnTo>
                  <a:lnTo>
                    <a:pt x="317" y="262"/>
                  </a:lnTo>
                  <a:lnTo>
                    <a:pt x="317" y="262"/>
                  </a:lnTo>
                  <a:lnTo>
                    <a:pt x="310" y="259"/>
                  </a:lnTo>
                  <a:lnTo>
                    <a:pt x="303" y="257"/>
                  </a:lnTo>
                  <a:lnTo>
                    <a:pt x="293" y="255"/>
                  </a:lnTo>
                  <a:lnTo>
                    <a:pt x="286" y="255"/>
                  </a:lnTo>
                  <a:lnTo>
                    <a:pt x="280" y="253"/>
                  </a:lnTo>
                  <a:lnTo>
                    <a:pt x="277" y="252"/>
                  </a:lnTo>
                  <a:lnTo>
                    <a:pt x="272" y="246"/>
                  </a:lnTo>
                  <a:lnTo>
                    <a:pt x="272" y="246"/>
                  </a:lnTo>
                  <a:lnTo>
                    <a:pt x="266" y="236"/>
                  </a:lnTo>
                  <a:lnTo>
                    <a:pt x="263" y="229"/>
                  </a:lnTo>
                  <a:lnTo>
                    <a:pt x="257" y="222"/>
                  </a:lnTo>
                  <a:lnTo>
                    <a:pt x="250" y="216"/>
                  </a:lnTo>
                  <a:lnTo>
                    <a:pt x="250" y="216"/>
                  </a:lnTo>
                  <a:lnTo>
                    <a:pt x="242" y="209"/>
                  </a:lnTo>
                  <a:lnTo>
                    <a:pt x="235" y="202"/>
                  </a:lnTo>
                  <a:lnTo>
                    <a:pt x="227" y="195"/>
                  </a:lnTo>
                  <a:lnTo>
                    <a:pt x="227" y="195"/>
                  </a:lnTo>
                  <a:lnTo>
                    <a:pt x="224" y="193"/>
                  </a:lnTo>
                  <a:lnTo>
                    <a:pt x="220" y="195"/>
                  </a:lnTo>
                  <a:lnTo>
                    <a:pt x="215" y="199"/>
                  </a:lnTo>
                  <a:lnTo>
                    <a:pt x="215" y="199"/>
                  </a:lnTo>
                  <a:lnTo>
                    <a:pt x="210" y="202"/>
                  </a:lnTo>
                  <a:lnTo>
                    <a:pt x="203" y="206"/>
                  </a:lnTo>
                  <a:lnTo>
                    <a:pt x="199" y="206"/>
                  </a:lnTo>
                  <a:lnTo>
                    <a:pt x="196" y="204"/>
                  </a:lnTo>
                  <a:lnTo>
                    <a:pt x="191" y="199"/>
                  </a:lnTo>
                  <a:lnTo>
                    <a:pt x="187" y="192"/>
                  </a:lnTo>
                  <a:lnTo>
                    <a:pt x="187" y="192"/>
                  </a:lnTo>
                  <a:lnTo>
                    <a:pt x="182" y="183"/>
                  </a:lnTo>
                  <a:lnTo>
                    <a:pt x="180" y="174"/>
                  </a:lnTo>
                  <a:lnTo>
                    <a:pt x="175" y="153"/>
                  </a:lnTo>
                  <a:lnTo>
                    <a:pt x="169" y="130"/>
                  </a:lnTo>
                  <a:lnTo>
                    <a:pt x="166" y="109"/>
                  </a:lnTo>
                  <a:lnTo>
                    <a:pt x="166" y="109"/>
                  </a:lnTo>
                  <a:lnTo>
                    <a:pt x="159" y="88"/>
                  </a:lnTo>
                  <a:lnTo>
                    <a:pt x="150" y="65"/>
                  </a:lnTo>
                  <a:lnTo>
                    <a:pt x="141" y="45"/>
                  </a:lnTo>
                  <a:lnTo>
                    <a:pt x="132" y="30"/>
                  </a:lnTo>
                  <a:lnTo>
                    <a:pt x="132" y="30"/>
                  </a:lnTo>
                  <a:lnTo>
                    <a:pt x="117" y="8"/>
                  </a:lnTo>
                  <a:lnTo>
                    <a:pt x="110" y="0"/>
                  </a:lnTo>
                  <a:lnTo>
                    <a:pt x="11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8" name="Freeform 52">
              <a:extLst>
                <a:ext uri="{FF2B5EF4-FFF2-40B4-BE49-F238E27FC236}">
                  <a16:creationId xmlns:a16="http://schemas.microsoft.com/office/drawing/2014/main" id="{9C917544-822A-42D2-AD49-40671F956602}"/>
                </a:ext>
              </a:extLst>
            </p:cNvPr>
            <p:cNvSpPr>
              <a:spLocks/>
            </p:cNvSpPr>
            <p:nvPr/>
          </p:nvSpPr>
          <p:spPr bwMode="auto">
            <a:xfrm>
              <a:off x="6032787" y="3049982"/>
              <a:ext cx="23199" cy="17846"/>
            </a:xfrm>
            <a:custGeom>
              <a:avLst/>
              <a:gdLst/>
              <a:ahLst/>
              <a:cxnLst>
                <a:cxn ang="0">
                  <a:pos x="8" y="0"/>
                </a:cxn>
                <a:cxn ang="0">
                  <a:pos x="8" y="0"/>
                </a:cxn>
                <a:cxn ang="0">
                  <a:pos x="5" y="0"/>
                </a:cxn>
                <a:cxn ang="0">
                  <a:pos x="1" y="2"/>
                </a:cxn>
                <a:cxn ang="0">
                  <a:pos x="0" y="5"/>
                </a:cxn>
                <a:cxn ang="0">
                  <a:pos x="1" y="7"/>
                </a:cxn>
                <a:cxn ang="0">
                  <a:pos x="3" y="9"/>
                </a:cxn>
                <a:cxn ang="0">
                  <a:pos x="3" y="9"/>
                </a:cxn>
                <a:cxn ang="0">
                  <a:pos x="8" y="12"/>
                </a:cxn>
                <a:cxn ang="0">
                  <a:pos x="14" y="18"/>
                </a:cxn>
                <a:cxn ang="0">
                  <a:pos x="19" y="19"/>
                </a:cxn>
                <a:cxn ang="0">
                  <a:pos x="21" y="19"/>
                </a:cxn>
                <a:cxn ang="0">
                  <a:pos x="22" y="18"/>
                </a:cxn>
                <a:cxn ang="0">
                  <a:pos x="22" y="18"/>
                </a:cxn>
                <a:cxn ang="0">
                  <a:pos x="26" y="16"/>
                </a:cxn>
                <a:cxn ang="0">
                  <a:pos x="26" y="14"/>
                </a:cxn>
                <a:cxn ang="0">
                  <a:pos x="26" y="12"/>
                </a:cxn>
                <a:cxn ang="0">
                  <a:pos x="21" y="9"/>
                </a:cxn>
                <a:cxn ang="0">
                  <a:pos x="8" y="0"/>
                </a:cxn>
                <a:cxn ang="0">
                  <a:pos x="8" y="0"/>
                </a:cxn>
              </a:cxnLst>
              <a:rect l="0" t="0" r="r" b="b"/>
              <a:pathLst>
                <a:path w="26" h="19">
                  <a:moveTo>
                    <a:pt x="8" y="0"/>
                  </a:moveTo>
                  <a:lnTo>
                    <a:pt x="8" y="0"/>
                  </a:lnTo>
                  <a:lnTo>
                    <a:pt x="5" y="0"/>
                  </a:lnTo>
                  <a:lnTo>
                    <a:pt x="1" y="2"/>
                  </a:lnTo>
                  <a:lnTo>
                    <a:pt x="0" y="5"/>
                  </a:lnTo>
                  <a:lnTo>
                    <a:pt x="1" y="7"/>
                  </a:lnTo>
                  <a:lnTo>
                    <a:pt x="3" y="9"/>
                  </a:lnTo>
                  <a:lnTo>
                    <a:pt x="3" y="9"/>
                  </a:lnTo>
                  <a:lnTo>
                    <a:pt x="8" y="12"/>
                  </a:lnTo>
                  <a:lnTo>
                    <a:pt x="14" y="18"/>
                  </a:lnTo>
                  <a:lnTo>
                    <a:pt x="19" y="19"/>
                  </a:lnTo>
                  <a:lnTo>
                    <a:pt x="21" y="19"/>
                  </a:lnTo>
                  <a:lnTo>
                    <a:pt x="22" y="18"/>
                  </a:lnTo>
                  <a:lnTo>
                    <a:pt x="22" y="18"/>
                  </a:lnTo>
                  <a:lnTo>
                    <a:pt x="26" y="16"/>
                  </a:lnTo>
                  <a:lnTo>
                    <a:pt x="26" y="14"/>
                  </a:lnTo>
                  <a:lnTo>
                    <a:pt x="26" y="12"/>
                  </a:lnTo>
                  <a:lnTo>
                    <a:pt x="21" y="9"/>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59" name="Freeform 53">
              <a:extLst>
                <a:ext uri="{FF2B5EF4-FFF2-40B4-BE49-F238E27FC236}">
                  <a16:creationId xmlns:a16="http://schemas.microsoft.com/office/drawing/2014/main" id="{6DC790AF-6B7B-4466-8151-924C44F5C6F8}"/>
                </a:ext>
              </a:extLst>
            </p:cNvPr>
            <p:cNvSpPr>
              <a:spLocks/>
            </p:cNvSpPr>
            <p:nvPr/>
          </p:nvSpPr>
          <p:spPr bwMode="auto">
            <a:xfrm>
              <a:off x="6146999" y="3224869"/>
              <a:ext cx="101719" cy="137411"/>
            </a:xfrm>
            <a:custGeom>
              <a:avLst/>
              <a:gdLst/>
              <a:ahLst/>
              <a:cxnLst>
                <a:cxn ang="0">
                  <a:pos x="73" y="0"/>
                </a:cxn>
                <a:cxn ang="0">
                  <a:pos x="73" y="0"/>
                </a:cxn>
                <a:cxn ang="0">
                  <a:pos x="78" y="1"/>
                </a:cxn>
                <a:cxn ang="0">
                  <a:pos x="94" y="7"/>
                </a:cxn>
                <a:cxn ang="0">
                  <a:pos x="101" y="12"/>
                </a:cxn>
                <a:cxn ang="0">
                  <a:pos x="108" y="17"/>
                </a:cxn>
                <a:cxn ang="0">
                  <a:pos x="113" y="24"/>
                </a:cxn>
                <a:cxn ang="0">
                  <a:pos x="115" y="33"/>
                </a:cxn>
                <a:cxn ang="0">
                  <a:pos x="115" y="33"/>
                </a:cxn>
                <a:cxn ang="0">
                  <a:pos x="115" y="47"/>
                </a:cxn>
                <a:cxn ang="0">
                  <a:pos x="113" y="56"/>
                </a:cxn>
                <a:cxn ang="0">
                  <a:pos x="108" y="61"/>
                </a:cxn>
                <a:cxn ang="0">
                  <a:pos x="101" y="68"/>
                </a:cxn>
                <a:cxn ang="0">
                  <a:pos x="101" y="68"/>
                </a:cxn>
                <a:cxn ang="0">
                  <a:pos x="94" y="75"/>
                </a:cxn>
                <a:cxn ang="0">
                  <a:pos x="90" y="81"/>
                </a:cxn>
                <a:cxn ang="0">
                  <a:pos x="88" y="84"/>
                </a:cxn>
                <a:cxn ang="0">
                  <a:pos x="88" y="88"/>
                </a:cxn>
                <a:cxn ang="0">
                  <a:pos x="94" y="96"/>
                </a:cxn>
                <a:cxn ang="0">
                  <a:pos x="94" y="96"/>
                </a:cxn>
                <a:cxn ang="0">
                  <a:pos x="111" y="132"/>
                </a:cxn>
                <a:cxn ang="0">
                  <a:pos x="111" y="132"/>
                </a:cxn>
                <a:cxn ang="0">
                  <a:pos x="106" y="135"/>
                </a:cxn>
                <a:cxn ang="0">
                  <a:pos x="99" y="140"/>
                </a:cxn>
                <a:cxn ang="0">
                  <a:pos x="90" y="146"/>
                </a:cxn>
                <a:cxn ang="0">
                  <a:pos x="90" y="146"/>
                </a:cxn>
                <a:cxn ang="0">
                  <a:pos x="81" y="147"/>
                </a:cxn>
                <a:cxn ang="0">
                  <a:pos x="73" y="149"/>
                </a:cxn>
                <a:cxn ang="0">
                  <a:pos x="55" y="151"/>
                </a:cxn>
                <a:cxn ang="0">
                  <a:pos x="55" y="151"/>
                </a:cxn>
                <a:cxn ang="0">
                  <a:pos x="44" y="153"/>
                </a:cxn>
                <a:cxn ang="0">
                  <a:pos x="30" y="155"/>
                </a:cxn>
                <a:cxn ang="0">
                  <a:pos x="16" y="155"/>
                </a:cxn>
                <a:cxn ang="0">
                  <a:pos x="13" y="153"/>
                </a:cxn>
                <a:cxn ang="0">
                  <a:pos x="9" y="149"/>
                </a:cxn>
                <a:cxn ang="0">
                  <a:pos x="9" y="149"/>
                </a:cxn>
                <a:cxn ang="0">
                  <a:pos x="6" y="139"/>
                </a:cxn>
                <a:cxn ang="0">
                  <a:pos x="2" y="123"/>
                </a:cxn>
                <a:cxn ang="0">
                  <a:pos x="0" y="107"/>
                </a:cxn>
                <a:cxn ang="0">
                  <a:pos x="0" y="100"/>
                </a:cxn>
                <a:cxn ang="0">
                  <a:pos x="2" y="93"/>
                </a:cxn>
                <a:cxn ang="0">
                  <a:pos x="2" y="93"/>
                </a:cxn>
                <a:cxn ang="0">
                  <a:pos x="9" y="79"/>
                </a:cxn>
                <a:cxn ang="0">
                  <a:pos x="18" y="61"/>
                </a:cxn>
                <a:cxn ang="0">
                  <a:pos x="27" y="42"/>
                </a:cxn>
                <a:cxn ang="0">
                  <a:pos x="27" y="42"/>
                </a:cxn>
                <a:cxn ang="0">
                  <a:pos x="37" y="40"/>
                </a:cxn>
                <a:cxn ang="0">
                  <a:pos x="44" y="38"/>
                </a:cxn>
                <a:cxn ang="0">
                  <a:pos x="51" y="33"/>
                </a:cxn>
                <a:cxn ang="0">
                  <a:pos x="51" y="33"/>
                </a:cxn>
                <a:cxn ang="0">
                  <a:pos x="58" y="26"/>
                </a:cxn>
                <a:cxn ang="0">
                  <a:pos x="65" y="17"/>
                </a:cxn>
                <a:cxn ang="0">
                  <a:pos x="69" y="8"/>
                </a:cxn>
                <a:cxn ang="0">
                  <a:pos x="73" y="0"/>
                </a:cxn>
                <a:cxn ang="0">
                  <a:pos x="73" y="0"/>
                </a:cxn>
              </a:cxnLst>
              <a:rect l="0" t="0" r="r" b="b"/>
              <a:pathLst>
                <a:path w="115" h="155">
                  <a:moveTo>
                    <a:pt x="73" y="0"/>
                  </a:moveTo>
                  <a:lnTo>
                    <a:pt x="73" y="0"/>
                  </a:lnTo>
                  <a:lnTo>
                    <a:pt x="78" y="1"/>
                  </a:lnTo>
                  <a:lnTo>
                    <a:pt x="94" y="7"/>
                  </a:lnTo>
                  <a:lnTo>
                    <a:pt x="101" y="12"/>
                  </a:lnTo>
                  <a:lnTo>
                    <a:pt x="108" y="17"/>
                  </a:lnTo>
                  <a:lnTo>
                    <a:pt x="113" y="24"/>
                  </a:lnTo>
                  <a:lnTo>
                    <a:pt x="115" y="33"/>
                  </a:lnTo>
                  <a:lnTo>
                    <a:pt x="115" y="33"/>
                  </a:lnTo>
                  <a:lnTo>
                    <a:pt x="115" y="47"/>
                  </a:lnTo>
                  <a:lnTo>
                    <a:pt x="113" y="56"/>
                  </a:lnTo>
                  <a:lnTo>
                    <a:pt x="108" y="61"/>
                  </a:lnTo>
                  <a:lnTo>
                    <a:pt x="101" y="68"/>
                  </a:lnTo>
                  <a:lnTo>
                    <a:pt x="101" y="68"/>
                  </a:lnTo>
                  <a:lnTo>
                    <a:pt x="94" y="75"/>
                  </a:lnTo>
                  <a:lnTo>
                    <a:pt x="90" y="81"/>
                  </a:lnTo>
                  <a:lnTo>
                    <a:pt x="88" y="84"/>
                  </a:lnTo>
                  <a:lnTo>
                    <a:pt x="88" y="88"/>
                  </a:lnTo>
                  <a:lnTo>
                    <a:pt x="94" y="96"/>
                  </a:lnTo>
                  <a:lnTo>
                    <a:pt x="94" y="96"/>
                  </a:lnTo>
                  <a:lnTo>
                    <a:pt x="111" y="132"/>
                  </a:lnTo>
                  <a:lnTo>
                    <a:pt x="111" y="132"/>
                  </a:lnTo>
                  <a:lnTo>
                    <a:pt x="106" y="135"/>
                  </a:lnTo>
                  <a:lnTo>
                    <a:pt x="99" y="140"/>
                  </a:lnTo>
                  <a:lnTo>
                    <a:pt x="90" y="146"/>
                  </a:lnTo>
                  <a:lnTo>
                    <a:pt x="90" y="146"/>
                  </a:lnTo>
                  <a:lnTo>
                    <a:pt x="81" y="147"/>
                  </a:lnTo>
                  <a:lnTo>
                    <a:pt x="73" y="149"/>
                  </a:lnTo>
                  <a:lnTo>
                    <a:pt x="55" y="151"/>
                  </a:lnTo>
                  <a:lnTo>
                    <a:pt x="55" y="151"/>
                  </a:lnTo>
                  <a:lnTo>
                    <a:pt x="44" y="153"/>
                  </a:lnTo>
                  <a:lnTo>
                    <a:pt x="30" y="155"/>
                  </a:lnTo>
                  <a:lnTo>
                    <a:pt x="16" y="155"/>
                  </a:lnTo>
                  <a:lnTo>
                    <a:pt x="13" y="153"/>
                  </a:lnTo>
                  <a:lnTo>
                    <a:pt x="9" y="149"/>
                  </a:lnTo>
                  <a:lnTo>
                    <a:pt x="9" y="149"/>
                  </a:lnTo>
                  <a:lnTo>
                    <a:pt x="6" y="139"/>
                  </a:lnTo>
                  <a:lnTo>
                    <a:pt x="2" y="123"/>
                  </a:lnTo>
                  <a:lnTo>
                    <a:pt x="0" y="107"/>
                  </a:lnTo>
                  <a:lnTo>
                    <a:pt x="0" y="100"/>
                  </a:lnTo>
                  <a:lnTo>
                    <a:pt x="2" y="93"/>
                  </a:lnTo>
                  <a:lnTo>
                    <a:pt x="2" y="93"/>
                  </a:lnTo>
                  <a:lnTo>
                    <a:pt x="9" y="79"/>
                  </a:lnTo>
                  <a:lnTo>
                    <a:pt x="18" y="61"/>
                  </a:lnTo>
                  <a:lnTo>
                    <a:pt x="27" y="42"/>
                  </a:lnTo>
                  <a:lnTo>
                    <a:pt x="27" y="42"/>
                  </a:lnTo>
                  <a:lnTo>
                    <a:pt x="37" y="40"/>
                  </a:lnTo>
                  <a:lnTo>
                    <a:pt x="44" y="38"/>
                  </a:lnTo>
                  <a:lnTo>
                    <a:pt x="51" y="33"/>
                  </a:lnTo>
                  <a:lnTo>
                    <a:pt x="51" y="33"/>
                  </a:lnTo>
                  <a:lnTo>
                    <a:pt x="58" y="26"/>
                  </a:lnTo>
                  <a:lnTo>
                    <a:pt x="65" y="17"/>
                  </a:lnTo>
                  <a:lnTo>
                    <a:pt x="69" y="8"/>
                  </a:lnTo>
                  <a:lnTo>
                    <a:pt x="73" y="0"/>
                  </a:lnTo>
                  <a:lnTo>
                    <a:pt x="73"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0" name="Freeform 54">
              <a:extLst>
                <a:ext uri="{FF2B5EF4-FFF2-40B4-BE49-F238E27FC236}">
                  <a16:creationId xmlns:a16="http://schemas.microsoft.com/office/drawing/2014/main" id="{F00B482B-C309-4732-9EAE-A64BC633F70C}"/>
                </a:ext>
              </a:extLst>
            </p:cNvPr>
            <p:cNvSpPr>
              <a:spLocks/>
            </p:cNvSpPr>
            <p:nvPr/>
          </p:nvSpPr>
          <p:spPr bwMode="auto">
            <a:xfrm>
              <a:off x="6213028" y="4843462"/>
              <a:ext cx="485399" cy="886925"/>
            </a:xfrm>
            <a:custGeom>
              <a:avLst/>
              <a:gdLst/>
              <a:ahLst/>
              <a:cxnLst>
                <a:cxn ang="0">
                  <a:pos x="434" y="9"/>
                </a:cxn>
                <a:cxn ang="0">
                  <a:pos x="419" y="35"/>
                </a:cxn>
                <a:cxn ang="0">
                  <a:pos x="419" y="86"/>
                </a:cxn>
                <a:cxn ang="0">
                  <a:pos x="409" y="109"/>
                </a:cxn>
                <a:cxn ang="0">
                  <a:pos x="388" y="109"/>
                </a:cxn>
                <a:cxn ang="0">
                  <a:pos x="368" y="105"/>
                </a:cxn>
                <a:cxn ang="0">
                  <a:pos x="365" y="141"/>
                </a:cxn>
                <a:cxn ang="0">
                  <a:pos x="352" y="181"/>
                </a:cxn>
                <a:cxn ang="0">
                  <a:pos x="342" y="178"/>
                </a:cxn>
                <a:cxn ang="0">
                  <a:pos x="330" y="164"/>
                </a:cxn>
                <a:cxn ang="0">
                  <a:pos x="319" y="204"/>
                </a:cxn>
                <a:cxn ang="0">
                  <a:pos x="296" y="225"/>
                </a:cxn>
                <a:cxn ang="0">
                  <a:pos x="291" y="241"/>
                </a:cxn>
                <a:cxn ang="0">
                  <a:pos x="250" y="245"/>
                </a:cxn>
                <a:cxn ang="0">
                  <a:pos x="189" y="253"/>
                </a:cxn>
                <a:cxn ang="0">
                  <a:pos x="139" y="287"/>
                </a:cxn>
                <a:cxn ang="0">
                  <a:pos x="122" y="303"/>
                </a:cxn>
                <a:cxn ang="0">
                  <a:pos x="102" y="334"/>
                </a:cxn>
                <a:cxn ang="0">
                  <a:pos x="81" y="401"/>
                </a:cxn>
                <a:cxn ang="0">
                  <a:pos x="74" y="454"/>
                </a:cxn>
                <a:cxn ang="0">
                  <a:pos x="99" y="556"/>
                </a:cxn>
                <a:cxn ang="0">
                  <a:pos x="99" y="593"/>
                </a:cxn>
                <a:cxn ang="0">
                  <a:pos x="72" y="616"/>
                </a:cxn>
                <a:cxn ang="0">
                  <a:pos x="14" y="674"/>
                </a:cxn>
                <a:cxn ang="0">
                  <a:pos x="0" y="741"/>
                </a:cxn>
                <a:cxn ang="0">
                  <a:pos x="9" y="840"/>
                </a:cxn>
                <a:cxn ang="0">
                  <a:pos x="23" y="884"/>
                </a:cxn>
                <a:cxn ang="0">
                  <a:pos x="44" y="910"/>
                </a:cxn>
                <a:cxn ang="0">
                  <a:pos x="41" y="926"/>
                </a:cxn>
                <a:cxn ang="0">
                  <a:pos x="48" y="965"/>
                </a:cxn>
                <a:cxn ang="0">
                  <a:pos x="81" y="990"/>
                </a:cxn>
                <a:cxn ang="0">
                  <a:pos x="124" y="993"/>
                </a:cxn>
                <a:cxn ang="0">
                  <a:pos x="159" y="986"/>
                </a:cxn>
                <a:cxn ang="0">
                  <a:pos x="210" y="981"/>
                </a:cxn>
                <a:cxn ang="0">
                  <a:pos x="233" y="951"/>
                </a:cxn>
                <a:cxn ang="0">
                  <a:pos x="280" y="842"/>
                </a:cxn>
                <a:cxn ang="0">
                  <a:pos x="296" y="787"/>
                </a:cxn>
                <a:cxn ang="0">
                  <a:pos x="381" y="627"/>
                </a:cxn>
                <a:cxn ang="0">
                  <a:pos x="449" y="456"/>
                </a:cxn>
                <a:cxn ang="0">
                  <a:pos x="458" y="405"/>
                </a:cxn>
                <a:cxn ang="0">
                  <a:pos x="448" y="373"/>
                </a:cxn>
                <a:cxn ang="0">
                  <a:pos x="453" y="348"/>
                </a:cxn>
                <a:cxn ang="0">
                  <a:pos x="490" y="306"/>
                </a:cxn>
                <a:cxn ang="0">
                  <a:pos x="539" y="278"/>
                </a:cxn>
                <a:cxn ang="0">
                  <a:pos x="544" y="269"/>
                </a:cxn>
                <a:cxn ang="0">
                  <a:pos x="534" y="211"/>
                </a:cxn>
                <a:cxn ang="0">
                  <a:pos x="530" y="149"/>
                </a:cxn>
                <a:cxn ang="0">
                  <a:pos x="511" y="88"/>
                </a:cxn>
                <a:cxn ang="0">
                  <a:pos x="485" y="23"/>
                </a:cxn>
                <a:cxn ang="0">
                  <a:pos x="465" y="0"/>
                </a:cxn>
                <a:cxn ang="0">
                  <a:pos x="448" y="3"/>
                </a:cxn>
              </a:cxnLst>
              <a:rect l="0" t="0" r="r" b="b"/>
              <a:pathLst>
                <a:path w="544" h="995">
                  <a:moveTo>
                    <a:pt x="448" y="3"/>
                  </a:moveTo>
                  <a:lnTo>
                    <a:pt x="448" y="3"/>
                  </a:lnTo>
                  <a:lnTo>
                    <a:pt x="444" y="5"/>
                  </a:lnTo>
                  <a:lnTo>
                    <a:pt x="434" y="9"/>
                  </a:lnTo>
                  <a:lnTo>
                    <a:pt x="428" y="12"/>
                  </a:lnTo>
                  <a:lnTo>
                    <a:pt x="425" y="17"/>
                  </a:lnTo>
                  <a:lnTo>
                    <a:pt x="421" y="26"/>
                  </a:lnTo>
                  <a:lnTo>
                    <a:pt x="419" y="35"/>
                  </a:lnTo>
                  <a:lnTo>
                    <a:pt x="419" y="35"/>
                  </a:lnTo>
                  <a:lnTo>
                    <a:pt x="419" y="56"/>
                  </a:lnTo>
                  <a:lnTo>
                    <a:pt x="421" y="77"/>
                  </a:lnTo>
                  <a:lnTo>
                    <a:pt x="419" y="86"/>
                  </a:lnTo>
                  <a:lnTo>
                    <a:pt x="418" y="95"/>
                  </a:lnTo>
                  <a:lnTo>
                    <a:pt x="414" y="104"/>
                  </a:lnTo>
                  <a:lnTo>
                    <a:pt x="409" y="109"/>
                  </a:lnTo>
                  <a:lnTo>
                    <a:pt x="409" y="109"/>
                  </a:lnTo>
                  <a:lnTo>
                    <a:pt x="405" y="111"/>
                  </a:lnTo>
                  <a:lnTo>
                    <a:pt x="402" y="112"/>
                  </a:lnTo>
                  <a:lnTo>
                    <a:pt x="395" y="111"/>
                  </a:lnTo>
                  <a:lnTo>
                    <a:pt x="388" y="109"/>
                  </a:lnTo>
                  <a:lnTo>
                    <a:pt x="381" y="105"/>
                  </a:lnTo>
                  <a:lnTo>
                    <a:pt x="375" y="104"/>
                  </a:lnTo>
                  <a:lnTo>
                    <a:pt x="370" y="104"/>
                  </a:lnTo>
                  <a:lnTo>
                    <a:pt x="368" y="105"/>
                  </a:lnTo>
                  <a:lnTo>
                    <a:pt x="368" y="107"/>
                  </a:lnTo>
                  <a:lnTo>
                    <a:pt x="367" y="116"/>
                  </a:lnTo>
                  <a:lnTo>
                    <a:pt x="367" y="116"/>
                  </a:lnTo>
                  <a:lnTo>
                    <a:pt x="365" y="141"/>
                  </a:lnTo>
                  <a:lnTo>
                    <a:pt x="361" y="162"/>
                  </a:lnTo>
                  <a:lnTo>
                    <a:pt x="360" y="171"/>
                  </a:lnTo>
                  <a:lnTo>
                    <a:pt x="356" y="178"/>
                  </a:lnTo>
                  <a:lnTo>
                    <a:pt x="352" y="181"/>
                  </a:lnTo>
                  <a:lnTo>
                    <a:pt x="349" y="183"/>
                  </a:lnTo>
                  <a:lnTo>
                    <a:pt x="349" y="183"/>
                  </a:lnTo>
                  <a:lnTo>
                    <a:pt x="345" y="181"/>
                  </a:lnTo>
                  <a:lnTo>
                    <a:pt x="342" y="178"/>
                  </a:lnTo>
                  <a:lnTo>
                    <a:pt x="337" y="169"/>
                  </a:lnTo>
                  <a:lnTo>
                    <a:pt x="335" y="165"/>
                  </a:lnTo>
                  <a:lnTo>
                    <a:pt x="333" y="164"/>
                  </a:lnTo>
                  <a:lnTo>
                    <a:pt x="330" y="164"/>
                  </a:lnTo>
                  <a:lnTo>
                    <a:pt x="328" y="169"/>
                  </a:lnTo>
                  <a:lnTo>
                    <a:pt x="328" y="169"/>
                  </a:lnTo>
                  <a:lnTo>
                    <a:pt x="323" y="185"/>
                  </a:lnTo>
                  <a:lnTo>
                    <a:pt x="319" y="204"/>
                  </a:lnTo>
                  <a:lnTo>
                    <a:pt x="314" y="225"/>
                  </a:lnTo>
                  <a:lnTo>
                    <a:pt x="296" y="222"/>
                  </a:lnTo>
                  <a:lnTo>
                    <a:pt x="296" y="222"/>
                  </a:lnTo>
                  <a:lnTo>
                    <a:pt x="296" y="225"/>
                  </a:lnTo>
                  <a:lnTo>
                    <a:pt x="298" y="230"/>
                  </a:lnTo>
                  <a:lnTo>
                    <a:pt x="296" y="234"/>
                  </a:lnTo>
                  <a:lnTo>
                    <a:pt x="294" y="238"/>
                  </a:lnTo>
                  <a:lnTo>
                    <a:pt x="291" y="241"/>
                  </a:lnTo>
                  <a:lnTo>
                    <a:pt x="286" y="243"/>
                  </a:lnTo>
                  <a:lnTo>
                    <a:pt x="286" y="243"/>
                  </a:lnTo>
                  <a:lnTo>
                    <a:pt x="270" y="245"/>
                  </a:lnTo>
                  <a:lnTo>
                    <a:pt x="250" y="245"/>
                  </a:lnTo>
                  <a:lnTo>
                    <a:pt x="227" y="246"/>
                  </a:lnTo>
                  <a:lnTo>
                    <a:pt x="201" y="250"/>
                  </a:lnTo>
                  <a:lnTo>
                    <a:pt x="201" y="250"/>
                  </a:lnTo>
                  <a:lnTo>
                    <a:pt x="189" y="253"/>
                  </a:lnTo>
                  <a:lnTo>
                    <a:pt x="176" y="259"/>
                  </a:lnTo>
                  <a:lnTo>
                    <a:pt x="164" y="266"/>
                  </a:lnTo>
                  <a:lnTo>
                    <a:pt x="155" y="273"/>
                  </a:lnTo>
                  <a:lnTo>
                    <a:pt x="139" y="287"/>
                  </a:lnTo>
                  <a:lnTo>
                    <a:pt x="134" y="292"/>
                  </a:lnTo>
                  <a:lnTo>
                    <a:pt x="134" y="292"/>
                  </a:lnTo>
                  <a:lnTo>
                    <a:pt x="131" y="294"/>
                  </a:lnTo>
                  <a:lnTo>
                    <a:pt x="122" y="303"/>
                  </a:lnTo>
                  <a:lnTo>
                    <a:pt x="115" y="308"/>
                  </a:lnTo>
                  <a:lnTo>
                    <a:pt x="111" y="315"/>
                  </a:lnTo>
                  <a:lnTo>
                    <a:pt x="106" y="324"/>
                  </a:lnTo>
                  <a:lnTo>
                    <a:pt x="102" y="334"/>
                  </a:lnTo>
                  <a:lnTo>
                    <a:pt x="102" y="334"/>
                  </a:lnTo>
                  <a:lnTo>
                    <a:pt x="95" y="357"/>
                  </a:lnTo>
                  <a:lnTo>
                    <a:pt x="87" y="385"/>
                  </a:lnTo>
                  <a:lnTo>
                    <a:pt x="81" y="401"/>
                  </a:lnTo>
                  <a:lnTo>
                    <a:pt x="78" y="417"/>
                  </a:lnTo>
                  <a:lnTo>
                    <a:pt x="76" y="435"/>
                  </a:lnTo>
                  <a:lnTo>
                    <a:pt x="74" y="454"/>
                  </a:lnTo>
                  <a:lnTo>
                    <a:pt x="74" y="454"/>
                  </a:lnTo>
                  <a:lnTo>
                    <a:pt x="76" y="475"/>
                  </a:lnTo>
                  <a:lnTo>
                    <a:pt x="81" y="495"/>
                  </a:lnTo>
                  <a:lnTo>
                    <a:pt x="94" y="537"/>
                  </a:lnTo>
                  <a:lnTo>
                    <a:pt x="99" y="556"/>
                  </a:lnTo>
                  <a:lnTo>
                    <a:pt x="102" y="572"/>
                  </a:lnTo>
                  <a:lnTo>
                    <a:pt x="102" y="581"/>
                  </a:lnTo>
                  <a:lnTo>
                    <a:pt x="102" y="588"/>
                  </a:lnTo>
                  <a:lnTo>
                    <a:pt x="99" y="593"/>
                  </a:lnTo>
                  <a:lnTo>
                    <a:pt x="95" y="599"/>
                  </a:lnTo>
                  <a:lnTo>
                    <a:pt x="95" y="599"/>
                  </a:lnTo>
                  <a:lnTo>
                    <a:pt x="85" y="607"/>
                  </a:lnTo>
                  <a:lnTo>
                    <a:pt x="72" y="616"/>
                  </a:lnTo>
                  <a:lnTo>
                    <a:pt x="48" y="634"/>
                  </a:lnTo>
                  <a:lnTo>
                    <a:pt x="36" y="646"/>
                  </a:lnTo>
                  <a:lnTo>
                    <a:pt x="23" y="658"/>
                  </a:lnTo>
                  <a:lnTo>
                    <a:pt x="14" y="674"/>
                  </a:lnTo>
                  <a:lnTo>
                    <a:pt x="7" y="694"/>
                  </a:lnTo>
                  <a:lnTo>
                    <a:pt x="7" y="694"/>
                  </a:lnTo>
                  <a:lnTo>
                    <a:pt x="4" y="717"/>
                  </a:lnTo>
                  <a:lnTo>
                    <a:pt x="0" y="741"/>
                  </a:lnTo>
                  <a:lnTo>
                    <a:pt x="0" y="768"/>
                  </a:lnTo>
                  <a:lnTo>
                    <a:pt x="2" y="792"/>
                  </a:lnTo>
                  <a:lnTo>
                    <a:pt x="4" y="817"/>
                  </a:lnTo>
                  <a:lnTo>
                    <a:pt x="9" y="840"/>
                  </a:lnTo>
                  <a:lnTo>
                    <a:pt x="13" y="859"/>
                  </a:lnTo>
                  <a:lnTo>
                    <a:pt x="18" y="873"/>
                  </a:lnTo>
                  <a:lnTo>
                    <a:pt x="18" y="873"/>
                  </a:lnTo>
                  <a:lnTo>
                    <a:pt x="23" y="884"/>
                  </a:lnTo>
                  <a:lnTo>
                    <a:pt x="28" y="893"/>
                  </a:lnTo>
                  <a:lnTo>
                    <a:pt x="39" y="903"/>
                  </a:lnTo>
                  <a:lnTo>
                    <a:pt x="41" y="907"/>
                  </a:lnTo>
                  <a:lnTo>
                    <a:pt x="44" y="910"/>
                  </a:lnTo>
                  <a:lnTo>
                    <a:pt x="44" y="914"/>
                  </a:lnTo>
                  <a:lnTo>
                    <a:pt x="43" y="919"/>
                  </a:lnTo>
                  <a:lnTo>
                    <a:pt x="43" y="919"/>
                  </a:lnTo>
                  <a:lnTo>
                    <a:pt x="41" y="926"/>
                  </a:lnTo>
                  <a:lnTo>
                    <a:pt x="39" y="933"/>
                  </a:lnTo>
                  <a:lnTo>
                    <a:pt x="41" y="944"/>
                  </a:lnTo>
                  <a:lnTo>
                    <a:pt x="44" y="954"/>
                  </a:lnTo>
                  <a:lnTo>
                    <a:pt x="48" y="965"/>
                  </a:lnTo>
                  <a:lnTo>
                    <a:pt x="57" y="974"/>
                  </a:lnTo>
                  <a:lnTo>
                    <a:pt x="67" y="983"/>
                  </a:lnTo>
                  <a:lnTo>
                    <a:pt x="81" y="990"/>
                  </a:lnTo>
                  <a:lnTo>
                    <a:pt x="81" y="990"/>
                  </a:lnTo>
                  <a:lnTo>
                    <a:pt x="95" y="993"/>
                  </a:lnTo>
                  <a:lnTo>
                    <a:pt x="106" y="995"/>
                  </a:lnTo>
                  <a:lnTo>
                    <a:pt x="115" y="995"/>
                  </a:lnTo>
                  <a:lnTo>
                    <a:pt x="124" y="993"/>
                  </a:lnTo>
                  <a:lnTo>
                    <a:pt x="138" y="988"/>
                  </a:lnTo>
                  <a:lnTo>
                    <a:pt x="146" y="986"/>
                  </a:lnTo>
                  <a:lnTo>
                    <a:pt x="159" y="986"/>
                  </a:lnTo>
                  <a:lnTo>
                    <a:pt x="159" y="986"/>
                  </a:lnTo>
                  <a:lnTo>
                    <a:pt x="182" y="986"/>
                  </a:lnTo>
                  <a:lnTo>
                    <a:pt x="192" y="986"/>
                  </a:lnTo>
                  <a:lnTo>
                    <a:pt x="201" y="984"/>
                  </a:lnTo>
                  <a:lnTo>
                    <a:pt x="210" y="981"/>
                  </a:lnTo>
                  <a:lnTo>
                    <a:pt x="217" y="974"/>
                  </a:lnTo>
                  <a:lnTo>
                    <a:pt x="226" y="965"/>
                  </a:lnTo>
                  <a:lnTo>
                    <a:pt x="233" y="951"/>
                  </a:lnTo>
                  <a:lnTo>
                    <a:pt x="233" y="951"/>
                  </a:lnTo>
                  <a:lnTo>
                    <a:pt x="249" y="919"/>
                  </a:lnTo>
                  <a:lnTo>
                    <a:pt x="264" y="886"/>
                  </a:lnTo>
                  <a:lnTo>
                    <a:pt x="275" y="856"/>
                  </a:lnTo>
                  <a:lnTo>
                    <a:pt x="280" y="842"/>
                  </a:lnTo>
                  <a:lnTo>
                    <a:pt x="282" y="828"/>
                  </a:lnTo>
                  <a:lnTo>
                    <a:pt x="282" y="828"/>
                  </a:lnTo>
                  <a:lnTo>
                    <a:pt x="286" y="810"/>
                  </a:lnTo>
                  <a:lnTo>
                    <a:pt x="296" y="787"/>
                  </a:lnTo>
                  <a:lnTo>
                    <a:pt x="308" y="761"/>
                  </a:lnTo>
                  <a:lnTo>
                    <a:pt x="324" y="731"/>
                  </a:lnTo>
                  <a:lnTo>
                    <a:pt x="356" y="673"/>
                  </a:lnTo>
                  <a:lnTo>
                    <a:pt x="381" y="627"/>
                  </a:lnTo>
                  <a:lnTo>
                    <a:pt x="381" y="627"/>
                  </a:lnTo>
                  <a:lnTo>
                    <a:pt x="402" y="579"/>
                  </a:lnTo>
                  <a:lnTo>
                    <a:pt x="428" y="516"/>
                  </a:lnTo>
                  <a:lnTo>
                    <a:pt x="449" y="456"/>
                  </a:lnTo>
                  <a:lnTo>
                    <a:pt x="456" y="431"/>
                  </a:lnTo>
                  <a:lnTo>
                    <a:pt x="458" y="415"/>
                  </a:lnTo>
                  <a:lnTo>
                    <a:pt x="458" y="415"/>
                  </a:lnTo>
                  <a:lnTo>
                    <a:pt x="458" y="405"/>
                  </a:lnTo>
                  <a:lnTo>
                    <a:pt x="456" y="398"/>
                  </a:lnTo>
                  <a:lnTo>
                    <a:pt x="451" y="387"/>
                  </a:lnTo>
                  <a:lnTo>
                    <a:pt x="448" y="378"/>
                  </a:lnTo>
                  <a:lnTo>
                    <a:pt x="448" y="373"/>
                  </a:lnTo>
                  <a:lnTo>
                    <a:pt x="448" y="366"/>
                  </a:lnTo>
                  <a:lnTo>
                    <a:pt x="448" y="366"/>
                  </a:lnTo>
                  <a:lnTo>
                    <a:pt x="449" y="357"/>
                  </a:lnTo>
                  <a:lnTo>
                    <a:pt x="453" y="348"/>
                  </a:lnTo>
                  <a:lnTo>
                    <a:pt x="463" y="333"/>
                  </a:lnTo>
                  <a:lnTo>
                    <a:pt x="476" y="317"/>
                  </a:lnTo>
                  <a:lnTo>
                    <a:pt x="490" y="306"/>
                  </a:lnTo>
                  <a:lnTo>
                    <a:pt x="490" y="306"/>
                  </a:lnTo>
                  <a:lnTo>
                    <a:pt x="516" y="289"/>
                  </a:lnTo>
                  <a:lnTo>
                    <a:pt x="529" y="282"/>
                  </a:lnTo>
                  <a:lnTo>
                    <a:pt x="534" y="278"/>
                  </a:lnTo>
                  <a:lnTo>
                    <a:pt x="539" y="278"/>
                  </a:lnTo>
                  <a:lnTo>
                    <a:pt x="539" y="278"/>
                  </a:lnTo>
                  <a:lnTo>
                    <a:pt x="541" y="278"/>
                  </a:lnTo>
                  <a:lnTo>
                    <a:pt x="543" y="276"/>
                  </a:lnTo>
                  <a:lnTo>
                    <a:pt x="544" y="269"/>
                  </a:lnTo>
                  <a:lnTo>
                    <a:pt x="543" y="260"/>
                  </a:lnTo>
                  <a:lnTo>
                    <a:pt x="541" y="248"/>
                  </a:lnTo>
                  <a:lnTo>
                    <a:pt x="536" y="223"/>
                  </a:lnTo>
                  <a:lnTo>
                    <a:pt x="534" y="211"/>
                  </a:lnTo>
                  <a:lnTo>
                    <a:pt x="532" y="201"/>
                  </a:lnTo>
                  <a:lnTo>
                    <a:pt x="532" y="201"/>
                  </a:lnTo>
                  <a:lnTo>
                    <a:pt x="532" y="178"/>
                  </a:lnTo>
                  <a:lnTo>
                    <a:pt x="530" y="149"/>
                  </a:lnTo>
                  <a:lnTo>
                    <a:pt x="529" y="134"/>
                  </a:lnTo>
                  <a:lnTo>
                    <a:pt x="525" y="118"/>
                  </a:lnTo>
                  <a:lnTo>
                    <a:pt x="520" y="102"/>
                  </a:lnTo>
                  <a:lnTo>
                    <a:pt x="511" y="88"/>
                  </a:lnTo>
                  <a:lnTo>
                    <a:pt x="511" y="88"/>
                  </a:lnTo>
                  <a:lnTo>
                    <a:pt x="502" y="72"/>
                  </a:lnTo>
                  <a:lnTo>
                    <a:pt x="497" y="56"/>
                  </a:lnTo>
                  <a:lnTo>
                    <a:pt x="485" y="23"/>
                  </a:lnTo>
                  <a:lnTo>
                    <a:pt x="478" y="10"/>
                  </a:lnTo>
                  <a:lnTo>
                    <a:pt x="474" y="5"/>
                  </a:lnTo>
                  <a:lnTo>
                    <a:pt x="470" y="1"/>
                  </a:lnTo>
                  <a:lnTo>
                    <a:pt x="465" y="0"/>
                  </a:lnTo>
                  <a:lnTo>
                    <a:pt x="460" y="0"/>
                  </a:lnTo>
                  <a:lnTo>
                    <a:pt x="455" y="0"/>
                  </a:lnTo>
                  <a:lnTo>
                    <a:pt x="448" y="3"/>
                  </a:lnTo>
                  <a:lnTo>
                    <a:pt x="448"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1" name="Freeform 55">
              <a:extLst>
                <a:ext uri="{FF2B5EF4-FFF2-40B4-BE49-F238E27FC236}">
                  <a16:creationId xmlns:a16="http://schemas.microsoft.com/office/drawing/2014/main" id="{44C000C8-C534-49E7-88C5-3D3E5709AF7E}"/>
                </a:ext>
              </a:extLst>
            </p:cNvPr>
            <p:cNvSpPr>
              <a:spLocks/>
            </p:cNvSpPr>
            <p:nvPr/>
          </p:nvSpPr>
          <p:spPr bwMode="auto">
            <a:xfrm>
              <a:off x="6766240" y="5462703"/>
              <a:ext cx="39260" cy="41045"/>
            </a:xfrm>
            <a:custGeom>
              <a:avLst/>
              <a:gdLst/>
              <a:ahLst/>
              <a:cxnLst>
                <a:cxn ang="0">
                  <a:pos x="2" y="7"/>
                </a:cxn>
                <a:cxn ang="0">
                  <a:pos x="2" y="7"/>
                </a:cxn>
                <a:cxn ang="0">
                  <a:pos x="2" y="14"/>
                </a:cxn>
                <a:cxn ang="0">
                  <a:pos x="0" y="28"/>
                </a:cxn>
                <a:cxn ang="0">
                  <a:pos x="2" y="35"/>
                </a:cxn>
                <a:cxn ang="0">
                  <a:pos x="3" y="40"/>
                </a:cxn>
                <a:cxn ang="0">
                  <a:pos x="7" y="46"/>
                </a:cxn>
                <a:cxn ang="0">
                  <a:pos x="12" y="46"/>
                </a:cxn>
                <a:cxn ang="0">
                  <a:pos x="12" y="46"/>
                </a:cxn>
                <a:cxn ang="0">
                  <a:pos x="19" y="44"/>
                </a:cxn>
                <a:cxn ang="0">
                  <a:pos x="26" y="40"/>
                </a:cxn>
                <a:cxn ang="0">
                  <a:pos x="33" y="35"/>
                </a:cxn>
                <a:cxn ang="0">
                  <a:pos x="39" y="30"/>
                </a:cxn>
                <a:cxn ang="0">
                  <a:pos x="42" y="24"/>
                </a:cxn>
                <a:cxn ang="0">
                  <a:pos x="44" y="19"/>
                </a:cxn>
                <a:cxn ang="0">
                  <a:pos x="42" y="14"/>
                </a:cxn>
                <a:cxn ang="0">
                  <a:pos x="37" y="10"/>
                </a:cxn>
                <a:cxn ang="0">
                  <a:pos x="37" y="10"/>
                </a:cxn>
                <a:cxn ang="0">
                  <a:pos x="23" y="3"/>
                </a:cxn>
                <a:cxn ang="0">
                  <a:pos x="12" y="0"/>
                </a:cxn>
                <a:cxn ang="0">
                  <a:pos x="7" y="0"/>
                </a:cxn>
                <a:cxn ang="0">
                  <a:pos x="3" y="0"/>
                </a:cxn>
                <a:cxn ang="0">
                  <a:pos x="2" y="3"/>
                </a:cxn>
                <a:cxn ang="0">
                  <a:pos x="2" y="7"/>
                </a:cxn>
                <a:cxn ang="0">
                  <a:pos x="2" y="7"/>
                </a:cxn>
              </a:cxnLst>
              <a:rect l="0" t="0" r="r" b="b"/>
              <a:pathLst>
                <a:path w="44" h="46">
                  <a:moveTo>
                    <a:pt x="2" y="7"/>
                  </a:moveTo>
                  <a:lnTo>
                    <a:pt x="2" y="7"/>
                  </a:lnTo>
                  <a:lnTo>
                    <a:pt x="2" y="14"/>
                  </a:lnTo>
                  <a:lnTo>
                    <a:pt x="0" y="28"/>
                  </a:lnTo>
                  <a:lnTo>
                    <a:pt x="2" y="35"/>
                  </a:lnTo>
                  <a:lnTo>
                    <a:pt x="3" y="40"/>
                  </a:lnTo>
                  <a:lnTo>
                    <a:pt x="7" y="46"/>
                  </a:lnTo>
                  <a:lnTo>
                    <a:pt x="12" y="46"/>
                  </a:lnTo>
                  <a:lnTo>
                    <a:pt x="12" y="46"/>
                  </a:lnTo>
                  <a:lnTo>
                    <a:pt x="19" y="44"/>
                  </a:lnTo>
                  <a:lnTo>
                    <a:pt x="26" y="40"/>
                  </a:lnTo>
                  <a:lnTo>
                    <a:pt x="33" y="35"/>
                  </a:lnTo>
                  <a:lnTo>
                    <a:pt x="39" y="30"/>
                  </a:lnTo>
                  <a:lnTo>
                    <a:pt x="42" y="24"/>
                  </a:lnTo>
                  <a:lnTo>
                    <a:pt x="44" y="19"/>
                  </a:lnTo>
                  <a:lnTo>
                    <a:pt x="42" y="14"/>
                  </a:lnTo>
                  <a:lnTo>
                    <a:pt x="37" y="10"/>
                  </a:lnTo>
                  <a:lnTo>
                    <a:pt x="37" y="10"/>
                  </a:lnTo>
                  <a:lnTo>
                    <a:pt x="23" y="3"/>
                  </a:lnTo>
                  <a:lnTo>
                    <a:pt x="12" y="0"/>
                  </a:lnTo>
                  <a:lnTo>
                    <a:pt x="7" y="0"/>
                  </a:lnTo>
                  <a:lnTo>
                    <a:pt x="3" y="0"/>
                  </a:lnTo>
                  <a:lnTo>
                    <a:pt x="2" y="3"/>
                  </a:lnTo>
                  <a:lnTo>
                    <a:pt x="2" y="7"/>
                  </a:lnTo>
                  <a:lnTo>
                    <a:pt x="2"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2" name="Freeform 56">
              <a:extLst>
                <a:ext uri="{FF2B5EF4-FFF2-40B4-BE49-F238E27FC236}">
                  <a16:creationId xmlns:a16="http://schemas.microsoft.com/office/drawing/2014/main" id="{D0641391-6BA7-4189-A6A7-DF5E586842C9}"/>
                </a:ext>
              </a:extLst>
            </p:cNvPr>
            <p:cNvSpPr>
              <a:spLocks/>
            </p:cNvSpPr>
            <p:nvPr/>
          </p:nvSpPr>
          <p:spPr bwMode="auto">
            <a:xfrm>
              <a:off x="6887590" y="5414520"/>
              <a:ext cx="49968" cy="37476"/>
            </a:xfrm>
            <a:custGeom>
              <a:avLst/>
              <a:gdLst/>
              <a:ahLst/>
              <a:cxnLst>
                <a:cxn ang="0">
                  <a:pos x="21" y="10"/>
                </a:cxn>
                <a:cxn ang="0">
                  <a:pos x="21" y="10"/>
                </a:cxn>
                <a:cxn ang="0">
                  <a:pos x="17" y="9"/>
                </a:cxn>
                <a:cxn ang="0">
                  <a:pos x="12" y="7"/>
                </a:cxn>
                <a:cxn ang="0">
                  <a:pos x="8" y="7"/>
                </a:cxn>
                <a:cxn ang="0">
                  <a:pos x="5" y="7"/>
                </a:cxn>
                <a:cxn ang="0">
                  <a:pos x="1" y="10"/>
                </a:cxn>
                <a:cxn ang="0">
                  <a:pos x="0" y="14"/>
                </a:cxn>
                <a:cxn ang="0">
                  <a:pos x="0" y="14"/>
                </a:cxn>
                <a:cxn ang="0">
                  <a:pos x="0" y="19"/>
                </a:cxn>
                <a:cxn ang="0">
                  <a:pos x="0" y="25"/>
                </a:cxn>
                <a:cxn ang="0">
                  <a:pos x="1" y="32"/>
                </a:cxn>
                <a:cxn ang="0">
                  <a:pos x="3" y="35"/>
                </a:cxn>
                <a:cxn ang="0">
                  <a:pos x="7" y="39"/>
                </a:cxn>
                <a:cxn ang="0">
                  <a:pos x="10" y="40"/>
                </a:cxn>
                <a:cxn ang="0">
                  <a:pos x="15" y="40"/>
                </a:cxn>
                <a:cxn ang="0">
                  <a:pos x="21" y="39"/>
                </a:cxn>
                <a:cxn ang="0">
                  <a:pos x="21" y="39"/>
                </a:cxn>
                <a:cxn ang="0">
                  <a:pos x="31" y="33"/>
                </a:cxn>
                <a:cxn ang="0">
                  <a:pos x="40" y="28"/>
                </a:cxn>
                <a:cxn ang="0">
                  <a:pos x="47" y="25"/>
                </a:cxn>
                <a:cxn ang="0">
                  <a:pos x="49" y="19"/>
                </a:cxn>
                <a:cxn ang="0">
                  <a:pos x="52" y="14"/>
                </a:cxn>
                <a:cxn ang="0">
                  <a:pos x="52" y="14"/>
                </a:cxn>
                <a:cxn ang="0">
                  <a:pos x="54" y="9"/>
                </a:cxn>
                <a:cxn ang="0">
                  <a:pos x="54" y="3"/>
                </a:cxn>
                <a:cxn ang="0">
                  <a:pos x="52" y="2"/>
                </a:cxn>
                <a:cxn ang="0">
                  <a:pos x="49" y="0"/>
                </a:cxn>
                <a:cxn ang="0">
                  <a:pos x="44" y="0"/>
                </a:cxn>
                <a:cxn ang="0">
                  <a:pos x="37" y="3"/>
                </a:cxn>
                <a:cxn ang="0">
                  <a:pos x="21" y="10"/>
                </a:cxn>
                <a:cxn ang="0">
                  <a:pos x="21" y="10"/>
                </a:cxn>
              </a:cxnLst>
              <a:rect l="0" t="0" r="r" b="b"/>
              <a:pathLst>
                <a:path w="54" h="40">
                  <a:moveTo>
                    <a:pt x="21" y="10"/>
                  </a:moveTo>
                  <a:lnTo>
                    <a:pt x="21" y="10"/>
                  </a:lnTo>
                  <a:lnTo>
                    <a:pt x="17" y="9"/>
                  </a:lnTo>
                  <a:lnTo>
                    <a:pt x="12" y="7"/>
                  </a:lnTo>
                  <a:lnTo>
                    <a:pt x="8" y="7"/>
                  </a:lnTo>
                  <a:lnTo>
                    <a:pt x="5" y="7"/>
                  </a:lnTo>
                  <a:lnTo>
                    <a:pt x="1" y="10"/>
                  </a:lnTo>
                  <a:lnTo>
                    <a:pt x="0" y="14"/>
                  </a:lnTo>
                  <a:lnTo>
                    <a:pt x="0" y="14"/>
                  </a:lnTo>
                  <a:lnTo>
                    <a:pt x="0" y="19"/>
                  </a:lnTo>
                  <a:lnTo>
                    <a:pt x="0" y="25"/>
                  </a:lnTo>
                  <a:lnTo>
                    <a:pt x="1" y="32"/>
                  </a:lnTo>
                  <a:lnTo>
                    <a:pt x="3" y="35"/>
                  </a:lnTo>
                  <a:lnTo>
                    <a:pt x="7" y="39"/>
                  </a:lnTo>
                  <a:lnTo>
                    <a:pt x="10" y="40"/>
                  </a:lnTo>
                  <a:lnTo>
                    <a:pt x="15" y="40"/>
                  </a:lnTo>
                  <a:lnTo>
                    <a:pt x="21" y="39"/>
                  </a:lnTo>
                  <a:lnTo>
                    <a:pt x="21" y="39"/>
                  </a:lnTo>
                  <a:lnTo>
                    <a:pt x="31" y="33"/>
                  </a:lnTo>
                  <a:lnTo>
                    <a:pt x="40" y="28"/>
                  </a:lnTo>
                  <a:lnTo>
                    <a:pt x="47" y="25"/>
                  </a:lnTo>
                  <a:lnTo>
                    <a:pt x="49" y="19"/>
                  </a:lnTo>
                  <a:lnTo>
                    <a:pt x="52" y="14"/>
                  </a:lnTo>
                  <a:lnTo>
                    <a:pt x="52" y="14"/>
                  </a:lnTo>
                  <a:lnTo>
                    <a:pt x="54" y="9"/>
                  </a:lnTo>
                  <a:lnTo>
                    <a:pt x="54" y="3"/>
                  </a:lnTo>
                  <a:lnTo>
                    <a:pt x="52" y="2"/>
                  </a:lnTo>
                  <a:lnTo>
                    <a:pt x="49" y="0"/>
                  </a:lnTo>
                  <a:lnTo>
                    <a:pt x="44" y="0"/>
                  </a:lnTo>
                  <a:lnTo>
                    <a:pt x="37" y="3"/>
                  </a:lnTo>
                  <a:lnTo>
                    <a:pt x="21" y="10"/>
                  </a:lnTo>
                  <a:lnTo>
                    <a:pt x="21" y="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3" name="Freeform 57">
              <a:extLst>
                <a:ext uri="{FF2B5EF4-FFF2-40B4-BE49-F238E27FC236}">
                  <a16:creationId xmlns:a16="http://schemas.microsoft.com/office/drawing/2014/main" id="{BA4563A1-F5C4-4FFD-AA9F-8EC9488637E9}"/>
                </a:ext>
              </a:extLst>
            </p:cNvPr>
            <p:cNvSpPr>
              <a:spLocks/>
            </p:cNvSpPr>
            <p:nvPr/>
          </p:nvSpPr>
          <p:spPr bwMode="auto">
            <a:xfrm>
              <a:off x="6900082" y="4359847"/>
              <a:ext cx="48182" cy="53537"/>
            </a:xfrm>
            <a:custGeom>
              <a:avLst/>
              <a:gdLst/>
              <a:ahLst/>
              <a:cxnLst>
                <a:cxn ang="0">
                  <a:pos x="7" y="2"/>
                </a:cxn>
                <a:cxn ang="0">
                  <a:pos x="7" y="2"/>
                </a:cxn>
                <a:cxn ang="0">
                  <a:pos x="5" y="5"/>
                </a:cxn>
                <a:cxn ang="0">
                  <a:pos x="1" y="11"/>
                </a:cxn>
                <a:cxn ang="0">
                  <a:pos x="0" y="21"/>
                </a:cxn>
                <a:cxn ang="0">
                  <a:pos x="0" y="33"/>
                </a:cxn>
                <a:cxn ang="0">
                  <a:pos x="0" y="33"/>
                </a:cxn>
                <a:cxn ang="0">
                  <a:pos x="0" y="39"/>
                </a:cxn>
                <a:cxn ang="0">
                  <a:pos x="1" y="46"/>
                </a:cxn>
                <a:cxn ang="0">
                  <a:pos x="3" y="51"/>
                </a:cxn>
                <a:cxn ang="0">
                  <a:pos x="7" y="55"/>
                </a:cxn>
                <a:cxn ang="0">
                  <a:pos x="14" y="58"/>
                </a:cxn>
                <a:cxn ang="0">
                  <a:pos x="21" y="58"/>
                </a:cxn>
                <a:cxn ang="0">
                  <a:pos x="21" y="58"/>
                </a:cxn>
                <a:cxn ang="0">
                  <a:pos x="30" y="58"/>
                </a:cxn>
                <a:cxn ang="0">
                  <a:pos x="38" y="56"/>
                </a:cxn>
                <a:cxn ang="0">
                  <a:pos x="44" y="55"/>
                </a:cxn>
                <a:cxn ang="0">
                  <a:pos x="49" y="51"/>
                </a:cxn>
                <a:cxn ang="0">
                  <a:pos x="52" y="46"/>
                </a:cxn>
                <a:cxn ang="0">
                  <a:pos x="52" y="42"/>
                </a:cxn>
                <a:cxn ang="0">
                  <a:pos x="52" y="39"/>
                </a:cxn>
                <a:cxn ang="0">
                  <a:pos x="49" y="33"/>
                </a:cxn>
                <a:cxn ang="0">
                  <a:pos x="49" y="33"/>
                </a:cxn>
                <a:cxn ang="0">
                  <a:pos x="40" y="23"/>
                </a:cxn>
                <a:cxn ang="0">
                  <a:pos x="31" y="11"/>
                </a:cxn>
                <a:cxn ang="0">
                  <a:pos x="26" y="5"/>
                </a:cxn>
                <a:cxn ang="0">
                  <a:pos x="19" y="2"/>
                </a:cxn>
                <a:cxn ang="0">
                  <a:pos x="14" y="0"/>
                </a:cxn>
                <a:cxn ang="0">
                  <a:pos x="7" y="2"/>
                </a:cxn>
                <a:cxn ang="0">
                  <a:pos x="7" y="2"/>
                </a:cxn>
              </a:cxnLst>
              <a:rect l="0" t="0" r="r" b="b"/>
              <a:pathLst>
                <a:path w="52" h="58">
                  <a:moveTo>
                    <a:pt x="7" y="2"/>
                  </a:moveTo>
                  <a:lnTo>
                    <a:pt x="7" y="2"/>
                  </a:lnTo>
                  <a:lnTo>
                    <a:pt x="5" y="5"/>
                  </a:lnTo>
                  <a:lnTo>
                    <a:pt x="1" y="11"/>
                  </a:lnTo>
                  <a:lnTo>
                    <a:pt x="0" y="21"/>
                  </a:lnTo>
                  <a:lnTo>
                    <a:pt x="0" y="33"/>
                  </a:lnTo>
                  <a:lnTo>
                    <a:pt x="0" y="33"/>
                  </a:lnTo>
                  <a:lnTo>
                    <a:pt x="0" y="39"/>
                  </a:lnTo>
                  <a:lnTo>
                    <a:pt x="1" y="46"/>
                  </a:lnTo>
                  <a:lnTo>
                    <a:pt x="3" y="51"/>
                  </a:lnTo>
                  <a:lnTo>
                    <a:pt x="7" y="55"/>
                  </a:lnTo>
                  <a:lnTo>
                    <a:pt x="14" y="58"/>
                  </a:lnTo>
                  <a:lnTo>
                    <a:pt x="21" y="58"/>
                  </a:lnTo>
                  <a:lnTo>
                    <a:pt x="21" y="58"/>
                  </a:lnTo>
                  <a:lnTo>
                    <a:pt x="30" y="58"/>
                  </a:lnTo>
                  <a:lnTo>
                    <a:pt x="38" y="56"/>
                  </a:lnTo>
                  <a:lnTo>
                    <a:pt x="44" y="55"/>
                  </a:lnTo>
                  <a:lnTo>
                    <a:pt x="49" y="51"/>
                  </a:lnTo>
                  <a:lnTo>
                    <a:pt x="52" y="46"/>
                  </a:lnTo>
                  <a:lnTo>
                    <a:pt x="52" y="42"/>
                  </a:lnTo>
                  <a:lnTo>
                    <a:pt x="52" y="39"/>
                  </a:lnTo>
                  <a:lnTo>
                    <a:pt x="49" y="33"/>
                  </a:lnTo>
                  <a:lnTo>
                    <a:pt x="49" y="33"/>
                  </a:lnTo>
                  <a:lnTo>
                    <a:pt x="40" y="23"/>
                  </a:lnTo>
                  <a:lnTo>
                    <a:pt x="31" y="11"/>
                  </a:lnTo>
                  <a:lnTo>
                    <a:pt x="26" y="5"/>
                  </a:lnTo>
                  <a:lnTo>
                    <a:pt x="19" y="2"/>
                  </a:lnTo>
                  <a:lnTo>
                    <a:pt x="14" y="0"/>
                  </a:lnTo>
                  <a:lnTo>
                    <a:pt x="7" y="2"/>
                  </a:lnTo>
                  <a:lnTo>
                    <a:pt x="7"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4" name="Freeform 58">
              <a:extLst>
                <a:ext uri="{FF2B5EF4-FFF2-40B4-BE49-F238E27FC236}">
                  <a16:creationId xmlns:a16="http://schemas.microsoft.com/office/drawing/2014/main" id="{3F0B1DA6-0682-4BAE-85DA-CF0EBD8A81B2}"/>
                </a:ext>
              </a:extLst>
            </p:cNvPr>
            <p:cNvSpPr>
              <a:spLocks/>
            </p:cNvSpPr>
            <p:nvPr/>
          </p:nvSpPr>
          <p:spPr bwMode="auto">
            <a:xfrm>
              <a:off x="2210266" y="3174901"/>
              <a:ext cx="33906" cy="49968"/>
            </a:xfrm>
            <a:custGeom>
              <a:avLst/>
              <a:gdLst/>
              <a:ahLst/>
              <a:cxnLst>
                <a:cxn ang="0">
                  <a:pos x="11" y="2"/>
                </a:cxn>
                <a:cxn ang="0">
                  <a:pos x="11" y="2"/>
                </a:cxn>
                <a:cxn ang="0">
                  <a:pos x="5" y="14"/>
                </a:cxn>
                <a:cxn ang="0">
                  <a:pos x="2" y="27"/>
                </a:cxn>
                <a:cxn ang="0">
                  <a:pos x="0" y="37"/>
                </a:cxn>
                <a:cxn ang="0">
                  <a:pos x="0" y="37"/>
                </a:cxn>
                <a:cxn ang="0">
                  <a:pos x="2" y="41"/>
                </a:cxn>
                <a:cxn ang="0">
                  <a:pos x="5" y="46"/>
                </a:cxn>
                <a:cxn ang="0">
                  <a:pos x="9" y="49"/>
                </a:cxn>
                <a:cxn ang="0">
                  <a:pos x="14" y="55"/>
                </a:cxn>
                <a:cxn ang="0">
                  <a:pos x="19" y="57"/>
                </a:cxn>
                <a:cxn ang="0">
                  <a:pos x="26" y="57"/>
                </a:cxn>
                <a:cxn ang="0">
                  <a:pos x="32" y="55"/>
                </a:cxn>
                <a:cxn ang="0">
                  <a:pos x="35" y="51"/>
                </a:cxn>
                <a:cxn ang="0">
                  <a:pos x="35" y="51"/>
                </a:cxn>
                <a:cxn ang="0">
                  <a:pos x="39" y="44"/>
                </a:cxn>
                <a:cxn ang="0">
                  <a:pos x="39" y="39"/>
                </a:cxn>
                <a:cxn ang="0">
                  <a:pos x="37" y="34"/>
                </a:cxn>
                <a:cxn ang="0">
                  <a:pos x="35" y="28"/>
                </a:cxn>
                <a:cxn ang="0">
                  <a:pos x="28" y="21"/>
                </a:cxn>
                <a:cxn ang="0">
                  <a:pos x="25" y="20"/>
                </a:cxn>
                <a:cxn ang="0">
                  <a:pos x="25" y="20"/>
                </a:cxn>
                <a:cxn ang="0">
                  <a:pos x="25" y="16"/>
                </a:cxn>
                <a:cxn ang="0">
                  <a:pos x="23" y="7"/>
                </a:cxn>
                <a:cxn ang="0">
                  <a:pos x="21" y="4"/>
                </a:cxn>
                <a:cxn ang="0">
                  <a:pos x="19" y="2"/>
                </a:cxn>
                <a:cxn ang="0">
                  <a:pos x="16" y="0"/>
                </a:cxn>
                <a:cxn ang="0">
                  <a:pos x="11" y="2"/>
                </a:cxn>
                <a:cxn ang="0">
                  <a:pos x="11" y="2"/>
                </a:cxn>
              </a:cxnLst>
              <a:rect l="0" t="0" r="r" b="b"/>
              <a:pathLst>
                <a:path w="39" h="57">
                  <a:moveTo>
                    <a:pt x="11" y="2"/>
                  </a:moveTo>
                  <a:lnTo>
                    <a:pt x="11" y="2"/>
                  </a:lnTo>
                  <a:lnTo>
                    <a:pt x="5" y="14"/>
                  </a:lnTo>
                  <a:lnTo>
                    <a:pt x="2" y="27"/>
                  </a:lnTo>
                  <a:lnTo>
                    <a:pt x="0" y="37"/>
                  </a:lnTo>
                  <a:lnTo>
                    <a:pt x="0" y="37"/>
                  </a:lnTo>
                  <a:lnTo>
                    <a:pt x="2" y="41"/>
                  </a:lnTo>
                  <a:lnTo>
                    <a:pt x="5" y="46"/>
                  </a:lnTo>
                  <a:lnTo>
                    <a:pt x="9" y="49"/>
                  </a:lnTo>
                  <a:lnTo>
                    <a:pt x="14" y="55"/>
                  </a:lnTo>
                  <a:lnTo>
                    <a:pt x="19" y="57"/>
                  </a:lnTo>
                  <a:lnTo>
                    <a:pt x="26" y="57"/>
                  </a:lnTo>
                  <a:lnTo>
                    <a:pt x="32" y="55"/>
                  </a:lnTo>
                  <a:lnTo>
                    <a:pt x="35" y="51"/>
                  </a:lnTo>
                  <a:lnTo>
                    <a:pt x="35" y="51"/>
                  </a:lnTo>
                  <a:lnTo>
                    <a:pt x="39" y="44"/>
                  </a:lnTo>
                  <a:lnTo>
                    <a:pt x="39" y="39"/>
                  </a:lnTo>
                  <a:lnTo>
                    <a:pt x="37" y="34"/>
                  </a:lnTo>
                  <a:lnTo>
                    <a:pt x="35" y="28"/>
                  </a:lnTo>
                  <a:lnTo>
                    <a:pt x="28" y="21"/>
                  </a:lnTo>
                  <a:lnTo>
                    <a:pt x="25" y="20"/>
                  </a:lnTo>
                  <a:lnTo>
                    <a:pt x="25" y="20"/>
                  </a:lnTo>
                  <a:lnTo>
                    <a:pt x="25" y="16"/>
                  </a:lnTo>
                  <a:lnTo>
                    <a:pt x="23" y="7"/>
                  </a:lnTo>
                  <a:lnTo>
                    <a:pt x="21" y="4"/>
                  </a:lnTo>
                  <a:lnTo>
                    <a:pt x="19" y="2"/>
                  </a:lnTo>
                  <a:lnTo>
                    <a:pt x="16" y="0"/>
                  </a:lnTo>
                  <a:lnTo>
                    <a:pt x="11" y="2"/>
                  </a:lnTo>
                  <a:lnTo>
                    <a:pt x="11"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5" name="Freeform 59">
              <a:extLst>
                <a:ext uri="{FF2B5EF4-FFF2-40B4-BE49-F238E27FC236}">
                  <a16:creationId xmlns:a16="http://schemas.microsoft.com/office/drawing/2014/main" id="{BA24B610-7359-43DC-AFF1-72BA6A087539}"/>
                </a:ext>
              </a:extLst>
            </p:cNvPr>
            <p:cNvSpPr>
              <a:spLocks/>
            </p:cNvSpPr>
            <p:nvPr/>
          </p:nvSpPr>
          <p:spPr bwMode="auto">
            <a:xfrm>
              <a:off x="2556470" y="2239793"/>
              <a:ext cx="39260" cy="28553"/>
            </a:xfrm>
            <a:custGeom>
              <a:avLst/>
              <a:gdLst/>
              <a:ahLst/>
              <a:cxnLst>
                <a:cxn ang="0">
                  <a:pos x="20" y="0"/>
                </a:cxn>
                <a:cxn ang="0">
                  <a:pos x="20" y="0"/>
                </a:cxn>
                <a:cxn ang="0">
                  <a:pos x="16" y="2"/>
                </a:cxn>
                <a:cxn ang="0">
                  <a:pos x="7" y="5"/>
                </a:cxn>
                <a:cxn ang="0">
                  <a:pos x="4" y="7"/>
                </a:cxn>
                <a:cxn ang="0">
                  <a:pos x="2" y="10"/>
                </a:cxn>
                <a:cxn ang="0">
                  <a:pos x="0" y="14"/>
                </a:cxn>
                <a:cxn ang="0">
                  <a:pos x="2" y="18"/>
                </a:cxn>
                <a:cxn ang="0">
                  <a:pos x="2" y="18"/>
                </a:cxn>
                <a:cxn ang="0">
                  <a:pos x="6" y="21"/>
                </a:cxn>
                <a:cxn ang="0">
                  <a:pos x="9" y="25"/>
                </a:cxn>
                <a:cxn ang="0">
                  <a:pos x="20" y="28"/>
                </a:cxn>
                <a:cxn ang="0">
                  <a:pos x="34" y="32"/>
                </a:cxn>
                <a:cxn ang="0">
                  <a:pos x="34" y="32"/>
                </a:cxn>
                <a:cxn ang="0">
                  <a:pos x="37" y="26"/>
                </a:cxn>
                <a:cxn ang="0">
                  <a:pos x="41" y="23"/>
                </a:cxn>
                <a:cxn ang="0">
                  <a:pos x="44" y="18"/>
                </a:cxn>
                <a:cxn ang="0">
                  <a:pos x="44" y="12"/>
                </a:cxn>
                <a:cxn ang="0">
                  <a:pos x="41" y="7"/>
                </a:cxn>
                <a:cxn ang="0">
                  <a:pos x="34" y="2"/>
                </a:cxn>
                <a:cxn ang="0">
                  <a:pos x="20" y="0"/>
                </a:cxn>
                <a:cxn ang="0">
                  <a:pos x="20" y="0"/>
                </a:cxn>
              </a:cxnLst>
              <a:rect l="0" t="0" r="r" b="b"/>
              <a:pathLst>
                <a:path w="44" h="32">
                  <a:moveTo>
                    <a:pt x="20" y="0"/>
                  </a:moveTo>
                  <a:lnTo>
                    <a:pt x="20" y="0"/>
                  </a:lnTo>
                  <a:lnTo>
                    <a:pt x="16" y="2"/>
                  </a:lnTo>
                  <a:lnTo>
                    <a:pt x="7" y="5"/>
                  </a:lnTo>
                  <a:lnTo>
                    <a:pt x="4" y="7"/>
                  </a:lnTo>
                  <a:lnTo>
                    <a:pt x="2" y="10"/>
                  </a:lnTo>
                  <a:lnTo>
                    <a:pt x="0" y="14"/>
                  </a:lnTo>
                  <a:lnTo>
                    <a:pt x="2" y="18"/>
                  </a:lnTo>
                  <a:lnTo>
                    <a:pt x="2" y="18"/>
                  </a:lnTo>
                  <a:lnTo>
                    <a:pt x="6" y="21"/>
                  </a:lnTo>
                  <a:lnTo>
                    <a:pt x="9" y="25"/>
                  </a:lnTo>
                  <a:lnTo>
                    <a:pt x="20" y="28"/>
                  </a:lnTo>
                  <a:lnTo>
                    <a:pt x="34" y="32"/>
                  </a:lnTo>
                  <a:lnTo>
                    <a:pt x="34" y="32"/>
                  </a:lnTo>
                  <a:lnTo>
                    <a:pt x="37" y="26"/>
                  </a:lnTo>
                  <a:lnTo>
                    <a:pt x="41" y="23"/>
                  </a:lnTo>
                  <a:lnTo>
                    <a:pt x="44" y="18"/>
                  </a:lnTo>
                  <a:lnTo>
                    <a:pt x="44" y="12"/>
                  </a:lnTo>
                  <a:lnTo>
                    <a:pt x="41" y="7"/>
                  </a:lnTo>
                  <a:lnTo>
                    <a:pt x="34" y="2"/>
                  </a:lnTo>
                  <a:lnTo>
                    <a:pt x="20" y="0"/>
                  </a:lnTo>
                  <a:lnTo>
                    <a:pt x="2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6" name="Freeform 60">
              <a:extLst>
                <a:ext uri="{FF2B5EF4-FFF2-40B4-BE49-F238E27FC236}">
                  <a16:creationId xmlns:a16="http://schemas.microsoft.com/office/drawing/2014/main" id="{E2E6CDF4-42E1-415A-ADA2-8FFFA6829797}"/>
                </a:ext>
              </a:extLst>
            </p:cNvPr>
            <p:cNvSpPr>
              <a:spLocks/>
            </p:cNvSpPr>
            <p:nvPr/>
          </p:nvSpPr>
          <p:spPr bwMode="auto">
            <a:xfrm>
              <a:off x="2497580" y="2218379"/>
              <a:ext cx="17846" cy="12492"/>
            </a:xfrm>
            <a:custGeom>
              <a:avLst/>
              <a:gdLst/>
              <a:ahLst/>
              <a:cxnLst>
                <a:cxn ang="0">
                  <a:pos x="0" y="0"/>
                </a:cxn>
                <a:cxn ang="0">
                  <a:pos x="7" y="14"/>
                </a:cxn>
                <a:cxn ang="0">
                  <a:pos x="7" y="14"/>
                </a:cxn>
                <a:cxn ang="0">
                  <a:pos x="11" y="11"/>
                </a:cxn>
                <a:cxn ang="0">
                  <a:pos x="18" y="6"/>
                </a:cxn>
                <a:cxn ang="0">
                  <a:pos x="20" y="4"/>
                </a:cxn>
                <a:cxn ang="0">
                  <a:pos x="18" y="0"/>
                </a:cxn>
                <a:cxn ang="0">
                  <a:pos x="11" y="0"/>
                </a:cxn>
                <a:cxn ang="0">
                  <a:pos x="0" y="0"/>
                </a:cxn>
                <a:cxn ang="0">
                  <a:pos x="0" y="0"/>
                </a:cxn>
              </a:cxnLst>
              <a:rect l="0" t="0" r="r" b="b"/>
              <a:pathLst>
                <a:path w="20" h="14">
                  <a:moveTo>
                    <a:pt x="0" y="0"/>
                  </a:moveTo>
                  <a:lnTo>
                    <a:pt x="7" y="14"/>
                  </a:lnTo>
                  <a:lnTo>
                    <a:pt x="7" y="14"/>
                  </a:lnTo>
                  <a:lnTo>
                    <a:pt x="11" y="11"/>
                  </a:lnTo>
                  <a:lnTo>
                    <a:pt x="18" y="6"/>
                  </a:lnTo>
                  <a:lnTo>
                    <a:pt x="20" y="4"/>
                  </a:lnTo>
                  <a:lnTo>
                    <a:pt x="18" y="0"/>
                  </a:lnTo>
                  <a:lnTo>
                    <a:pt x="11" y="0"/>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7" name="Freeform 61">
              <a:extLst>
                <a:ext uri="{FF2B5EF4-FFF2-40B4-BE49-F238E27FC236}">
                  <a16:creationId xmlns:a16="http://schemas.microsoft.com/office/drawing/2014/main" id="{0A974B10-7B46-4F8B-B967-E2D6B89B4A94}"/>
                </a:ext>
              </a:extLst>
            </p:cNvPr>
            <p:cNvSpPr>
              <a:spLocks/>
            </p:cNvSpPr>
            <p:nvPr/>
          </p:nvSpPr>
          <p:spPr bwMode="auto">
            <a:xfrm>
              <a:off x="2715296" y="2238009"/>
              <a:ext cx="26768" cy="33907"/>
            </a:xfrm>
            <a:custGeom>
              <a:avLst/>
              <a:gdLst/>
              <a:ahLst/>
              <a:cxnLst>
                <a:cxn ang="0">
                  <a:pos x="18" y="0"/>
                </a:cxn>
                <a:cxn ang="0">
                  <a:pos x="0" y="22"/>
                </a:cxn>
                <a:cxn ang="0">
                  <a:pos x="0" y="22"/>
                </a:cxn>
                <a:cxn ang="0">
                  <a:pos x="2" y="27"/>
                </a:cxn>
                <a:cxn ang="0">
                  <a:pos x="7" y="34"/>
                </a:cxn>
                <a:cxn ang="0">
                  <a:pos x="11" y="37"/>
                </a:cxn>
                <a:cxn ang="0">
                  <a:pos x="14" y="39"/>
                </a:cxn>
                <a:cxn ang="0">
                  <a:pos x="18" y="37"/>
                </a:cxn>
                <a:cxn ang="0">
                  <a:pos x="21" y="32"/>
                </a:cxn>
                <a:cxn ang="0">
                  <a:pos x="21" y="32"/>
                </a:cxn>
                <a:cxn ang="0">
                  <a:pos x="27" y="18"/>
                </a:cxn>
                <a:cxn ang="0">
                  <a:pos x="32" y="7"/>
                </a:cxn>
                <a:cxn ang="0">
                  <a:pos x="32" y="4"/>
                </a:cxn>
                <a:cxn ang="0">
                  <a:pos x="30" y="0"/>
                </a:cxn>
                <a:cxn ang="0">
                  <a:pos x="25" y="0"/>
                </a:cxn>
                <a:cxn ang="0">
                  <a:pos x="18" y="0"/>
                </a:cxn>
                <a:cxn ang="0">
                  <a:pos x="18" y="0"/>
                </a:cxn>
              </a:cxnLst>
              <a:rect l="0" t="0" r="r" b="b"/>
              <a:pathLst>
                <a:path w="32" h="39">
                  <a:moveTo>
                    <a:pt x="18" y="0"/>
                  </a:moveTo>
                  <a:lnTo>
                    <a:pt x="0" y="22"/>
                  </a:lnTo>
                  <a:lnTo>
                    <a:pt x="0" y="22"/>
                  </a:lnTo>
                  <a:lnTo>
                    <a:pt x="2" y="27"/>
                  </a:lnTo>
                  <a:lnTo>
                    <a:pt x="7" y="34"/>
                  </a:lnTo>
                  <a:lnTo>
                    <a:pt x="11" y="37"/>
                  </a:lnTo>
                  <a:lnTo>
                    <a:pt x="14" y="39"/>
                  </a:lnTo>
                  <a:lnTo>
                    <a:pt x="18" y="37"/>
                  </a:lnTo>
                  <a:lnTo>
                    <a:pt x="21" y="32"/>
                  </a:lnTo>
                  <a:lnTo>
                    <a:pt x="21" y="32"/>
                  </a:lnTo>
                  <a:lnTo>
                    <a:pt x="27" y="18"/>
                  </a:lnTo>
                  <a:lnTo>
                    <a:pt x="32" y="7"/>
                  </a:lnTo>
                  <a:lnTo>
                    <a:pt x="32" y="4"/>
                  </a:lnTo>
                  <a:lnTo>
                    <a:pt x="30" y="0"/>
                  </a:lnTo>
                  <a:lnTo>
                    <a:pt x="25" y="0"/>
                  </a:lnTo>
                  <a:lnTo>
                    <a:pt x="18" y="0"/>
                  </a:lnTo>
                  <a:lnTo>
                    <a:pt x="1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8" name="Freeform 62">
              <a:extLst>
                <a:ext uri="{FF2B5EF4-FFF2-40B4-BE49-F238E27FC236}">
                  <a16:creationId xmlns:a16="http://schemas.microsoft.com/office/drawing/2014/main" id="{7877E2A3-ED33-484D-A436-0C737EA1511C}"/>
                </a:ext>
              </a:extLst>
            </p:cNvPr>
            <p:cNvSpPr>
              <a:spLocks/>
            </p:cNvSpPr>
            <p:nvPr/>
          </p:nvSpPr>
          <p:spPr bwMode="auto">
            <a:xfrm>
              <a:off x="2752771" y="2184473"/>
              <a:ext cx="14276" cy="30338"/>
            </a:xfrm>
            <a:custGeom>
              <a:avLst/>
              <a:gdLst/>
              <a:ahLst/>
              <a:cxnLst>
                <a:cxn ang="0">
                  <a:pos x="0" y="0"/>
                </a:cxn>
                <a:cxn ang="0">
                  <a:pos x="8" y="35"/>
                </a:cxn>
                <a:cxn ang="0">
                  <a:pos x="8" y="35"/>
                </a:cxn>
                <a:cxn ang="0">
                  <a:pos x="11" y="29"/>
                </a:cxn>
                <a:cxn ang="0">
                  <a:pos x="16" y="17"/>
                </a:cxn>
                <a:cxn ang="0">
                  <a:pos x="16" y="10"/>
                </a:cxn>
                <a:cxn ang="0">
                  <a:pos x="15" y="5"/>
                </a:cxn>
                <a:cxn ang="0">
                  <a:pos x="9" y="1"/>
                </a:cxn>
                <a:cxn ang="0">
                  <a:pos x="0" y="0"/>
                </a:cxn>
                <a:cxn ang="0">
                  <a:pos x="0" y="0"/>
                </a:cxn>
              </a:cxnLst>
              <a:rect l="0" t="0" r="r" b="b"/>
              <a:pathLst>
                <a:path w="16" h="35">
                  <a:moveTo>
                    <a:pt x="0" y="0"/>
                  </a:moveTo>
                  <a:lnTo>
                    <a:pt x="8" y="35"/>
                  </a:lnTo>
                  <a:lnTo>
                    <a:pt x="8" y="35"/>
                  </a:lnTo>
                  <a:lnTo>
                    <a:pt x="11" y="29"/>
                  </a:lnTo>
                  <a:lnTo>
                    <a:pt x="16" y="17"/>
                  </a:lnTo>
                  <a:lnTo>
                    <a:pt x="16" y="10"/>
                  </a:lnTo>
                  <a:lnTo>
                    <a:pt x="15" y="5"/>
                  </a:lnTo>
                  <a:lnTo>
                    <a:pt x="9" y="1"/>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69" name="Freeform 63">
              <a:extLst>
                <a:ext uri="{FF2B5EF4-FFF2-40B4-BE49-F238E27FC236}">
                  <a16:creationId xmlns:a16="http://schemas.microsoft.com/office/drawing/2014/main" id="{9C8D8DB9-DA91-4B89-9699-F1F28601D44D}"/>
                </a:ext>
              </a:extLst>
            </p:cNvPr>
            <p:cNvSpPr>
              <a:spLocks/>
            </p:cNvSpPr>
            <p:nvPr/>
          </p:nvSpPr>
          <p:spPr bwMode="auto">
            <a:xfrm>
              <a:off x="2595730" y="1897158"/>
              <a:ext cx="24984" cy="37476"/>
            </a:xfrm>
            <a:custGeom>
              <a:avLst/>
              <a:gdLst/>
              <a:ahLst/>
              <a:cxnLst>
                <a:cxn ang="0">
                  <a:pos x="4" y="0"/>
                </a:cxn>
                <a:cxn ang="0">
                  <a:pos x="0" y="18"/>
                </a:cxn>
                <a:cxn ang="0">
                  <a:pos x="0" y="18"/>
                </a:cxn>
                <a:cxn ang="0">
                  <a:pos x="4" y="23"/>
                </a:cxn>
                <a:cxn ang="0">
                  <a:pos x="14" y="33"/>
                </a:cxn>
                <a:cxn ang="0">
                  <a:pos x="20" y="37"/>
                </a:cxn>
                <a:cxn ang="0">
                  <a:pos x="23" y="40"/>
                </a:cxn>
                <a:cxn ang="0">
                  <a:pos x="27" y="39"/>
                </a:cxn>
                <a:cxn ang="0">
                  <a:pos x="29" y="35"/>
                </a:cxn>
                <a:cxn ang="0">
                  <a:pos x="29" y="35"/>
                </a:cxn>
                <a:cxn ang="0">
                  <a:pos x="27" y="23"/>
                </a:cxn>
                <a:cxn ang="0">
                  <a:pos x="23" y="12"/>
                </a:cxn>
                <a:cxn ang="0">
                  <a:pos x="20" y="9"/>
                </a:cxn>
                <a:cxn ang="0">
                  <a:pos x="14" y="5"/>
                </a:cxn>
                <a:cxn ang="0">
                  <a:pos x="9" y="2"/>
                </a:cxn>
                <a:cxn ang="0">
                  <a:pos x="4" y="0"/>
                </a:cxn>
                <a:cxn ang="0">
                  <a:pos x="4" y="0"/>
                </a:cxn>
              </a:cxnLst>
              <a:rect l="0" t="0" r="r" b="b"/>
              <a:pathLst>
                <a:path w="29" h="40">
                  <a:moveTo>
                    <a:pt x="4" y="0"/>
                  </a:moveTo>
                  <a:lnTo>
                    <a:pt x="0" y="18"/>
                  </a:lnTo>
                  <a:lnTo>
                    <a:pt x="0" y="18"/>
                  </a:lnTo>
                  <a:lnTo>
                    <a:pt x="4" y="23"/>
                  </a:lnTo>
                  <a:lnTo>
                    <a:pt x="14" y="33"/>
                  </a:lnTo>
                  <a:lnTo>
                    <a:pt x="20" y="37"/>
                  </a:lnTo>
                  <a:lnTo>
                    <a:pt x="23" y="40"/>
                  </a:lnTo>
                  <a:lnTo>
                    <a:pt x="27" y="39"/>
                  </a:lnTo>
                  <a:lnTo>
                    <a:pt x="29" y="35"/>
                  </a:lnTo>
                  <a:lnTo>
                    <a:pt x="29" y="35"/>
                  </a:lnTo>
                  <a:lnTo>
                    <a:pt x="27" y="23"/>
                  </a:lnTo>
                  <a:lnTo>
                    <a:pt x="23" y="12"/>
                  </a:lnTo>
                  <a:lnTo>
                    <a:pt x="20" y="9"/>
                  </a:lnTo>
                  <a:lnTo>
                    <a:pt x="14" y="5"/>
                  </a:lnTo>
                  <a:lnTo>
                    <a:pt x="9" y="2"/>
                  </a:lnTo>
                  <a:lnTo>
                    <a:pt x="4" y="0"/>
                  </a:lnTo>
                  <a:lnTo>
                    <a:pt x="4"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0" name="Freeform 72">
              <a:extLst>
                <a:ext uri="{FF2B5EF4-FFF2-40B4-BE49-F238E27FC236}">
                  <a16:creationId xmlns:a16="http://schemas.microsoft.com/office/drawing/2014/main" id="{AD71BFDC-3CDE-4D91-BA76-77B98AAC6A16}"/>
                </a:ext>
              </a:extLst>
            </p:cNvPr>
            <p:cNvSpPr>
              <a:spLocks/>
            </p:cNvSpPr>
            <p:nvPr/>
          </p:nvSpPr>
          <p:spPr bwMode="auto">
            <a:xfrm>
              <a:off x="2540410" y="3198101"/>
              <a:ext cx="176671" cy="49968"/>
            </a:xfrm>
            <a:custGeom>
              <a:avLst/>
              <a:gdLst/>
              <a:ahLst/>
              <a:cxnLst>
                <a:cxn ang="0">
                  <a:pos x="21" y="5"/>
                </a:cxn>
                <a:cxn ang="0">
                  <a:pos x="21" y="5"/>
                </a:cxn>
                <a:cxn ang="0">
                  <a:pos x="24" y="3"/>
                </a:cxn>
                <a:cxn ang="0">
                  <a:pos x="31" y="1"/>
                </a:cxn>
                <a:cxn ang="0">
                  <a:pos x="47" y="0"/>
                </a:cxn>
                <a:cxn ang="0">
                  <a:pos x="58" y="1"/>
                </a:cxn>
                <a:cxn ang="0">
                  <a:pos x="70" y="3"/>
                </a:cxn>
                <a:cxn ang="0">
                  <a:pos x="70" y="3"/>
                </a:cxn>
                <a:cxn ang="0">
                  <a:pos x="91" y="7"/>
                </a:cxn>
                <a:cxn ang="0">
                  <a:pos x="109" y="7"/>
                </a:cxn>
                <a:cxn ang="0">
                  <a:pos x="125" y="7"/>
                </a:cxn>
                <a:cxn ang="0">
                  <a:pos x="142" y="7"/>
                </a:cxn>
                <a:cxn ang="0">
                  <a:pos x="142" y="7"/>
                </a:cxn>
                <a:cxn ang="0">
                  <a:pos x="164" y="7"/>
                </a:cxn>
                <a:cxn ang="0">
                  <a:pos x="185" y="7"/>
                </a:cxn>
                <a:cxn ang="0">
                  <a:pos x="192" y="8"/>
                </a:cxn>
                <a:cxn ang="0">
                  <a:pos x="197" y="10"/>
                </a:cxn>
                <a:cxn ang="0">
                  <a:pos x="199" y="12"/>
                </a:cxn>
                <a:cxn ang="0">
                  <a:pos x="199" y="15"/>
                </a:cxn>
                <a:cxn ang="0">
                  <a:pos x="197" y="21"/>
                </a:cxn>
                <a:cxn ang="0">
                  <a:pos x="197" y="21"/>
                </a:cxn>
                <a:cxn ang="0">
                  <a:pos x="190" y="35"/>
                </a:cxn>
                <a:cxn ang="0">
                  <a:pos x="186" y="44"/>
                </a:cxn>
                <a:cxn ang="0">
                  <a:pos x="185" y="47"/>
                </a:cxn>
                <a:cxn ang="0">
                  <a:pos x="179" y="51"/>
                </a:cxn>
                <a:cxn ang="0">
                  <a:pos x="174" y="52"/>
                </a:cxn>
                <a:cxn ang="0">
                  <a:pos x="165" y="54"/>
                </a:cxn>
                <a:cxn ang="0">
                  <a:pos x="165" y="54"/>
                </a:cxn>
                <a:cxn ang="0">
                  <a:pos x="158" y="54"/>
                </a:cxn>
                <a:cxn ang="0">
                  <a:pos x="153" y="54"/>
                </a:cxn>
                <a:cxn ang="0">
                  <a:pos x="149" y="52"/>
                </a:cxn>
                <a:cxn ang="0">
                  <a:pos x="148" y="51"/>
                </a:cxn>
                <a:cxn ang="0">
                  <a:pos x="144" y="45"/>
                </a:cxn>
                <a:cxn ang="0">
                  <a:pos x="142" y="44"/>
                </a:cxn>
                <a:cxn ang="0">
                  <a:pos x="137" y="42"/>
                </a:cxn>
                <a:cxn ang="0">
                  <a:pos x="137" y="42"/>
                </a:cxn>
                <a:cxn ang="0">
                  <a:pos x="125" y="42"/>
                </a:cxn>
                <a:cxn ang="0">
                  <a:pos x="111" y="38"/>
                </a:cxn>
                <a:cxn ang="0">
                  <a:pos x="95" y="38"/>
                </a:cxn>
                <a:cxn ang="0">
                  <a:pos x="86" y="40"/>
                </a:cxn>
                <a:cxn ang="0">
                  <a:pos x="79" y="42"/>
                </a:cxn>
                <a:cxn ang="0">
                  <a:pos x="79" y="42"/>
                </a:cxn>
                <a:cxn ang="0">
                  <a:pos x="65" y="49"/>
                </a:cxn>
                <a:cxn ang="0">
                  <a:pos x="53" y="52"/>
                </a:cxn>
                <a:cxn ang="0">
                  <a:pos x="40" y="54"/>
                </a:cxn>
                <a:cxn ang="0">
                  <a:pos x="30" y="54"/>
                </a:cxn>
                <a:cxn ang="0">
                  <a:pos x="30" y="54"/>
                </a:cxn>
                <a:cxn ang="0">
                  <a:pos x="9" y="54"/>
                </a:cxn>
                <a:cxn ang="0">
                  <a:pos x="0" y="56"/>
                </a:cxn>
                <a:cxn ang="0">
                  <a:pos x="0" y="56"/>
                </a:cxn>
                <a:cxn ang="0">
                  <a:pos x="10" y="42"/>
                </a:cxn>
                <a:cxn ang="0">
                  <a:pos x="19" y="31"/>
                </a:cxn>
                <a:cxn ang="0">
                  <a:pos x="21" y="28"/>
                </a:cxn>
                <a:cxn ang="0">
                  <a:pos x="23" y="24"/>
                </a:cxn>
                <a:cxn ang="0">
                  <a:pos x="23" y="24"/>
                </a:cxn>
                <a:cxn ang="0">
                  <a:pos x="23" y="21"/>
                </a:cxn>
                <a:cxn ang="0">
                  <a:pos x="26" y="19"/>
                </a:cxn>
                <a:cxn ang="0">
                  <a:pos x="30" y="14"/>
                </a:cxn>
                <a:cxn ang="0">
                  <a:pos x="31" y="10"/>
                </a:cxn>
                <a:cxn ang="0">
                  <a:pos x="30" y="8"/>
                </a:cxn>
                <a:cxn ang="0">
                  <a:pos x="28" y="7"/>
                </a:cxn>
                <a:cxn ang="0">
                  <a:pos x="21" y="5"/>
                </a:cxn>
                <a:cxn ang="0">
                  <a:pos x="21" y="5"/>
                </a:cxn>
              </a:cxnLst>
              <a:rect l="0" t="0" r="r" b="b"/>
              <a:pathLst>
                <a:path w="199" h="56">
                  <a:moveTo>
                    <a:pt x="21" y="5"/>
                  </a:moveTo>
                  <a:lnTo>
                    <a:pt x="21" y="5"/>
                  </a:lnTo>
                  <a:lnTo>
                    <a:pt x="24" y="3"/>
                  </a:lnTo>
                  <a:lnTo>
                    <a:pt x="31" y="1"/>
                  </a:lnTo>
                  <a:lnTo>
                    <a:pt x="47" y="0"/>
                  </a:lnTo>
                  <a:lnTo>
                    <a:pt x="58" y="1"/>
                  </a:lnTo>
                  <a:lnTo>
                    <a:pt x="70" y="3"/>
                  </a:lnTo>
                  <a:lnTo>
                    <a:pt x="70" y="3"/>
                  </a:lnTo>
                  <a:lnTo>
                    <a:pt x="91" y="7"/>
                  </a:lnTo>
                  <a:lnTo>
                    <a:pt x="109" y="7"/>
                  </a:lnTo>
                  <a:lnTo>
                    <a:pt x="125" y="7"/>
                  </a:lnTo>
                  <a:lnTo>
                    <a:pt x="142" y="7"/>
                  </a:lnTo>
                  <a:lnTo>
                    <a:pt x="142" y="7"/>
                  </a:lnTo>
                  <a:lnTo>
                    <a:pt x="164" y="7"/>
                  </a:lnTo>
                  <a:lnTo>
                    <a:pt x="185" y="7"/>
                  </a:lnTo>
                  <a:lnTo>
                    <a:pt x="192" y="8"/>
                  </a:lnTo>
                  <a:lnTo>
                    <a:pt x="197" y="10"/>
                  </a:lnTo>
                  <a:lnTo>
                    <a:pt x="199" y="12"/>
                  </a:lnTo>
                  <a:lnTo>
                    <a:pt x="199" y="15"/>
                  </a:lnTo>
                  <a:lnTo>
                    <a:pt x="197" y="21"/>
                  </a:lnTo>
                  <a:lnTo>
                    <a:pt x="197" y="21"/>
                  </a:lnTo>
                  <a:lnTo>
                    <a:pt x="190" y="35"/>
                  </a:lnTo>
                  <a:lnTo>
                    <a:pt x="186" y="44"/>
                  </a:lnTo>
                  <a:lnTo>
                    <a:pt x="185" y="47"/>
                  </a:lnTo>
                  <a:lnTo>
                    <a:pt x="179" y="51"/>
                  </a:lnTo>
                  <a:lnTo>
                    <a:pt x="174" y="52"/>
                  </a:lnTo>
                  <a:lnTo>
                    <a:pt x="165" y="54"/>
                  </a:lnTo>
                  <a:lnTo>
                    <a:pt x="165" y="54"/>
                  </a:lnTo>
                  <a:lnTo>
                    <a:pt x="158" y="54"/>
                  </a:lnTo>
                  <a:lnTo>
                    <a:pt x="153" y="54"/>
                  </a:lnTo>
                  <a:lnTo>
                    <a:pt x="149" y="52"/>
                  </a:lnTo>
                  <a:lnTo>
                    <a:pt x="148" y="51"/>
                  </a:lnTo>
                  <a:lnTo>
                    <a:pt x="144" y="45"/>
                  </a:lnTo>
                  <a:lnTo>
                    <a:pt x="142" y="44"/>
                  </a:lnTo>
                  <a:lnTo>
                    <a:pt x="137" y="42"/>
                  </a:lnTo>
                  <a:lnTo>
                    <a:pt x="137" y="42"/>
                  </a:lnTo>
                  <a:lnTo>
                    <a:pt x="125" y="42"/>
                  </a:lnTo>
                  <a:lnTo>
                    <a:pt x="111" y="38"/>
                  </a:lnTo>
                  <a:lnTo>
                    <a:pt x="95" y="38"/>
                  </a:lnTo>
                  <a:lnTo>
                    <a:pt x="86" y="40"/>
                  </a:lnTo>
                  <a:lnTo>
                    <a:pt x="79" y="42"/>
                  </a:lnTo>
                  <a:lnTo>
                    <a:pt x="79" y="42"/>
                  </a:lnTo>
                  <a:lnTo>
                    <a:pt x="65" y="49"/>
                  </a:lnTo>
                  <a:lnTo>
                    <a:pt x="53" y="52"/>
                  </a:lnTo>
                  <a:lnTo>
                    <a:pt x="40" y="54"/>
                  </a:lnTo>
                  <a:lnTo>
                    <a:pt x="30" y="54"/>
                  </a:lnTo>
                  <a:lnTo>
                    <a:pt x="30" y="54"/>
                  </a:lnTo>
                  <a:lnTo>
                    <a:pt x="9" y="54"/>
                  </a:lnTo>
                  <a:lnTo>
                    <a:pt x="0" y="56"/>
                  </a:lnTo>
                  <a:lnTo>
                    <a:pt x="0" y="56"/>
                  </a:lnTo>
                  <a:lnTo>
                    <a:pt x="10" y="42"/>
                  </a:lnTo>
                  <a:lnTo>
                    <a:pt x="19" y="31"/>
                  </a:lnTo>
                  <a:lnTo>
                    <a:pt x="21" y="28"/>
                  </a:lnTo>
                  <a:lnTo>
                    <a:pt x="23" y="24"/>
                  </a:lnTo>
                  <a:lnTo>
                    <a:pt x="23" y="24"/>
                  </a:lnTo>
                  <a:lnTo>
                    <a:pt x="23" y="21"/>
                  </a:lnTo>
                  <a:lnTo>
                    <a:pt x="26" y="19"/>
                  </a:lnTo>
                  <a:lnTo>
                    <a:pt x="30" y="14"/>
                  </a:lnTo>
                  <a:lnTo>
                    <a:pt x="31" y="10"/>
                  </a:lnTo>
                  <a:lnTo>
                    <a:pt x="30" y="8"/>
                  </a:lnTo>
                  <a:lnTo>
                    <a:pt x="28" y="7"/>
                  </a:lnTo>
                  <a:lnTo>
                    <a:pt x="21" y="5"/>
                  </a:lnTo>
                  <a:lnTo>
                    <a:pt x="21"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1" name="Freeform 73">
              <a:extLst>
                <a:ext uri="{FF2B5EF4-FFF2-40B4-BE49-F238E27FC236}">
                  <a16:creationId xmlns:a16="http://schemas.microsoft.com/office/drawing/2014/main" id="{AF48542E-6E00-48BF-88FE-F16CE8224E33}"/>
                </a:ext>
              </a:extLst>
            </p:cNvPr>
            <p:cNvSpPr>
              <a:spLocks/>
            </p:cNvSpPr>
            <p:nvPr/>
          </p:nvSpPr>
          <p:spPr bwMode="auto">
            <a:xfrm>
              <a:off x="3971624" y="4040412"/>
              <a:ext cx="19630" cy="28553"/>
            </a:xfrm>
            <a:custGeom>
              <a:avLst/>
              <a:gdLst/>
              <a:ahLst/>
              <a:cxnLst>
                <a:cxn ang="0">
                  <a:pos x="7" y="3"/>
                </a:cxn>
                <a:cxn ang="0">
                  <a:pos x="7" y="3"/>
                </a:cxn>
                <a:cxn ang="0">
                  <a:pos x="2" y="12"/>
                </a:cxn>
                <a:cxn ang="0">
                  <a:pos x="0" y="19"/>
                </a:cxn>
                <a:cxn ang="0">
                  <a:pos x="0" y="23"/>
                </a:cxn>
                <a:cxn ang="0">
                  <a:pos x="0" y="26"/>
                </a:cxn>
                <a:cxn ang="0">
                  <a:pos x="0" y="26"/>
                </a:cxn>
                <a:cxn ang="0">
                  <a:pos x="2" y="30"/>
                </a:cxn>
                <a:cxn ang="0">
                  <a:pos x="5" y="31"/>
                </a:cxn>
                <a:cxn ang="0">
                  <a:pos x="12" y="31"/>
                </a:cxn>
                <a:cxn ang="0">
                  <a:pos x="19" y="30"/>
                </a:cxn>
                <a:cxn ang="0">
                  <a:pos x="23" y="26"/>
                </a:cxn>
                <a:cxn ang="0">
                  <a:pos x="23" y="24"/>
                </a:cxn>
                <a:cxn ang="0">
                  <a:pos x="23" y="24"/>
                </a:cxn>
                <a:cxn ang="0">
                  <a:pos x="23" y="16"/>
                </a:cxn>
                <a:cxn ang="0">
                  <a:pos x="21" y="5"/>
                </a:cxn>
                <a:cxn ang="0">
                  <a:pos x="19" y="1"/>
                </a:cxn>
                <a:cxn ang="0">
                  <a:pos x="16" y="0"/>
                </a:cxn>
                <a:cxn ang="0">
                  <a:pos x="12" y="0"/>
                </a:cxn>
                <a:cxn ang="0">
                  <a:pos x="7" y="3"/>
                </a:cxn>
                <a:cxn ang="0">
                  <a:pos x="7" y="3"/>
                </a:cxn>
              </a:cxnLst>
              <a:rect l="0" t="0" r="r" b="b"/>
              <a:pathLst>
                <a:path w="23" h="31">
                  <a:moveTo>
                    <a:pt x="7" y="3"/>
                  </a:moveTo>
                  <a:lnTo>
                    <a:pt x="7" y="3"/>
                  </a:lnTo>
                  <a:lnTo>
                    <a:pt x="2" y="12"/>
                  </a:lnTo>
                  <a:lnTo>
                    <a:pt x="0" y="19"/>
                  </a:lnTo>
                  <a:lnTo>
                    <a:pt x="0" y="23"/>
                  </a:lnTo>
                  <a:lnTo>
                    <a:pt x="0" y="26"/>
                  </a:lnTo>
                  <a:lnTo>
                    <a:pt x="0" y="26"/>
                  </a:lnTo>
                  <a:lnTo>
                    <a:pt x="2" y="30"/>
                  </a:lnTo>
                  <a:lnTo>
                    <a:pt x="5" y="31"/>
                  </a:lnTo>
                  <a:lnTo>
                    <a:pt x="12" y="31"/>
                  </a:lnTo>
                  <a:lnTo>
                    <a:pt x="19" y="30"/>
                  </a:lnTo>
                  <a:lnTo>
                    <a:pt x="23" y="26"/>
                  </a:lnTo>
                  <a:lnTo>
                    <a:pt x="23" y="24"/>
                  </a:lnTo>
                  <a:lnTo>
                    <a:pt x="23" y="24"/>
                  </a:lnTo>
                  <a:lnTo>
                    <a:pt x="23" y="16"/>
                  </a:lnTo>
                  <a:lnTo>
                    <a:pt x="21" y="5"/>
                  </a:lnTo>
                  <a:lnTo>
                    <a:pt x="19" y="1"/>
                  </a:lnTo>
                  <a:lnTo>
                    <a:pt x="16" y="0"/>
                  </a:lnTo>
                  <a:lnTo>
                    <a:pt x="12" y="0"/>
                  </a:lnTo>
                  <a:lnTo>
                    <a:pt x="7" y="3"/>
                  </a:lnTo>
                  <a:lnTo>
                    <a:pt x="7"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2" name="Freeform 74">
              <a:extLst>
                <a:ext uri="{FF2B5EF4-FFF2-40B4-BE49-F238E27FC236}">
                  <a16:creationId xmlns:a16="http://schemas.microsoft.com/office/drawing/2014/main" id="{33675BDB-676B-49F7-ACC7-9C0E5C074AEF}"/>
                </a:ext>
              </a:extLst>
            </p:cNvPr>
            <p:cNvSpPr>
              <a:spLocks/>
            </p:cNvSpPr>
            <p:nvPr/>
          </p:nvSpPr>
          <p:spPr bwMode="auto">
            <a:xfrm>
              <a:off x="4019807" y="3970813"/>
              <a:ext cx="23199" cy="19631"/>
            </a:xfrm>
            <a:custGeom>
              <a:avLst/>
              <a:gdLst/>
              <a:ahLst/>
              <a:cxnLst>
                <a:cxn ang="0">
                  <a:pos x="3" y="4"/>
                </a:cxn>
                <a:cxn ang="0">
                  <a:pos x="3" y="4"/>
                </a:cxn>
                <a:cxn ang="0">
                  <a:pos x="0" y="13"/>
                </a:cxn>
                <a:cxn ang="0">
                  <a:pos x="0" y="18"/>
                </a:cxn>
                <a:cxn ang="0">
                  <a:pos x="0" y="21"/>
                </a:cxn>
                <a:cxn ang="0">
                  <a:pos x="1" y="21"/>
                </a:cxn>
                <a:cxn ang="0">
                  <a:pos x="1" y="21"/>
                </a:cxn>
                <a:cxn ang="0">
                  <a:pos x="7" y="20"/>
                </a:cxn>
                <a:cxn ang="0">
                  <a:pos x="15" y="16"/>
                </a:cxn>
                <a:cxn ang="0">
                  <a:pos x="24" y="13"/>
                </a:cxn>
                <a:cxn ang="0">
                  <a:pos x="24" y="13"/>
                </a:cxn>
                <a:cxn ang="0">
                  <a:pos x="24" y="9"/>
                </a:cxn>
                <a:cxn ang="0">
                  <a:pos x="23" y="4"/>
                </a:cxn>
                <a:cxn ang="0">
                  <a:pos x="21" y="2"/>
                </a:cxn>
                <a:cxn ang="0">
                  <a:pos x="15" y="0"/>
                </a:cxn>
                <a:cxn ang="0">
                  <a:pos x="10" y="0"/>
                </a:cxn>
                <a:cxn ang="0">
                  <a:pos x="3" y="4"/>
                </a:cxn>
                <a:cxn ang="0">
                  <a:pos x="3" y="4"/>
                </a:cxn>
              </a:cxnLst>
              <a:rect l="0" t="0" r="r" b="b"/>
              <a:pathLst>
                <a:path w="24" h="21">
                  <a:moveTo>
                    <a:pt x="3" y="4"/>
                  </a:moveTo>
                  <a:lnTo>
                    <a:pt x="3" y="4"/>
                  </a:lnTo>
                  <a:lnTo>
                    <a:pt x="0" y="13"/>
                  </a:lnTo>
                  <a:lnTo>
                    <a:pt x="0" y="18"/>
                  </a:lnTo>
                  <a:lnTo>
                    <a:pt x="0" y="21"/>
                  </a:lnTo>
                  <a:lnTo>
                    <a:pt x="1" y="21"/>
                  </a:lnTo>
                  <a:lnTo>
                    <a:pt x="1" y="21"/>
                  </a:lnTo>
                  <a:lnTo>
                    <a:pt x="7" y="20"/>
                  </a:lnTo>
                  <a:lnTo>
                    <a:pt x="15" y="16"/>
                  </a:lnTo>
                  <a:lnTo>
                    <a:pt x="24" y="13"/>
                  </a:lnTo>
                  <a:lnTo>
                    <a:pt x="24" y="13"/>
                  </a:lnTo>
                  <a:lnTo>
                    <a:pt x="24" y="9"/>
                  </a:lnTo>
                  <a:lnTo>
                    <a:pt x="23" y="4"/>
                  </a:lnTo>
                  <a:lnTo>
                    <a:pt x="21" y="2"/>
                  </a:lnTo>
                  <a:lnTo>
                    <a:pt x="15" y="0"/>
                  </a:lnTo>
                  <a:lnTo>
                    <a:pt x="10" y="0"/>
                  </a:lnTo>
                  <a:lnTo>
                    <a:pt x="3" y="4"/>
                  </a:lnTo>
                  <a:lnTo>
                    <a:pt x="3"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3" name="Freeform 75">
              <a:extLst>
                <a:ext uri="{FF2B5EF4-FFF2-40B4-BE49-F238E27FC236}">
                  <a16:creationId xmlns:a16="http://schemas.microsoft.com/office/drawing/2014/main" id="{16D0B8FD-709E-472C-B00C-FD0CEE35E6FB}"/>
                </a:ext>
              </a:extLst>
            </p:cNvPr>
            <p:cNvSpPr>
              <a:spLocks/>
            </p:cNvSpPr>
            <p:nvPr/>
          </p:nvSpPr>
          <p:spPr bwMode="auto">
            <a:xfrm>
              <a:off x="4105465" y="3829834"/>
              <a:ext cx="41044" cy="41045"/>
            </a:xfrm>
            <a:custGeom>
              <a:avLst/>
              <a:gdLst/>
              <a:ahLst/>
              <a:cxnLst>
                <a:cxn ang="0">
                  <a:pos x="9" y="14"/>
                </a:cxn>
                <a:cxn ang="0">
                  <a:pos x="2" y="28"/>
                </a:cxn>
                <a:cxn ang="0">
                  <a:pos x="2" y="28"/>
                </a:cxn>
                <a:cxn ang="0">
                  <a:pos x="0" y="37"/>
                </a:cxn>
                <a:cxn ang="0">
                  <a:pos x="0" y="42"/>
                </a:cxn>
                <a:cxn ang="0">
                  <a:pos x="2" y="44"/>
                </a:cxn>
                <a:cxn ang="0">
                  <a:pos x="5" y="45"/>
                </a:cxn>
                <a:cxn ang="0">
                  <a:pos x="5" y="45"/>
                </a:cxn>
                <a:cxn ang="0">
                  <a:pos x="12" y="45"/>
                </a:cxn>
                <a:cxn ang="0">
                  <a:pos x="17" y="44"/>
                </a:cxn>
                <a:cxn ang="0">
                  <a:pos x="31" y="35"/>
                </a:cxn>
                <a:cxn ang="0">
                  <a:pos x="31" y="35"/>
                </a:cxn>
                <a:cxn ang="0">
                  <a:pos x="37" y="31"/>
                </a:cxn>
                <a:cxn ang="0">
                  <a:pos x="40" y="28"/>
                </a:cxn>
                <a:cxn ang="0">
                  <a:pos x="42" y="23"/>
                </a:cxn>
                <a:cxn ang="0">
                  <a:pos x="44" y="19"/>
                </a:cxn>
                <a:cxn ang="0">
                  <a:pos x="46" y="14"/>
                </a:cxn>
                <a:cxn ang="0">
                  <a:pos x="44" y="10"/>
                </a:cxn>
                <a:cxn ang="0">
                  <a:pos x="44" y="7"/>
                </a:cxn>
                <a:cxn ang="0">
                  <a:pos x="40" y="5"/>
                </a:cxn>
                <a:cxn ang="0">
                  <a:pos x="40" y="5"/>
                </a:cxn>
                <a:cxn ang="0">
                  <a:pos x="31" y="1"/>
                </a:cxn>
                <a:cxn ang="0">
                  <a:pos x="23" y="0"/>
                </a:cxn>
                <a:cxn ang="0">
                  <a:pos x="17" y="0"/>
                </a:cxn>
                <a:cxn ang="0">
                  <a:pos x="14" y="1"/>
                </a:cxn>
                <a:cxn ang="0">
                  <a:pos x="10" y="7"/>
                </a:cxn>
                <a:cxn ang="0">
                  <a:pos x="9" y="14"/>
                </a:cxn>
                <a:cxn ang="0">
                  <a:pos x="9" y="14"/>
                </a:cxn>
              </a:cxnLst>
              <a:rect l="0" t="0" r="r" b="b"/>
              <a:pathLst>
                <a:path w="46" h="45">
                  <a:moveTo>
                    <a:pt x="9" y="14"/>
                  </a:moveTo>
                  <a:lnTo>
                    <a:pt x="2" y="28"/>
                  </a:lnTo>
                  <a:lnTo>
                    <a:pt x="2" y="28"/>
                  </a:lnTo>
                  <a:lnTo>
                    <a:pt x="0" y="37"/>
                  </a:lnTo>
                  <a:lnTo>
                    <a:pt x="0" y="42"/>
                  </a:lnTo>
                  <a:lnTo>
                    <a:pt x="2" y="44"/>
                  </a:lnTo>
                  <a:lnTo>
                    <a:pt x="5" y="45"/>
                  </a:lnTo>
                  <a:lnTo>
                    <a:pt x="5" y="45"/>
                  </a:lnTo>
                  <a:lnTo>
                    <a:pt x="12" y="45"/>
                  </a:lnTo>
                  <a:lnTo>
                    <a:pt x="17" y="44"/>
                  </a:lnTo>
                  <a:lnTo>
                    <a:pt x="31" y="35"/>
                  </a:lnTo>
                  <a:lnTo>
                    <a:pt x="31" y="35"/>
                  </a:lnTo>
                  <a:lnTo>
                    <a:pt x="37" y="31"/>
                  </a:lnTo>
                  <a:lnTo>
                    <a:pt x="40" y="28"/>
                  </a:lnTo>
                  <a:lnTo>
                    <a:pt x="42" y="23"/>
                  </a:lnTo>
                  <a:lnTo>
                    <a:pt x="44" y="19"/>
                  </a:lnTo>
                  <a:lnTo>
                    <a:pt x="46" y="14"/>
                  </a:lnTo>
                  <a:lnTo>
                    <a:pt x="44" y="10"/>
                  </a:lnTo>
                  <a:lnTo>
                    <a:pt x="44" y="7"/>
                  </a:lnTo>
                  <a:lnTo>
                    <a:pt x="40" y="5"/>
                  </a:lnTo>
                  <a:lnTo>
                    <a:pt x="40" y="5"/>
                  </a:lnTo>
                  <a:lnTo>
                    <a:pt x="31" y="1"/>
                  </a:lnTo>
                  <a:lnTo>
                    <a:pt x="23" y="0"/>
                  </a:lnTo>
                  <a:lnTo>
                    <a:pt x="17" y="0"/>
                  </a:lnTo>
                  <a:lnTo>
                    <a:pt x="14" y="1"/>
                  </a:lnTo>
                  <a:lnTo>
                    <a:pt x="10" y="7"/>
                  </a:lnTo>
                  <a:lnTo>
                    <a:pt x="9" y="14"/>
                  </a:lnTo>
                  <a:lnTo>
                    <a:pt x="9" y="1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4" name="Freeform 76">
              <a:extLst>
                <a:ext uri="{FF2B5EF4-FFF2-40B4-BE49-F238E27FC236}">
                  <a16:creationId xmlns:a16="http://schemas.microsoft.com/office/drawing/2014/main" id="{14BD5B9D-BED5-47BE-8B26-2B4CB32F4F9A}"/>
                </a:ext>
              </a:extLst>
            </p:cNvPr>
            <p:cNvSpPr>
              <a:spLocks/>
            </p:cNvSpPr>
            <p:nvPr/>
          </p:nvSpPr>
          <p:spPr bwMode="auto">
            <a:xfrm>
              <a:off x="2520779" y="2298684"/>
              <a:ext cx="542505" cy="431863"/>
            </a:xfrm>
            <a:custGeom>
              <a:avLst/>
              <a:gdLst/>
              <a:ahLst/>
              <a:cxnLst>
                <a:cxn ang="0">
                  <a:pos x="607" y="0"/>
                </a:cxn>
                <a:cxn ang="0">
                  <a:pos x="366" y="153"/>
                </a:cxn>
                <a:cxn ang="0">
                  <a:pos x="362" y="254"/>
                </a:cxn>
                <a:cxn ang="0">
                  <a:pos x="362" y="285"/>
                </a:cxn>
                <a:cxn ang="0">
                  <a:pos x="359" y="314"/>
                </a:cxn>
                <a:cxn ang="0">
                  <a:pos x="355" y="319"/>
                </a:cxn>
                <a:cxn ang="0">
                  <a:pos x="325" y="342"/>
                </a:cxn>
                <a:cxn ang="0">
                  <a:pos x="304" y="359"/>
                </a:cxn>
                <a:cxn ang="0">
                  <a:pos x="301" y="363"/>
                </a:cxn>
                <a:cxn ang="0">
                  <a:pos x="292" y="391"/>
                </a:cxn>
                <a:cxn ang="0">
                  <a:pos x="292" y="402"/>
                </a:cxn>
                <a:cxn ang="0">
                  <a:pos x="294" y="440"/>
                </a:cxn>
                <a:cxn ang="0">
                  <a:pos x="294" y="451"/>
                </a:cxn>
                <a:cxn ang="0">
                  <a:pos x="280" y="479"/>
                </a:cxn>
                <a:cxn ang="0">
                  <a:pos x="274" y="484"/>
                </a:cxn>
                <a:cxn ang="0">
                  <a:pos x="0" y="463"/>
                </a:cxn>
                <a:cxn ang="0">
                  <a:pos x="10" y="437"/>
                </a:cxn>
                <a:cxn ang="0">
                  <a:pos x="19" y="426"/>
                </a:cxn>
                <a:cxn ang="0">
                  <a:pos x="23" y="421"/>
                </a:cxn>
                <a:cxn ang="0">
                  <a:pos x="26" y="407"/>
                </a:cxn>
                <a:cxn ang="0">
                  <a:pos x="26" y="405"/>
                </a:cxn>
                <a:cxn ang="0">
                  <a:pos x="33" y="388"/>
                </a:cxn>
                <a:cxn ang="0">
                  <a:pos x="45" y="377"/>
                </a:cxn>
                <a:cxn ang="0">
                  <a:pos x="52" y="370"/>
                </a:cxn>
                <a:cxn ang="0">
                  <a:pos x="72" y="340"/>
                </a:cxn>
                <a:cxn ang="0">
                  <a:pos x="84" y="312"/>
                </a:cxn>
                <a:cxn ang="0">
                  <a:pos x="100" y="278"/>
                </a:cxn>
                <a:cxn ang="0">
                  <a:pos x="118" y="247"/>
                </a:cxn>
                <a:cxn ang="0">
                  <a:pos x="121" y="241"/>
                </a:cxn>
                <a:cxn ang="0">
                  <a:pos x="149" y="220"/>
                </a:cxn>
                <a:cxn ang="0">
                  <a:pos x="165" y="215"/>
                </a:cxn>
                <a:cxn ang="0">
                  <a:pos x="170" y="210"/>
                </a:cxn>
                <a:cxn ang="0">
                  <a:pos x="174" y="194"/>
                </a:cxn>
                <a:cxn ang="0">
                  <a:pos x="174" y="185"/>
                </a:cxn>
                <a:cxn ang="0">
                  <a:pos x="174" y="164"/>
                </a:cxn>
                <a:cxn ang="0">
                  <a:pos x="176" y="146"/>
                </a:cxn>
                <a:cxn ang="0">
                  <a:pos x="186" y="129"/>
                </a:cxn>
                <a:cxn ang="0">
                  <a:pos x="258" y="53"/>
                </a:cxn>
                <a:cxn ang="0">
                  <a:pos x="264" y="44"/>
                </a:cxn>
                <a:cxn ang="0">
                  <a:pos x="278" y="16"/>
                </a:cxn>
                <a:cxn ang="0">
                  <a:pos x="278" y="7"/>
                </a:cxn>
              </a:cxnLst>
              <a:rect l="0" t="0" r="r" b="b"/>
              <a:pathLst>
                <a:path w="607" h="484">
                  <a:moveTo>
                    <a:pt x="278" y="7"/>
                  </a:moveTo>
                  <a:lnTo>
                    <a:pt x="607" y="0"/>
                  </a:lnTo>
                  <a:lnTo>
                    <a:pt x="607" y="146"/>
                  </a:lnTo>
                  <a:lnTo>
                    <a:pt x="366" y="153"/>
                  </a:lnTo>
                  <a:lnTo>
                    <a:pt x="366" y="153"/>
                  </a:lnTo>
                  <a:lnTo>
                    <a:pt x="362" y="254"/>
                  </a:lnTo>
                  <a:lnTo>
                    <a:pt x="362" y="254"/>
                  </a:lnTo>
                  <a:lnTo>
                    <a:pt x="362" y="285"/>
                  </a:lnTo>
                  <a:lnTo>
                    <a:pt x="361" y="305"/>
                  </a:lnTo>
                  <a:lnTo>
                    <a:pt x="359" y="314"/>
                  </a:lnTo>
                  <a:lnTo>
                    <a:pt x="355" y="319"/>
                  </a:lnTo>
                  <a:lnTo>
                    <a:pt x="355" y="319"/>
                  </a:lnTo>
                  <a:lnTo>
                    <a:pt x="343" y="329"/>
                  </a:lnTo>
                  <a:lnTo>
                    <a:pt x="325" y="342"/>
                  </a:lnTo>
                  <a:lnTo>
                    <a:pt x="310" y="354"/>
                  </a:lnTo>
                  <a:lnTo>
                    <a:pt x="304" y="359"/>
                  </a:lnTo>
                  <a:lnTo>
                    <a:pt x="301" y="363"/>
                  </a:lnTo>
                  <a:lnTo>
                    <a:pt x="301" y="363"/>
                  </a:lnTo>
                  <a:lnTo>
                    <a:pt x="295" y="381"/>
                  </a:lnTo>
                  <a:lnTo>
                    <a:pt x="292" y="391"/>
                  </a:lnTo>
                  <a:lnTo>
                    <a:pt x="292" y="402"/>
                  </a:lnTo>
                  <a:lnTo>
                    <a:pt x="292" y="402"/>
                  </a:lnTo>
                  <a:lnTo>
                    <a:pt x="294" y="426"/>
                  </a:lnTo>
                  <a:lnTo>
                    <a:pt x="294" y="440"/>
                  </a:lnTo>
                  <a:lnTo>
                    <a:pt x="294" y="451"/>
                  </a:lnTo>
                  <a:lnTo>
                    <a:pt x="294" y="451"/>
                  </a:lnTo>
                  <a:lnTo>
                    <a:pt x="285" y="469"/>
                  </a:lnTo>
                  <a:lnTo>
                    <a:pt x="280" y="479"/>
                  </a:lnTo>
                  <a:lnTo>
                    <a:pt x="276" y="483"/>
                  </a:lnTo>
                  <a:lnTo>
                    <a:pt x="274" y="484"/>
                  </a:lnTo>
                  <a:lnTo>
                    <a:pt x="0" y="463"/>
                  </a:lnTo>
                  <a:lnTo>
                    <a:pt x="0" y="463"/>
                  </a:lnTo>
                  <a:lnTo>
                    <a:pt x="3" y="449"/>
                  </a:lnTo>
                  <a:lnTo>
                    <a:pt x="10" y="437"/>
                  </a:lnTo>
                  <a:lnTo>
                    <a:pt x="14" y="432"/>
                  </a:lnTo>
                  <a:lnTo>
                    <a:pt x="19" y="426"/>
                  </a:lnTo>
                  <a:lnTo>
                    <a:pt x="19" y="426"/>
                  </a:lnTo>
                  <a:lnTo>
                    <a:pt x="23" y="421"/>
                  </a:lnTo>
                  <a:lnTo>
                    <a:pt x="26" y="416"/>
                  </a:lnTo>
                  <a:lnTo>
                    <a:pt x="26" y="407"/>
                  </a:lnTo>
                  <a:lnTo>
                    <a:pt x="26" y="407"/>
                  </a:lnTo>
                  <a:lnTo>
                    <a:pt x="26" y="405"/>
                  </a:lnTo>
                  <a:lnTo>
                    <a:pt x="28" y="398"/>
                  </a:lnTo>
                  <a:lnTo>
                    <a:pt x="33" y="388"/>
                  </a:lnTo>
                  <a:lnTo>
                    <a:pt x="38" y="382"/>
                  </a:lnTo>
                  <a:lnTo>
                    <a:pt x="45" y="377"/>
                  </a:lnTo>
                  <a:lnTo>
                    <a:pt x="45" y="377"/>
                  </a:lnTo>
                  <a:lnTo>
                    <a:pt x="52" y="370"/>
                  </a:lnTo>
                  <a:lnTo>
                    <a:pt x="59" y="361"/>
                  </a:lnTo>
                  <a:lnTo>
                    <a:pt x="72" y="340"/>
                  </a:lnTo>
                  <a:lnTo>
                    <a:pt x="81" y="321"/>
                  </a:lnTo>
                  <a:lnTo>
                    <a:pt x="84" y="312"/>
                  </a:lnTo>
                  <a:lnTo>
                    <a:pt x="84" y="312"/>
                  </a:lnTo>
                  <a:lnTo>
                    <a:pt x="100" y="278"/>
                  </a:lnTo>
                  <a:lnTo>
                    <a:pt x="112" y="255"/>
                  </a:lnTo>
                  <a:lnTo>
                    <a:pt x="118" y="247"/>
                  </a:lnTo>
                  <a:lnTo>
                    <a:pt x="121" y="241"/>
                  </a:lnTo>
                  <a:lnTo>
                    <a:pt x="121" y="241"/>
                  </a:lnTo>
                  <a:lnTo>
                    <a:pt x="137" y="227"/>
                  </a:lnTo>
                  <a:lnTo>
                    <a:pt x="149" y="220"/>
                  </a:lnTo>
                  <a:lnTo>
                    <a:pt x="165" y="215"/>
                  </a:lnTo>
                  <a:lnTo>
                    <a:pt x="165" y="215"/>
                  </a:lnTo>
                  <a:lnTo>
                    <a:pt x="167" y="215"/>
                  </a:lnTo>
                  <a:lnTo>
                    <a:pt x="170" y="210"/>
                  </a:lnTo>
                  <a:lnTo>
                    <a:pt x="174" y="201"/>
                  </a:lnTo>
                  <a:lnTo>
                    <a:pt x="174" y="194"/>
                  </a:lnTo>
                  <a:lnTo>
                    <a:pt x="174" y="185"/>
                  </a:lnTo>
                  <a:lnTo>
                    <a:pt x="174" y="185"/>
                  </a:lnTo>
                  <a:lnTo>
                    <a:pt x="174" y="180"/>
                  </a:lnTo>
                  <a:lnTo>
                    <a:pt x="174" y="164"/>
                  </a:lnTo>
                  <a:lnTo>
                    <a:pt x="174" y="155"/>
                  </a:lnTo>
                  <a:lnTo>
                    <a:pt x="176" y="146"/>
                  </a:lnTo>
                  <a:lnTo>
                    <a:pt x="181" y="137"/>
                  </a:lnTo>
                  <a:lnTo>
                    <a:pt x="186" y="129"/>
                  </a:lnTo>
                  <a:lnTo>
                    <a:pt x="186" y="129"/>
                  </a:lnTo>
                  <a:lnTo>
                    <a:pt x="258" y="53"/>
                  </a:lnTo>
                  <a:lnTo>
                    <a:pt x="258" y="53"/>
                  </a:lnTo>
                  <a:lnTo>
                    <a:pt x="264" y="44"/>
                  </a:lnTo>
                  <a:lnTo>
                    <a:pt x="273" y="30"/>
                  </a:lnTo>
                  <a:lnTo>
                    <a:pt x="278" y="16"/>
                  </a:lnTo>
                  <a:lnTo>
                    <a:pt x="278" y="11"/>
                  </a:lnTo>
                  <a:lnTo>
                    <a:pt x="278" y="7"/>
                  </a:lnTo>
                  <a:lnTo>
                    <a:pt x="278"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5" name="Freeform 100">
              <a:extLst>
                <a:ext uri="{FF2B5EF4-FFF2-40B4-BE49-F238E27FC236}">
                  <a16:creationId xmlns:a16="http://schemas.microsoft.com/office/drawing/2014/main" id="{47D29F51-A4EE-435F-80E7-4DAB68A0C946}"/>
                </a:ext>
              </a:extLst>
            </p:cNvPr>
            <p:cNvSpPr>
              <a:spLocks/>
            </p:cNvSpPr>
            <p:nvPr/>
          </p:nvSpPr>
          <p:spPr bwMode="auto">
            <a:xfrm>
              <a:off x="5381424" y="41332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6" name="Freeform 101">
              <a:extLst>
                <a:ext uri="{FF2B5EF4-FFF2-40B4-BE49-F238E27FC236}">
                  <a16:creationId xmlns:a16="http://schemas.microsoft.com/office/drawing/2014/main" id="{F7F4C8DB-EB3A-435B-A38E-BB59002E1CCD}"/>
                </a:ext>
              </a:extLst>
            </p:cNvPr>
            <p:cNvSpPr>
              <a:spLocks/>
            </p:cNvSpPr>
            <p:nvPr/>
          </p:nvSpPr>
          <p:spPr bwMode="auto">
            <a:xfrm>
              <a:off x="5533824" y="42856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7" name="Freeform 102">
              <a:extLst>
                <a:ext uri="{FF2B5EF4-FFF2-40B4-BE49-F238E27FC236}">
                  <a16:creationId xmlns:a16="http://schemas.microsoft.com/office/drawing/2014/main" id="{1DDC6256-943A-4DD9-87A2-1B5849C7B75D}"/>
                </a:ext>
              </a:extLst>
            </p:cNvPr>
            <p:cNvSpPr>
              <a:spLocks/>
            </p:cNvSpPr>
            <p:nvPr/>
          </p:nvSpPr>
          <p:spPr bwMode="auto">
            <a:xfrm>
              <a:off x="6268348" y="4793495"/>
              <a:ext cx="19630" cy="30338"/>
            </a:xfrm>
            <a:custGeom>
              <a:avLst/>
              <a:gdLst/>
              <a:ahLst/>
              <a:cxnLst>
                <a:cxn ang="0">
                  <a:pos x="8" y="0"/>
                </a:cxn>
                <a:cxn ang="0">
                  <a:pos x="8" y="0"/>
                </a:cxn>
                <a:cxn ang="0">
                  <a:pos x="3" y="11"/>
                </a:cxn>
                <a:cxn ang="0">
                  <a:pos x="0" y="20"/>
                </a:cxn>
                <a:cxn ang="0">
                  <a:pos x="0" y="22"/>
                </a:cxn>
                <a:cxn ang="0">
                  <a:pos x="1" y="23"/>
                </a:cxn>
                <a:cxn ang="0">
                  <a:pos x="1" y="23"/>
                </a:cxn>
                <a:cxn ang="0">
                  <a:pos x="14" y="30"/>
                </a:cxn>
                <a:cxn ang="0">
                  <a:pos x="21" y="36"/>
                </a:cxn>
                <a:cxn ang="0">
                  <a:pos x="21" y="36"/>
                </a:cxn>
                <a:cxn ang="0">
                  <a:pos x="19" y="16"/>
                </a:cxn>
                <a:cxn ang="0">
                  <a:pos x="16" y="4"/>
                </a:cxn>
                <a:cxn ang="0">
                  <a:pos x="12" y="0"/>
                </a:cxn>
                <a:cxn ang="0">
                  <a:pos x="8" y="0"/>
                </a:cxn>
                <a:cxn ang="0">
                  <a:pos x="8" y="0"/>
                </a:cxn>
              </a:cxnLst>
              <a:rect l="0" t="0" r="r" b="b"/>
              <a:pathLst>
                <a:path w="21" h="36">
                  <a:moveTo>
                    <a:pt x="8" y="0"/>
                  </a:moveTo>
                  <a:lnTo>
                    <a:pt x="8" y="0"/>
                  </a:lnTo>
                  <a:lnTo>
                    <a:pt x="3" y="11"/>
                  </a:lnTo>
                  <a:lnTo>
                    <a:pt x="0" y="20"/>
                  </a:lnTo>
                  <a:lnTo>
                    <a:pt x="0" y="22"/>
                  </a:lnTo>
                  <a:lnTo>
                    <a:pt x="1" y="23"/>
                  </a:lnTo>
                  <a:lnTo>
                    <a:pt x="1" y="23"/>
                  </a:lnTo>
                  <a:lnTo>
                    <a:pt x="14" y="30"/>
                  </a:lnTo>
                  <a:lnTo>
                    <a:pt x="21" y="36"/>
                  </a:lnTo>
                  <a:lnTo>
                    <a:pt x="21" y="36"/>
                  </a:lnTo>
                  <a:lnTo>
                    <a:pt x="19" y="16"/>
                  </a:lnTo>
                  <a:lnTo>
                    <a:pt x="16" y="4"/>
                  </a:lnTo>
                  <a:lnTo>
                    <a:pt x="12" y="0"/>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8" name="Freeform 103">
              <a:extLst>
                <a:ext uri="{FF2B5EF4-FFF2-40B4-BE49-F238E27FC236}">
                  <a16:creationId xmlns:a16="http://schemas.microsoft.com/office/drawing/2014/main" id="{CBD34DFF-AE4C-4C72-86DF-2B7F43437722}"/>
                </a:ext>
              </a:extLst>
            </p:cNvPr>
            <p:cNvSpPr>
              <a:spLocks/>
            </p:cNvSpPr>
            <p:nvPr/>
          </p:nvSpPr>
          <p:spPr bwMode="auto">
            <a:xfrm>
              <a:off x="6316532" y="48184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 ang="0">
                  <a:pos x="31" y="22"/>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lnTo>
                    <a:pt x="31" y="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79" name="Freeform 104">
              <a:extLst>
                <a:ext uri="{FF2B5EF4-FFF2-40B4-BE49-F238E27FC236}">
                  <a16:creationId xmlns:a16="http://schemas.microsoft.com/office/drawing/2014/main" id="{0472174D-1FC3-4CB1-B9D6-CA803AF5AFF2}"/>
                </a:ext>
              </a:extLst>
            </p:cNvPr>
            <p:cNvSpPr>
              <a:spLocks/>
            </p:cNvSpPr>
            <p:nvPr/>
          </p:nvSpPr>
          <p:spPr bwMode="auto">
            <a:xfrm>
              <a:off x="6468932" y="49708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1" name="Freeform 7">
              <a:extLst>
                <a:ext uri="{FF2B5EF4-FFF2-40B4-BE49-F238E27FC236}">
                  <a16:creationId xmlns:a16="http://schemas.microsoft.com/office/drawing/2014/main" id="{F4701DB5-084D-42AE-8BB9-FC0AF90181A3}"/>
                </a:ext>
              </a:extLst>
            </p:cNvPr>
            <p:cNvSpPr>
              <a:spLocks/>
            </p:cNvSpPr>
            <p:nvPr/>
          </p:nvSpPr>
          <p:spPr bwMode="auto">
            <a:xfrm>
              <a:off x="4181130" y="1785444"/>
              <a:ext cx="237346" cy="474692"/>
            </a:xfrm>
            <a:custGeom>
              <a:avLst/>
              <a:gdLst/>
              <a:ahLst/>
              <a:cxnLst>
                <a:cxn ang="0">
                  <a:pos x="18" y="35"/>
                </a:cxn>
                <a:cxn ang="0">
                  <a:pos x="46" y="11"/>
                </a:cxn>
                <a:cxn ang="0">
                  <a:pos x="87" y="2"/>
                </a:cxn>
                <a:cxn ang="0">
                  <a:pos x="131" y="4"/>
                </a:cxn>
                <a:cxn ang="0">
                  <a:pos x="141" y="14"/>
                </a:cxn>
                <a:cxn ang="0">
                  <a:pos x="147" y="41"/>
                </a:cxn>
                <a:cxn ang="0">
                  <a:pos x="154" y="44"/>
                </a:cxn>
                <a:cxn ang="0">
                  <a:pos x="164" y="34"/>
                </a:cxn>
                <a:cxn ang="0">
                  <a:pos x="171" y="21"/>
                </a:cxn>
                <a:cxn ang="0">
                  <a:pos x="192" y="14"/>
                </a:cxn>
                <a:cxn ang="0">
                  <a:pos x="199" y="20"/>
                </a:cxn>
                <a:cxn ang="0">
                  <a:pos x="189" y="43"/>
                </a:cxn>
                <a:cxn ang="0">
                  <a:pos x="166" y="83"/>
                </a:cxn>
                <a:cxn ang="0">
                  <a:pos x="166" y="101"/>
                </a:cxn>
                <a:cxn ang="0">
                  <a:pos x="178" y="125"/>
                </a:cxn>
                <a:cxn ang="0">
                  <a:pos x="192" y="136"/>
                </a:cxn>
                <a:cxn ang="0">
                  <a:pos x="210" y="148"/>
                </a:cxn>
                <a:cxn ang="0">
                  <a:pos x="212" y="164"/>
                </a:cxn>
                <a:cxn ang="0">
                  <a:pos x="208" y="190"/>
                </a:cxn>
                <a:cxn ang="0">
                  <a:pos x="205" y="213"/>
                </a:cxn>
                <a:cxn ang="0">
                  <a:pos x="184" y="222"/>
                </a:cxn>
                <a:cxn ang="0">
                  <a:pos x="168" y="235"/>
                </a:cxn>
                <a:cxn ang="0">
                  <a:pos x="164" y="252"/>
                </a:cxn>
                <a:cxn ang="0">
                  <a:pos x="171" y="266"/>
                </a:cxn>
                <a:cxn ang="0">
                  <a:pos x="261" y="324"/>
                </a:cxn>
                <a:cxn ang="0">
                  <a:pos x="266" y="333"/>
                </a:cxn>
                <a:cxn ang="0">
                  <a:pos x="259" y="344"/>
                </a:cxn>
                <a:cxn ang="0">
                  <a:pos x="233" y="381"/>
                </a:cxn>
                <a:cxn ang="0">
                  <a:pos x="203" y="418"/>
                </a:cxn>
                <a:cxn ang="0">
                  <a:pos x="178" y="434"/>
                </a:cxn>
                <a:cxn ang="0">
                  <a:pos x="166" y="451"/>
                </a:cxn>
                <a:cxn ang="0">
                  <a:pos x="170" y="495"/>
                </a:cxn>
                <a:cxn ang="0">
                  <a:pos x="166" y="506"/>
                </a:cxn>
                <a:cxn ang="0">
                  <a:pos x="127" y="534"/>
                </a:cxn>
                <a:cxn ang="0">
                  <a:pos x="122" y="495"/>
                </a:cxn>
                <a:cxn ang="0">
                  <a:pos x="99" y="434"/>
                </a:cxn>
                <a:cxn ang="0">
                  <a:pos x="71" y="386"/>
                </a:cxn>
                <a:cxn ang="0">
                  <a:pos x="13" y="307"/>
                </a:cxn>
                <a:cxn ang="0">
                  <a:pos x="7" y="293"/>
                </a:cxn>
                <a:cxn ang="0">
                  <a:pos x="0" y="242"/>
                </a:cxn>
                <a:cxn ang="0">
                  <a:pos x="6" y="231"/>
                </a:cxn>
                <a:cxn ang="0">
                  <a:pos x="20" y="224"/>
                </a:cxn>
                <a:cxn ang="0">
                  <a:pos x="43" y="161"/>
                </a:cxn>
                <a:cxn ang="0">
                  <a:pos x="34" y="132"/>
                </a:cxn>
                <a:cxn ang="0">
                  <a:pos x="18" y="97"/>
                </a:cxn>
                <a:cxn ang="0">
                  <a:pos x="2" y="55"/>
                </a:cxn>
              </a:cxnLst>
              <a:rect l="0" t="0" r="r" b="b"/>
              <a:pathLst>
                <a:path w="266" h="534">
                  <a:moveTo>
                    <a:pt x="2" y="55"/>
                  </a:moveTo>
                  <a:lnTo>
                    <a:pt x="2" y="55"/>
                  </a:lnTo>
                  <a:lnTo>
                    <a:pt x="18" y="35"/>
                  </a:lnTo>
                  <a:lnTo>
                    <a:pt x="32" y="20"/>
                  </a:lnTo>
                  <a:lnTo>
                    <a:pt x="39" y="14"/>
                  </a:lnTo>
                  <a:lnTo>
                    <a:pt x="46" y="11"/>
                  </a:lnTo>
                  <a:lnTo>
                    <a:pt x="46" y="11"/>
                  </a:lnTo>
                  <a:lnTo>
                    <a:pt x="62" y="6"/>
                  </a:lnTo>
                  <a:lnTo>
                    <a:pt x="87" y="2"/>
                  </a:lnTo>
                  <a:lnTo>
                    <a:pt x="110" y="0"/>
                  </a:lnTo>
                  <a:lnTo>
                    <a:pt x="122" y="2"/>
                  </a:lnTo>
                  <a:lnTo>
                    <a:pt x="131" y="4"/>
                  </a:lnTo>
                  <a:lnTo>
                    <a:pt x="131" y="4"/>
                  </a:lnTo>
                  <a:lnTo>
                    <a:pt x="138" y="9"/>
                  </a:lnTo>
                  <a:lnTo>
                    <a:pt x="141" y="14"/>
                  </a:lnTo>
                  <a:lnTo>
                    <a:pt x="145" y="21"/>
                  </a:lnTo>
                  <a:lnTo>
                    <a:pt x="145" y="28"/>
                  </a:lnTo>
                  <a:lnTo>
                    <a:pt x="147" y="41"/>
                  </a:lnTo>
                  <a:lnTo>
                    <a:pt x="150" y="44"/>
                  </a:lnTo>
                  <a:lnTo>
                    <a:pt x="154" y="44"/>
                  </a:lnTo>
                  <a:lnTo>
                    <a:pt x="154" y="44"/>
                  </a:lnTo>
                  <a:lnTo>
                    <a:pt x="157" y="43"/>
                  </a:lnTo>
                  <a:lnTo>
                    <a:pt x="161" y="41"/>
                  </a:lnTo>
                  <a:lnTo>
                    <a:pt x="164" y="34"/>
                  </a:lnTo>
                  <a:lnTo>
                    <a:pt x="166" y="27"/>
                  </a:lnTo>
                  <a:lnTo>
                    <a:pt x="168" y="23"/>
                  </a:lnTo>
                  <a:lnTo>
                    <a:pt x="171" y="21"/>
                  </a:lnTo>
                  <a:lnTo>
                    <a:pt x="171" y="21"/>
                  </a:lnTo>
                  <a:lnTo>
                    <a:pt x="182" y="18"/>
                  </a:lnTo>
                  <a:lnTo>
                    <a:pt x="192" y="14"/>
                  </a:lnTo>
                  <a:lnTo>
                    <a:pt x="196" y="14"/>
                  </a:lnTo>
                  <a:lnTo>
                    <a:pt x="199" y="16"/>
                  </a:lnTo>
                  <a:lnTo>
                    <a:pt x="199" y="20"/>
                  </a:lnTo>
                  <a:lnTo>
                    <a:pt x="198" y="27"/>
                  </a:lnTo>
                  <a:lnTo>
                    <a:pt x="198" y="27"/>
                  </a:lnTo>
                  <a:lnTo>
                    <a:pt x="189" y="43"/>
                  </a:lnTo>
                  <a:lnTo>
                    <a:pt x="178" y="60"/>
                  </a:lnTo>
                  <a:lnTo>
                    <a:pt x="168" y="76"/>
                  </a:lnTo>
                  <a:lnTo>
                    <a:pt x="166" y="83"/>
                  </a:lnTo>
                  <a:lnTo>
                    <a:pt x="164" y="88"/>
                  </a:lnTo>
                  <a:lnTo>
                    <a:pt x="164" y="88"/>
                  </a:lnTo>
                  <a:lnTo>
                    <a:pt x="166" y="101"/>
                  </a:lnTo>
                  <a:lnTo>
                    <a:pt x="170" y="113"/>
                  </a:lnTo>
                  <a:lnTo>
                    <a:pt x="173" y="120"/>
                  </a:lnTo>
                  <a:lnTo>
                    <a:pt x="178" y="125"/>
                  </a:lnTo>
                  <a:lnTo>
                    <a:pt x="184" y="131"/>
                  </a:lnTo>
                  <a:lnTo>
                    <a:pt x="192" y="136"/>
                  </a:lnTo>
                  <a:lnTo>
                    <a:pt x="192" y="136"/>
                  </a:lnTo>
                  <a:lnTo>
                    <a:pt x="201" y="139"/>
                  </a:lnTo>
                  <a:lnTo>
                    <a:pt x="206" y="145"/>
                  </a:lnTo>
                  <a:lnTo>
                    <a:pt x="210" y="148"/>
                  </a:lnTo>
                  <a:lnTo>
                    <a:pt x="212" y="154"/>
                  </a:lnTo>
                  <a:lnTo>
                    <a:pt x="212" y="159"/>
                  </a:lnTo>
                  <a:lnTo>
                    <a:pt x="212" y="164"/>
                  </a:lnTo>
                  <a:lnTo>
                    <a:pt x="210" y="176"/>
                  </a:lnTo>
                  <a:lnTo>
                    <a:pt x="210" y="176"/>
                  </a:lnTo>
                  <a:lnTo>
                    <a:pt x="208" y="190"/>
                  </a:lnTo>
                  <a:lnTo>
                    <a:pt x="206" y="201"/>
                  </a:lnTo>
                  <a:lnTo>
                    <a:pt x="206" y="212"/>
                  </a:lnTo>
                  <a:lnTo>
                    <a:pt x="205" y="213"/>
                  </a:lnTo>
                  <a:lnTo>
                    <a:pt x="203" y="215"/>
                  </a:lnTo>
                  <a:lnTo>
                    <a:pt x="203" y="215"/>
                  </a:lnTo>
                  <a:lnTo>
                    <a:pt x="184" y="222"/>
                  </a:lnTo>
                  <a:lnTo>
                    <a:pt x="173" y="227"/>
                  </a:lnTo>
                  <a:lnTo>
                    <a:pt x="170" y="231"/>
                  </a:lnTo>
                  <a:lnTo>
                    <a:pt x="168" y="235"/>
                  </a:lnTo>
                  <a:lnTo>
                    <a:pt x="168" y="235"/>
                  </a:lnTo>
                  <a:lnTo>
                    <a:pt x="166" y="243"/>
                  </a:lnTo>
                  <a:lnTo>
                    <a:pt x="164" y="252"/>
                  </a:lnTo>
                  <a:lnTo>
                    <a:pt x="164" y="257"/>
                  </a:lnTo>
                  <a:lnTo>
                    <a:pt x="166" y="263"/>
                  </a:lnTo>
                  <a:lnTo>
                    <a:pt x="171" y="266"/>
                  </a:lnTo>
                  <a:lnTo>
                    <a:pt x="177" y="272"/>
                  </a:lnTo>
                  <a:lnTo>
                    <a:pt x="177" y="272"/>
                  </a:lnTo>
                  <a:lnTo>
                    <a:pt x="261" y="324"/>
                  </a:lnTo>
                  <a:lnTo>
                    <a:pt x="261" y="324"/>
                  </a:lnTo>
                  <a:lnTo>
                    <a:pt x="265" y="328"/>
                  </a:lnTo>
                  <a:lnTo>
                    <a:pt x="266" y="333"/>
                  </a:lnTo>
                  <a:lnTo>
                    <a:pt x="265" y="338"/>
                  </a:lnTo>
                  <a:lnTo>
                    <a:pt x="259" y="344"/>
                  </a:lnTo>
                  <a:lnTo>
                    <a:pt x="259" y="344"/>
                  </a:lnTo>
                  <a:lnTo>
                    <a:pt x="254" y="349"/>
                  </a:lnTo>
                  <a:lnTo>
                    <a:pt x="249" y="358"/>
                  </a:lnTo>
                  <a:lnTo>
                    <a:pt x="233" y="381"/>
                  </a:lnTo>
                  <a:lnTo>
                    <a:pt x="217" y="404"/>
                  </a:lnTo>
                  <a:lnTo>
                    <a:pt x="210" y="412"/>
                  </a:lnTo>
                  <a:lnTo>
                    <a:pt x="203" y="418"/>
                  </a:lnTo>
                  <a:lnTo>
                    <a:pt x="203" y="418"/>
                  </a:lnTo>
                  <a:lnTo>
                    <a:pt x="191" y="425"/>
                  </a:lnTo>
                  <a:lnTo>
                    <a:pt x="178" y="434"/>
                  </a:lnTo>
                  <a:lnTo>
                    <a:pt x="170" y="442"/>
                  </a:lnTo>
                  <a:lnTo>
                    <a:pt x="168" y="448"/>
                  </a:lnTo>
                  <a:lnTo>
                    <a:pt x="166" y="451"/>
                  </a:lnTo>
                  <a:lnTo>
                    <a:pt x="166" y="451"/>
                  </a:lnTo>
                  <a:lnTo>
                    <a:pt x="170" y="479"/>
                  </a:lnTo>
                  <a:lnTo>
                    <a:pt x="170" y="495"/>
                  </a:lnTo>
                  <a:lnTo>
                    <a:pt x="168" y="502"/>
                  </a:lnTo>
                  <a:lnTo>
                    <a:pt x="166" y="506"/>
                  </a:lnTo>
                  <a:lnTo>
                    <a:pt x="166" y="506"/>
                  </a:lnTo>
                  <a:lnTo>
                    <a:pt x="145" y="522"/>
                  </a:lnTo>
                  <a:lnTo>
                    <a:pt x="127" y="534"/>
                  </a:lnTo>
                  <a:lnTo>
                    <a:pt x="127" y="534"/>
                  </a:lnTo>
                  <a:lnTo>
                    <a:pt x="125" y="522"/>
                  </a:lnTo>
                  <a:lnTo>
                    <a:pt x="122" y="495"/>
                  </a:lnTo>
                  <a:lnTo>
                    <a:pt x="122" y="495"/>
                  </a:lnTo>
                  <a:lnTo>
                    <a:pt x="117" y="478"/>
                  </a:lnTo>
                  <a:lnTo>
                    <a:pt x="110" y="455"/>
                  </a:lnTo>
                  <a:lnTo>
                    <a:pt x="99" y="434"/>
                  </a:lnTo>
                  <a:lnTo>
                    <a:pt x="92" y="418"/>
                  </a:lnTo>
                  <a:lnTo>
                    <a:pt x="92" y="418"/>
                  </a:lnTo>
                  <a:lnTo>
                    <a:pt x="71" y="386"/>
                  </a:lnTo>
                  <a:lnTo>
                    <a:pt x="46" y="353"/>
                  </a:lnTo>
                  <a:lnTo>
                    <a:pt x="46" y="353"/>
                  </a:lnTo>
                  <a:lnTo>
                    <a:pt x="13" y="307"/>
                  </a:lnTo>
                  <a:lnTo>
                    <a:pt x="13" y="307"/>
                  </a:lnTo>
                  <a:lnTo>
                    <a:pt x="9" y="301"/>
                  </a:lnTo>
                  <a:lnTo>
                    <a:pt x="7" y="293"/>
                  </a:lnTo>
                  <a:lnTo>
                    <a:pt x="2" y="272"/>
                  </a:lnTo>
                  <a:lnTo>
                    <a:pt x="0" y="250"/>
                  </a:lnTo>
                  <a:lnTo>
                    <a:pt x="0" y="242"/>
                  </a:lnTo>
                  <a:lnTo>
                    <a:pt x="0" y="236"/>
                  </a:lnTo>
                  <a:lnTo>
                    <a:pt x="0" y="236"/>
                  </a:lnTo>
                  <a:lnTo>
                    <a:pt x="6" y="231"/>
                  </a:lnTo>
                  <a:lnTo>
                    <a:pt x="11" y="227"/>
                  </a:lnTo>
                  <a:lnTo>
                    <a:pt x="20" y="224"/>
                  </a:lnTo>
                  <a:lnTo>
                    <a:pt x="20" y="224"/>
                  </a:lnTo>
                  <a:lnTo>
                    <a:pt x="32" y="194"/>
                  </a:lnTo>
                  <a:lnTo>
                    <a:pt x="39" y="173"/>
                  </a:lnTo>
                  <a:lnTo>
                    <a:pt x="43" y="161"/>
                  </a:lnTo>
                  <a:lnTo>
                    <a:pt x="43" y="161"/>
                  </a:lnTo>
                  <a:lnTo>
                    <a:pt x="41" y="150"/>
                  </a:lnTo>
                  <a:lnTo>
                    <a:pt x="34" y="132"/>
                  </a:lnTo>
                  <a:lnTo>
                    <a:pt x="27" y="113"/>
                  </a:lnTo>
                  <a:lnTo>
                    <a:pt x="18" y="97"/>
                  </a:lnTo>
                  <a:lnTo>
                    <a:pt x="18" y="97"/>
                  </a:lnTo>
                  <a:lnTo>
                    <a:pt x="11" y="83"/>
                  </a:lnTo>
                  <a:lnTo>
                    <a:pt x="6" y="71"/>
                  </a:lnTo>
                  <a:lnTo>
                    <a:pt x="2" y="55"/>
                  </a:lnTo>
                  <a:lnTo>
                    <a:pt x="2" y="5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2" name="Freeform 8">
              <a:extLst>
                <a:ext uri="{FF2B5EF4-FFF2-40B4-BE49-F238E27FC236}">
                  <a16:creationId xmlns:a16="http://schemas.microsoft.com/office/drawing/2014/main" id="{350958A8-B994-42A9-812C-0EC391586488}"/>
                </a:ext>
              </a:extLst>
            </p:cNvPr>
            <p:cNvSpPr>
              <a:spLocks/>
            </p:cNvSpPr>
            <p:nvPr/>
          </p:nvSpPr>
          <p:spPr bwMode="auto">
            <a:xfrm>
              <a:off x="4293557" y="2074542"/>
              <a:ext cx="947599" cy="883356"/>
            </a:xfrm>
            <a:custGeom>
              <a:avLst/>
              <a:gdLst/>
              <a:ahLst/>
              <a:cxnLst>
                <a:cxn ang="0">
                  <a:pos x="1027" y="94"/>
                </a:cxn>
                <a:cxn ang="0">
                  <a:pos x="985" y="69"/>
                </a:cxn>
                <a:cxn ang="0">
                  <a:pos x="941" y="73"/>
                </a:cxn>
                <a:cxn ang="0">
                  <a:pos x="898" y="73"/>
                </a:cxn>
                <a:cxn ang="0">
                  <a:pos x="891" y="57"/>
                </a:cxn>
                <a:cxn ang="0">
                  <a:pos x="881" y="29"/>
                </a:cxn>
                <a:cxn ang="0">
                  <a:pos x="846" y="11"/>
                </a:cxn>
                <a:cxn ang="0">
                  <a:pos x="789" y="14"/>
                </a:cxn>
                <a:cxn ang="0">
                  <a:pos x="708" y="34"/>
                </a:cxn>
                <a:cxn ang="0">
                  <a:pos x="698" y="44"/>
                </a:cxn>
                <a:cxn ang="0">
                  <a:pos x="675" y="97"/>
                </a:cxn>
                <a:cxn ang="0">
                  <a:pos x="671" y="134"/>
                </a:cxn>
                <a:cxn ang="0">
                  <a:pos x="655" y="169"/>
                </a:cxn>
                <a:cxn ang="0">
                  <a:pos x="627" y="201"/>
                </a:cxn>
                <a:cxn ang="0">
                  <a:pos x="610" y="212"/>
                </a:cxn>
                <a:cxn ang="0">
                  <a:pos x="558" y="176"/>
                </a:cxn>
                <a:cxn ang="0">
                  <a:pos x="506" y="155"/>
                </a:cxn>
                <a:cxn ang="0">
                  <a:pos x="411" y="140"/>
                </a:cxn>
                <a:cxn ang="0">
                  <a:pos x="389" y="118"/>
                </a:cxn>
                <a:cxn ang="0">
                  <a:pos x="379" y="73"/>
                </a:cxn>
                <a:cxn ang="0">
                  <a:pos x="363" y="50"/>
                </a:cxn>
                <a:cxn ang="0">
                  <a:pos x="287" y="25"/>
                </a:cxn>
                <a:cxn ang="0">
                  <a:pos x="134" y="0"/>
                </a:cxn>
                <a:cxn ang="0">
                  <a:pos x="139" y="11"/>
                </a:cxn>
                <a:cxn ang="0">
                  <a:pos x="125" y="25"/>
                </a:cxn>
                <a:cxn ang="0">
                  <a:pos x="104" y="60"/>
                </a:cxn>
                <a:cxn ang="0">
                  <a:pos x="83" y="90"/>
                </a:cxn>
                <a:cxn ang="0">
                  <a:pos x="67" y="97"/>
                </a:cxn>
                <a:cxn ang="0">
                  <a:pos x="43" y="118"/>
                </a:cxn>
                <a:cxn ang="0">
                  <a:pos x="43" y="168"/>
                </a:cxn>
                <a:cxn ang="0">
                  <a:pos x="18" y="198"/>
                </a:cxn>
                <a:cxn ang="0">
                  <a:pos x="14" y="316"/>
                </a:cxn>
                <a:cxn ang="0">
                  <a:pos x="18" y="388"/>
                </a:cxn>
                <a:cxn ang="0">
                  <a:pos x="23" y="478"/>
                </a:cxn>
                <a:cxn ang="0">
                  <a:pos x="21" y="516"/>
                </a:cxn>
                <a:cxn ang="0">
                  <a:pos x="20" y="545"/>
                </a:cxn>
                <a:cxn ang="0">
                  <a:pos x="46" y="587"/>
                </a:cxn>
                <a:cxn ang="0">
                  <a:pos x="64" y="634"/>
                </a:cxn>
                <a:cxn ang="0">
                  <a:pos x="87" y="652"/>
                </a:cxn>
                <a:cxn ang="0">
                  <a:pos x="141" y="678"/>
                </a:cxn>
                <a:cxn ang="0">
                  <a:pos x="157" y="698"/>
                </a:cxn>
                <a:cxn ang="0">
                  <a:pos x="169" y="723"/>
                </a:cxn>
                <a:cxn ang="0">
                  <a:pos x="206" y="726"/>
                </a:cxn>
                <a:cxn ang="0">
                  <a:pos x="280" y="735"/>
                </a:cxn>
                <a:cxn ang="0">
                  <a:pos x="301" y="756"/>
                </a:cxn>
                <a:cxn ang="0">
                  <a:pos x="330" y="796"/>
                </a:cxn>
                <a:cxn ang="0">
                  <a:pos x="374" y="789"/>
                </a:cxn>
                <a:cxn ang="0">
                  <a:pos x="411" y="770"/>
                </a:cxn>
                <a:cxn ang="0">
                  <a:pos x="455" y="745"/>
                </a:cxn>
                <a:cxn ang="0">
                  <a:pos x="488" y="751"/>
                </a:cxn>
                <a:cxn ang="0">
                  <a:pos x="839" y="923"/>
                </a:cxn>
                <a:cxn ang="0">
                  <a:pos x="986" y="988"/>
                </a:cxn>
                <a:cxn ang="0">
                  <a:pos x="1016" y="983"/>
                </a:cxn>
                <a:cxn ang="0">
                  <a:pos x="1050" y="976"/>
                </a:cxn>
                <a:cxn ang="0">
                  <a:pos x="1062" y="959"/>
                </a:cxn>
                <a:cxn ang="0">
                  <a:pos x="1027" y="99"/>
                </a:cxn>
              </a:cxnLst>
              <a:rect l="0" t="0" r="r" b="b"/>
              <a:pathLst>
                <a:path w="1062" h="990">
                  <a:moveTo>
                    <a:pt x="1027" y="99"/>
                  </a:moveTo>
                  <a:lnTo>
                    <a:pt x="1027" y="99"/>
                  </a:lnTo>
                  <a:lnTo>
                    <a:pt x="1029" y="99"/>
                  </a:lnTo>
                  <a:lnTo>
                    <a:pt x="1027" y="94"/>
                  </a:lnTo>
                  <a:lnTo>
                    <a:pt x="1018" y="85"/>
                  </a:lnTo>
                  <a:lnTo>
                    <a:pt x="997" y="74"/>
                  </a:lnTo>
                  <a:lnTo>
                    <a:pt x="997" y="74"/>
                  </a:lnTo>
                  <a:lnTo>
                    <a:pt x="985" y="69"/>
                  </a:lnTo>
                  <a:lnTo>
                    <a:pt x="974" y="66"/>
                  </a:lnTo>
                  <a:lnTo>
                    <a:pt x="965" y="66"/>
                  </a:lnTo>
                  <a:lnTo>
                    <a:pt x="956" y="67"/>
                  </a:lnTo>
                  <a:lnTo>
                    <a:pt x="941" y="73"/>
                  </a:lnTo>
                  <a:lnTo>
                    <a:pt x="930" y="74"/>
                  </a:lnTo>
                  <a:lnTo>
                    <a:pt x="918" y="74"/>
                  </a:lnTo>
                  <a:lnTo>
                    <a:pt x="918" y="74"/>
                  </a:lnTo>
                  <a:lnTo>
                    <a:pt x="898" y="73"/>
                  </a:lnTo>
                  <a:lnTo>
                    <a:pt x="893" y="71"/>
                  </a:lnTo>
                  <a:lnTo>
                    <a:pt x="891" y="69"/>
                  </a:lnTo>
                  <a:lnTo>
                    <a:pt x="891" y="62"/>
                  </a:lnTo>
                  <a:lnTo>
                    <a:pt x="891" y="57"/>
                  </a:lnTo>
                  <a:lnTo>
                    <a:pt x="890" y="50"/>
                  </a:lnTo>
                  <a:lnTo>
                    <a:pt x="890" y="50"/>
                  </a:lnTo>
                  <a:lnTo>
                    <a:pt x="884" y="36"/>
                  </a:lnTo>
                  <a:lnTo>
                    <a:pt x="881" y="29"/>
                  </a:lnTo>
                  <a:lnTo>
                    <a:pt x="875" y="23"/>
                  </a:lnTo>
                  <a:lnTo>
                    <a:pt x="868" y="16"/>
                  </a:lnTo>
                  <a:lnTo>
                    <a:pt x="858" y="13"/>
                  </a:lnTo>
                  <a:lnTo>
                    <a:pt x="846" y="11"/>
                  </a:lnTo>
                  <a:lnTo>
                    <a:pt x="828" y="11"/>
                  </a:lnTo>
                  <a:lnTo>
                    <a:pt x="828" y="11"/>
                  </a:lnTo>
                  <a:lnTo>
                    <a:pt x="809" y="13"/>
                  </a:lnTo>
                  <a:lnTo>
                    <a:pt x="789" y="14"/>
                  </a:lnTo>
                  <a:lnTo>
                    <a:pt x="752" y="21"/>
                  </a:lnTo>
                  <a:lnTo>
                    <a:pt x="722" y="29"/>
                  </a:lnTo>
                  <a:lnTo>
                    <a:pt x="708" y="34"/>
                  </a:lnTo>
                  <a:lnTo>
                    <a:pt x="708" y="34"/>
                  </a:lnTo>
                  <a:lnTo>
                    <a:pt x="701" y="39"/>
                  </a:lnTo>
                  <a:lnTo>
                    <a:pt x="701" y="39"/>
                  </a:lnTo>
                  <a:lnTo>
                    <a:pt x="701" y="39"/>
                  </a:lnTo>
                  <a:lnTo>
                    <a:pt x="698" y="44"/>
                  </a:lnTo>
                  <a:lnTo>
                    <a:pt x="687" y="62"/>
                  </a:lnTo>
                  <a:lnTo>
                    <a:pt x="682" y="73"/>
                  </a:lnTo>
                  <a:lnTo>
                    <a:pt x="678" y="85"/>
                  </a:lnTo>
                  <a:lnTo>
                    <a:pt x="675" y="97"/>
                  </a:lnTo>
                  <a:lnTo>
                    <a:pt x="673" y="111"/>
                  </a:lnTo>
                  <a:lnTo>
                    <a:pt x="673" y="111"/>
                  </a:lnTo>
                  <a:lnTo>
                    <a:pt x="673" y="124"/>
                  </a:lnTo>
                  <a:lnTo>
                    <a:pt x="671" y="134"/>
                  </a:lnTo>
                  <a:lnTo>
                    <a:pt x="669" y="145"/>
                  </a:lnTo>
                  <a:lnTo>
                    <a:pt x="666" y="154"/>
                  </a:lnTo>
                  <a:lnTo>
                    <a:pt x="661" y="162"/>
                  </a:lnTo>
                  <a:lnTo>
                    <a:pt x="655" y="169"/>
                  </a:lnTo>
                  <a:lnTo>
                    <a:pt x="640" y="187"/>
                  </a:lnTo>
                  <a:lnTo>
                    <a:pt x="640" y="187"/>
                  </a:lnTo>
                  <a:lnTo>
                    <a:pt x="632" y="194"/>
                  </a:lnTo>
                  <a:lnTo>
                    <a:pt x="627" y="201"/>
                  </a:lnTo>
                  <a:lnTo>
                    <a:pt x="620" y="212"/>
                  </a:lnTo>
                  <a:lnTo>
                    <a:pt x="618" y="213"/>
                  </a:lnTo>
                  <a:lnTo>
                    <a:pt x="615" y="215"/>
                  </a:lnTo>
                  <a:lnTo>
                    <a:pt x="610" y="212"/>
                  </a:lnTo>
                  <a:lnTo>
                    <a:pt x="603" y="208"/>
                  </a:lnTo>
                  <a:lnTo>
                    <a:pt x="603" y="208"/>
                  </a:lnTo>
                  <a:lnTo>
                    <a:pt x="574" y="187"/>
                  </a:lnTo>
                  <a:lnTo>
                    <a:pt x="558" y="176"/>
                  </a:lnTo>
                  <a:lnTo>
                    <a:pt x="537" y="166"/>
                  </a:lnTo>
                  <a:lnTo>
                    <a:pt x="537" y="166"/>
                  </a:lnTo>
                  <a:lnTo>
                    <a:pt x="522" y="159"/>
                  </a:lnTo>
                  <a:lnTo>
                    <a:pt x="506" y="155"/>
                  </a:lnTo>
                  <a:lnTo>
                    <a:pt x="470" y="148"/>
                  </a:lnTo>
                  <a:lnTo>
                    <a:pt x="419" y="141"/>
                  </a:lnTo>
                  <a:lnTo>
                    <a:pt x="419" y="141"/>
                  </a:lnTo>
                  <a:lnTo>
                    <a:pt x="411" y="140"/>
                  </a:lnTo>
                  <a:lnTo>
                    <a:pt x="402" y="134"/>
                  </a:lnTo>
                  <a:lnTo>
                    <a:pt x="396" y="127"/>
                  </a:lnTo>
                  <a:lnTo>
                    <a:pt x="389" y="118"/>
                  </a:lnTo>
                  <a:lnTo>
                    <a:pt x="389" y="118"/>
                  </a:lnTo>
                  <a:lnTo>
                    <a:pt x="386" y="111"/>
                  </a:lnTo>
                  <a:lnTo>
                    <a:pt x="384" y="104"/>
                  </a:lnTo>
                  <a:lnTo>
                    <a:pt x="381" y="83"/>
                  </a:lnTo>
                  <a:lnTo>
                    <a:pt x="379" y="73"/>
                  </a:lnTo>
                  <a:lnTo>
                    <a:pt x="375" y="64"/>
                  </a:lnTo>
                  <a:lnTo>
                    <a:pt x="370" y="57"/>
                  </a:lnTo>
                  <a:lnTo>
                    <a:pt x="363" y="50"/>
                  </a:lnTo>
                  <a:lnTo>
                    <a:pt x="363" y="50"/>
                  </a:lnTo>
                  <a:lnTo>
                    <a:pt x="347" y="41"/>
                  </a:lnTo>
                  <a:lnTo>
                    <a:pt x="330" y="34"/>
                  </a:lnTo>
                  <a:lnTo>
                    <a:pt x="310" y="29"/>
                  </a:lnTo>
                  <a:lnTo>
                    <a:pt x="287" y="25"/>
                  </a:lnTo>
                  <a:lnTo>
                    <a:pt x="287" y="25"/>
                  </a:lnTo>
                  <a:lnTo>
                    <a:pt x="192" y="18"/>
                  </a:lnTo>
                  <a:lnTo>
                    <a:pt x="171" y="18"/>
                  </a:lnTo>
                  <a:lnTo>
                    <a:pt x="134" y="0"/>
                  </a:lnTo>
                  <a:lnTo>
                    <a:pt x="134" y="0"/>
                  </a:lnTo>
                  <a:lnTo>
                    <a:pt x="138" y="4"/>
                  </a:lnTo>
                  <a:lnTo>
                    <a:pt x="141" y="7"/>
                  </a:lnTo>
                  <a:lnTo>
                    <a:pt x="139" y="11"/>
                  </a:lnTo>
                  <a:lnTo>
                    <a:pt x="139" y="11"/>
                  </a:lnTo>
                  <a:lnTo>
                    <a:pt x="136" y="16"/>
                  </a:lnTo>
                  <a:lnTo>
                    <a:pt x="132" y="20"/>
                  </a:lnTo>
                  <a:lnTo>
                    <a:pt x="125" y="25"/>
                  </a:lnTo>
                  <a:lnTo>
                    <a:pt x="122" y="34"/>
                  </a:lnTo>
                  <a:lnTo>
                    <a:pt x="122" y="34"/>
                  </a:lnTo>
                  <a:lnTo>
                    <a:pt x="115" y="46"/>
                  </a:lnTo>
                  <a:lnTo>
                    <a:pt x="104" y="60"/>
                  </a:lnTo>
                  <a:lnTo>
                    <a:pt x="94" y="76"/>
                  </a:lnTo>
                  <a:lnTo>
                    <a:pt x="94" y="76"/>
                  </a:lnTo>
                  <a:lnTo>
                    <a:pt x="88" y="85"/>
                  </a:lnTo>
                  <a:lnTo>
                    <a:pt x="83" y="90"/>
                  </a:lnTo>
                  <a:lnTo>
                    <a:pt x="79" y="92"/>
                  </a:lnTo>
                  <a:lnTo>
                    <a:pt x="76" y="94"/>
                  </a:lnTo>
                  <a:lnTo>
                    <a:pt x="76" y="94"/>
                  </a:lnTo>
                  <a:lnTo>
                    <a:pt x="67" y="97"/>
                  </a:lnTo>
                  <a:lnTo>
                    <a:pt x="58" y="103"/>
                  </a:lnTo>
                  <a:lnTo>
                    <a:pt x="44" y="115"/>
                  </a:lnTo>
                  <a:lnTo>
                    <a:pt x="44" y="115"/>
                  </a:lnTo>
                  <a:lnTo>
                    <a:pt x="43" y="118"/>
                  </a:lnTo>
                  <a:lnTo>
                    <a:pt x="41" y="122"/>
                  </a:lnTo>
                  <a:lnTo>
                    <a:pt x="41" y="141"/>
                  </a:lnTo>
                  <a:lnTo>
                    <a:pt x="41" y="141"/>
                  </a:lnTo>
                  <a:lnTo>
                    <a:pt x="43" y="168"/>
                  </a:lnTo>
                  <a:lnTo>
                    <a:pt x="41" y="176"/>
                  </a:lnTo>
                  <a:lnTo>
                    <a:pt x="39" y="182"/>
                  </a:lnTo>
                  <a:lnTo>
                    <a:pt x="39" y="182"/>
                  </a:lnTo>
                  <a:lnTo>
                    <a:pt x="18" y="198"/>
                  </a:lnTo>
                  <a:lnTo>
                    <a:pt x="0" y="210"/>
                  </a:lnTo>
                  <a:lnTo>
                    <a:pt x="0" y="210"/>
                  </a:lnTo>
                  <a:lnTo>
                    <a:pt x="9" y="268"/>
                  </a:lnTo>
                  <a:lnTo>
                    <a:pt x="14" y="316"/>
                  </a:lnTo>
                  <a:lnTo>
                    <a:pt x="16" y="337"/>
                  </a:lnTo>
                  <a:lnTo>
                    <a:pt x="16" y="356"/>
                  </a:lnTo>
                  <a:lnTo>
                    <a:pt x="16" y="356"/>
                  </a:lnTo>
                  <a:lnTo>
                    <a:pt x="18" y="388"/>
                  </a:lnTo>
                  <a:lnTo>
                    <a:pt x="21" y="423"/>
                  </a:lnTo>
                  <a:lnTo>
                    <a:pt x="23" y="455"/>
                  </a:lnTo>
                  <a:lnTo>
                    <a:pt x="25" y="467"/>
                  </a:lnTo>
                  <a:lnTo>
                    <a:pt x="23" y="478"/>
                  </a:lnTo>
                  <a:lnTo>
                    <a:pt x="23" y="478"/>
                  </a:lnTo>
                  <a:lnTo>
                    <a:pt x="23" y="494"/>
                  </a:lnTo>
                  <a:lnTo>
                    <a:pt x="23" y="506"/>
                  </a:lnTo>
                  <a:lnTo>
                    <a:pt x="21" y="516"/>
                  </a:lnTo>
                  <a:lnTo>
                    <a:pt x="20" y="531"/>
                  </a:lnTo>
                  <a:lnTo>
                    <a:pt x="20" y="531"/>
                  </a:lnTo>
                  <a:lnTo>
                    <a:pt x="18" y="538"/>
                  </a:lnTo>
                  <a:lnTo>
                    <a:pt x="20" y="545"/>
                  </a:lnTo>
                  <a:lnTo>
                    <a:pt x="23" y="552"/>
                  </a:lnTo>
                  <a:lnTo>
                    <a:pt x="27" y="560"/>
                  </a:lnTo>
                  <a:lnTo>
                    <a:pt x="39" y="578"/>
                  </a:lnTo>
                  <a:lnTo>
                    <a:pt x="46" y="587"/>
                  </a:lnTo>
                  <a:lnTo>
                    <a:pt x="51" y="599"/>
                  </a:lnTo>
                  <a:lnTo>
                    <a:pt x="51" y="599"/>
                  </a:lnTo>
                  <a:lnTo>
                    <a:pt x="58" y="619"/>
                  </a:lnTo>
                  <a:lnTo>
                    <a:pt x="64" y="634"/>
                  </a:lnTo>
                  <a:lnTo>
                    <a:pt x="67" y="641"/>
                  </a:lnTo>
                  <a:lnTo>
                    <a:pt x="71" y="645"/>
                  </a:lnTo>
                  <a:lnTo>
                    <a:pt x="78" y="650"/>
                  </a:lnTo>
                  <a:lnTo>
                    <a:pt x="87" y="652"/>
                  </a:lnTo>
                  <a:lnTo>
                    <a:pt x="87" y="652"/>
                  </a:lnTo>
                  <a:lnTo>
                    <a:pt x="108" y="661"/>
                  </a:lnTo>
                  <a:lnTo>
                    <a:pt x="131" y="671"/>
                  </a:lnTo>
                  <a:lnTo>
                    <a:pt x="141" y="678"/>
                  </a:lnTo>
                  <a:lnTo>
                    <a:pt x="148" y="684"/>
                  </a:lnTo>
                  <a:lnTo>
                    <a:pt x="155" y="691"/>
                  </a:lnTo>
                  <a:lnTo>
                    <a:pt x="157" y="698"/>
                  </a:lnTo>
                  <a:lnTo>
                    <a:pt x="157" y="698"/>
                  </a:lnTo>
                  <a:lnTo>
                    <a:pt x="159" y="708"/>
                  </a:lnTo>
                  <a:lnTo>
                    <a:pt x="162" y="717"/>
                  </a:lnTo>
                  <a:lnTo>
                    <a:pt x="166" y="721"/>
                  </a:lnTo>
                  <a:lnTo>
                    <a:pt x="169" y="723"/>
                  </a:lnTo>
                  <a:lnTo>
                    <a:pt x="176" y="724"/>
                  </a:lnTo>
                  <a:lnTo>
                    <a:pt x="183" y="726"/>
                  </a:lnTo>
                  <a:lnTo>
                    <a:pt x="183" y="726"/>
                  </a:lnTo>
                  <a:lnTo>
                    <a:pt x="206" y="726"/>
                  </a:lnTo>
                  <a:lnTo>
                    <a:pt x="238" y="728"/>
                  </a:lnTo>
                  <a:lnTo>
                    <a:pt x="254" y="728"/>
                  </a:lnTo>
                  <a:lnTo>
                    <a:pt x="268" y="731"/>
                  </a:lnTo>
                  <a:lnTo>
                    <a:pt x="280" y="735"/>
                  </a:lnTo>
                  <a:lnTo>
                    <a:pt x="289" y="740"/>
                  </a:lnTo>
                  <a:lnTo>
                    <a:pt x="289" y="740"/>
                  </a:lnTo>
                  <a:lnTo>
                    <a:pt x="296" y="747"/>
                  </a:lnTo>
                  <a:lnTo>
                    <a:pt x="301" y="756"/>
                  </a:lnTo>
                  <a:lnTo>
                    <a:pt x="310" y="774"/>
                  </a:lnTo>
                  <a:lnTo>
                    <a:pt x="319" y="789"/>
                  </a:lnTo>
                  <a:lnTo>
                    <a:pt x="324" y="795"/>
                  </a:lnTo>
                  <a:lnTo>
                    <a:pt x="330" y="796"/>
                  </a:lnTo>
                  <a:lnTo>
                    <a:pt x="330" y="796"/>
                  </a:lnTo>
                  <a:lnTo>
                    <a:pt x="342" y="798"/>
                  </a:lnTo>
                  <a:lnTo>
                    <a:pt x="356" y="795"/>
                  </a:lnTo>
                  <a:lnTo>
                    <a:pt x="374" y="789"/>
                  </a:lnTo>
                  <a:lnTo>
                    <a:pt x="391" y="782"/>
                  </a:lnTo>
                  <a:lnTo>
                    <a:pt x="391" y="782"/>
                  </a:lnTo>
                  <a:lnTo>
                    <a:pt x="400" y="777"/>
                  </a:lnTo>
                  <a:lnTo>
                    <a:pt x="411" y="770"/>
                  </a:lnTo>
                  <a:lnTo>
                    <a:pt x="419" y="761"/>
                  </a:lnTo>
                  <a:lnTo>
                    <a:pt x="430" y="754"/>
                  </a:lnTo>
                  <a:lnTo>
                    <a:pt x="442" y="749"/>
                  </a:lnTo>
                  <a:lnTo>
                    <a:pt x="455" y="745"/>
                  </a:lnTo>
                  <a:lnTo>
                    <a:pt x="462" y="744"/>
                  </a:lnTo>
                  <a:lnTo>
                    <a:pt x="470" y="745"/>
                  </a:lnTo>
                  <a:lnTo>
                    <a:pt x="477" y="747"/>
                  </a:lnTo>
                  <a:lnTo>
                    <a:pt x="488" y="751"/>
                  </a:lnTo>
                  <a:lnTo>
                    <a:pt x="488" y="751"/>
                  </a:lnTo>
                  <a:lnTo>
                    <a:pt x="564" y="786"/>
                  </a:lnTo>
                  <a:lnTo>
                    <a:pt x="682" y="844"/>
                  </a:lnTo>
                  <a:lnTo>
                    <a:pt x="839" y="923"/>
                  </a:lnTo>
                  <a:lnTo>
                    <a:pt x="839" y="923"/>
                  </a:lnTo>
                  <a:lnTo>
                    <a:pt x="912" y="959"/>
                  </a:lnTo>
                  <a:lnTo>
                    <a:pt x="967" y="981"/>
                  </a:lnTo>
                  <a:lnTo>
                    <a:pt x="986" y="988"/>
                  </a:lnTo>
                  <a:lnTo>
                    <a:pt x="993" y="990"/>
                  </a:lnTo>
                  <a:lnTo>
                    <a:pt x="997" y="990"/>
                  </a:lnTo>
                  <a:lnTo>
                    <a:pt x="997" y="990"/>
                  </a:lnTo>
                  <a:lnTo>
                    <a:pt x="1016" y="983"/>
                  </a:lnTo>
                  <a:lnTo>
                    <a:pt x="1030" y="980"/>
                  </a:lnTo>
                  <a:lnTo>
                    <a:pt x="1030" y="980"/>
                  </a:lnTo>
                  <a:lnTo>
                    <a:pt x="1039" y="980"/>
                  </a:lnTo>
                  <a:lnTo>
                    <a:pt x="1050" y="976"/>
                  </a:lnTo>
                  <a:lnTo>
                    <a:pt x="1055" y="973"/>
                  </a:lnTo>
                  <a:lnTo>
                    <a:pt x="1059" y="969"/>
                  </a:lnTo>
                  <a:lnTo>
                    <a:pt x="1060" y="964"/>
                  </a:lnTo>
                  <a:lnTo>
                    <a:pt x="1062" y="959"/>
                  </a:lnTo>
                  <a:lnTo>
                    <a:pt x="1062" y="959"/>
                  </a:lnTo>
                  <a:lnTo>
                    <a:pt x="1046" y="592"/>
                  </a:lnTo>
                  <a:lnTo>
                    <a:pt x="1032" y="242"/>
                  </a:lnTo>
                  <a:lnTo>
                    <a:pt x="1027" y="9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3" name="Freeform 9">
              <a:extLst>
                <a:ext uri="{FF2B5EF4-FFF2-40B4-BE49-F238E27FC236}">
                  <a16:creationId xmlns:a16="http://schemas.microsoft.com/office/drawing/2014/main" id="{6871C60B-6D14-4E76-B3AA-1DF6E4E9AD91}"/>
                </a:ext>
              </a:extLst>
            </p:cNvPr>
            <p:cNvSpPr>
              <a:spLocks/>
            </p:cNvSpPr>
            <p:nvPr/>
          </p:nvSpPr>
          <p:spPr bwMode="auto">
            <a:xfrm>
              <a:off x="3221038" y="1810428"/>
              <a:ext cx="1220637" cy="1209929"/>
            </a:xfrm>
            <a:custGeom>
              <a:avLst/>
              <a:gdLst/>
              <a:ahLst/>
              <a:cxnLst>
                <a:cxn ang="0">
                  <a:pos x="1054" y="11"/>
                </a:cxn>
                <a:cxn ang="0">
                  <a:pos x="955" y="0"/>
                </a:cxn>
                <a:cxn ang="0">
                  <a:pos x="927" y="22"/>
                </a:cxn>
                <a:cxn ang="0">
                  <a:pos x="907" y="18"/>
                </a:cxn>
                <a:cxn ang="0">
                  <a:pos x="886" y="7"/>
                </a:cxn>
                <a:cxn ang="0">
                  <a:pos x="814" y="4"/>
                </a:cxn>
                <a:cxn ang="0">
                  <a:pos x="782" y="22"/>
                </a:cxn>
                <a:cxn ang="0">
                  <a:pos x="634" y="23"/>
                </a:cxn>
                <a:cxn ang="0">
                  <a:pos x="543" y="69"/>
                </a:cxn>
                <a:cxn ang="0">
                  <a:pos x="518" y="81"/>
                </a:cxn>
                <a:cxn ang="0">
                  <a:pos x="502" y="81"/>
                </a:cxn>
                <a:cxn ang="0">
                  <a:pos x="474" y="110"/>
                </a:cxn>
                <a:cxn ang="0">
                  <a:pos x="450" y="134"/>
                </a:cxn>
                <a:cxn ang="0">
                  <a:pos x="444" y="171"/>
                </a:cxn>
                <a:cxn ang="0">
                  <a:pos x="457" y="235"/>
                </a:cxn>
                <a:cxn ang="0">
                  <a:pos x="476" y="303"/>
                </a:cxn>
                <a:cxn ang="0">
                  <a:pos x="487" y="358"/>
                </a:cxn>
                <a:cxn ang="0">
                  <a:pos x="478" y="390"/>
                </a:cxn>
                <a:cxn ang="0">
                  <a:pos x="444" y="395"/>
                </a:cxn>
                <a:cxn ang="0">
                  <a:pos x="391" y="393"/>
                </a:cxn>
                <a:cxn ang="0">
                  <a:pos x="360" y="409"/>
                </a:cxn>
                <a:cxn ang="0">
                  <a:pos x="340" y="443"/>
                </a:cxn>
                <a:cxn ang="0">
                  <a:pos x="326" y="485"/>
                </a:cxn>
                <a:cxn ang="0">
                  <a:pos x="293" y="490"/>
                </a:cxn>
                <a:cxn ang="0">
                  <a:pos x="266" y="513"/>
                </a:cxn>
                <a:cxn ang="0">
                  <a:pos x="231" y="555"/>
                </a:cxn>
                <a:cxn ang="0">
                  <a:pos x="205" y="566"/>
                </a:cxn>
                <a:cxn ang="0">
                  <a:pos x="117" y="585"/>
                </a:cxn>
                <a:cxn ang="0">
                  <a:pos x="55" y="610"/>
                </a:cxn>
                <a:cxn ang="0">
                  <a:pos x="27" y="626"/>
                </a:cxn>
                <a:cxn ang="0">
                  <a:pos x="0" y="670"/>
                </a:cxn>
                <a:cxn ang="0">
                  <a:pos x="9" y="730"/>
                </a:cxn>
                <a:cxn ang="0">
                  <a:pos x="59" y="786"/>
                </a:cxn>
                <a:cxn ang="0">
                  <a:pos x="145" y="835"/>
                </a:cxn>
                <a:cxn ang="0">
                  <a:pos x="256" y="927"/>
                </a:cxn>
                <a:cxn ang="0">
                  <a:pos x="671" y="1233"/>
                </a:cxn>
                <a:cxn ang="0">
                  <a:pos x="680" y="1249"/>
                </a:cxn>
                <a:cxn ang="0">
                  <a:pos x="758" y="1279"/>
                </a:cxn>
                <a:cxn ang="0">
                  <a:pos x="779" y="1290"/>
                </a:cxn>
                <a:cxn ang="0">
                  <a:pos x="793" y="1339"/>
                </a:cxn>
                <a:cxn ang="0">
                  <a:pos x="814" y="1357"/>
                </a:cxn>
                <a:cxn ang="0">
                  <a:pos x="904" y="1343"/>
                </a:cxn>
                <a:cxn ang="0">
                  <a:pos x="1025" y="1279"/>
                </a:cxn>
                <a:cxn ang="0">
                  <a:pos x="1365" y="1013"/>
                </a:cxn>
                <a:cxn ang="0">
                  <a:pos x="1356" y="985"/>
                </a:cxn>
                <a:cxn ang="0">
                  <a:pos x="1307" y="955"/>
                </a:cxn>
                <a:cxn ang="0">
                  <a:pos x="1279" y="945"/>
                </a:cxn>
                <a:cxn ang="0">
                  <a:pos x="1258" y="904"/>
                </a:cxn>
                <a:cxn ang="0">
                  <a:pos x="1231" y="858"/>
                </a:cxn>
                <a:cxn ang="0">
                  <a:pos x="1224" y="825"/>
                </a:cxn>
                <a:cxn ang="0">
                  <a:pos x="1228" y="770"/>
                </a:cxn>
                <a:cxn ang="0">
                  <a:pos x="1223" y="698"/>
                </a:cxn>
                <a:cxn ang="0">
                  <a:pos x="1210" y="561"/>
                </a:cxn>
                <a:cxn ang="0">
                  <a:pos x="1194" y="451"/>
                </a:cxn>
                <a:cxn ang="0">
                  <a:pos x="1175" y="404"/>
                </a:cxn>
                <a:cxn ang="0">
                  <a:pos x="1152" y="365"/>
                </a:cxn>
                <a:cxn ang="0">
                  <a:pos x="1091" y="282"/>
                </a:cxn>
                <a:cxn ang="0">
                  <a:pos x="1075" y="228"/>
                </a:cxn>
                <a:cxn ang="0">
                  <a:pos x="1078" y="203"/>
                </a:cxn>
                <a:cxn ang="0">
                  <a:pos x="1119" y="133"/>
                </a:cxn>
                <a:cxn ang="0">
                  <a:pos x="1094" y="67"/>
                </a:cxn>
                <a:cxn ang="0">
                  <a:pos x="1080" y="43"/>
                </a:cxn>
              </a:cxnLst>
              <a:rect l="0" t="0" r="r" b="b"/>
              <a:pathLst>
                <a:path w="1369" h="1357">
                  <a:moveTo>
                    <a:pt x="1076" y="32"/>
                  </a:moveTo>
                  <a:lnTo>
                    <a:pt x="1076" y="32"/>
                  </a:lnTo>
                  <a:lnTo>
                    <a:pt x="1054" y="11"/>
                  </a:lnTo>
                  <a:lnTo>
                    <a:pt x="1054" y="11"/>
                  </a:lnTo>
                  <a:lnTo>
                    <a:pt x="1047" y="7"/>
                  </a:lnTo>
                  <a:lnTo>
                    <a:pt x="1034" y="4"/>
                  </a:lnTo>
                  <a:lnTo>
                    <a:pt x="1001" y="2"/>
                  </a:lnTo>
                  <a:lnTo>
                    <a:pt x="955" y="0"/>
                  </a:lnTo>
                  <a:lnTo>
                    <a:pt x="955" y="0"/>
                  </a:lnTo>
                  <a:lnTo>
                    <a:pt x="944" y="9"/>
                  </a:lnTo>
                  <a:lnTo>
                    <a:pt x="927" y="22"/>
                  </a:lnTo>
                  <a:lnTo>
                    <a:pt x="927" y="22"/>
                  </a:lnTo>
                  <a:lnTo>
                    <a:pt x="920" y="25"/>
                  </a:lnTo>
                  <a:lnTo>
                    <a:pt x="920" y="25"/>
                  </a:lnTo>
                  <a:lnTo>
                    <a:pt x="916" y="25"/>
                  </a:lnTo>
                  <a:lnTo>
                    <a:pt x="907" y="18"/>
                  </a:lnTo>
                  <a:lnTo>
                    <a:pt x="907" y="18"/>
                  </a:lnTo>
                  <a:lnTo>
                    <a:pt x="902" y="15"/>
                  </a:lnTo>
                  <a:lnTo>
                    <a:pt x="895" y="9"/>
                  </a:lnTo>
                  <a:lnTo>
                    <a:pt x="886" y="7"/>
                  </a:lnTo>
                  <a:lnTo>
                    <a:pt x="877" y="7"/>
                  </a:lnTo>
                  <a:lnTo>
                    <a:pt x="877" y="7"/>
                  </a:lnTo>
                  <a:lnTo>
                    <a:pt x="842" y="6"/>
                  </a:lnTo>
                  <a:lnTo>
                    <a:pt x="814" y="4"/>
                  </a:lnTo>
                  <a:lnTo>
                    <a:pt x="814" y="4"/>
                  </a:lnTo>
                  <a:lnTo>
                    <a:pt x="803" y="13"/>
                  </a:lnTo>
                  <a:lnTo>
                    <a:pt x="793" y="18"/>
                  </a:lnTo>
                  <a:lnTo>
                    <a:pt x="782" y="22"/>
                  </a:lnTo>
                  <a:lnTo>
                    <a:pt x="782" y="22"/>
                  </a:lnTo>
                  <a:lnTo>
                    <a:pt x="703" y="23"/>
                  </a:lnTo>
                  <a:lnTo>
                    <a:pt x="634" y="23"/>
                  </a:lnTo>
                  <a:lnTo>
                    <a:pt x="634" y="23"/>
                  </a:lnTo>
                  <a:lnTo>
                    <a:pt x="562" y="55"/>
                  </a:lnTo>
                  <a:lnTo>
                    <a:pt x="562" y="55"/>
                  </a:lnTo>
                  <a:lnTo>
                    <a:pt x="553" y="60"/>
                  </a:lnTo>
                  <a:lnTo>
                    <a:pt x="543" y="69"/>
                  </a:lnTo>
                  <a:lnTo>
                    <a:pt x="534" y="76"/>
                  </a:lnTo>
                  <a:lnTo>
                    <a:pt x="525" y="81"/>
                  </a:lnTo>
                  <a:lnTo>
                    <a:pt x="525" y="81"/>
                  </a:lnTo>
                  <a:lnTo>
                    <a:pt x="518" y="81"/>
                  </a:lnTo>
                  <a:lnTo>
                    <a:pt x="513" y="81"/>
                  </a:lnTo>
                  <a:lnTo>
                    <a:pt x="506" y="81"/>
                  </a:lnTo>
                  <a:lnTo>
                    <a:pt x="502" y="81"/>
                  </a:lnTo>
                  <a:lnTo>
                    <a:pt x="502" y="81"/>
                  </a:lnTo>
                  <a:lnTo>
                    <a:pt x="488" y="94"/>
                  </a:lnTo>
                  <a:lnTo>
                    <a:pt x="481" y="103"/>
                  </a:lnTo>
                  <a:lnTo>
                    <a:pt x="474" y="110"/>
                  </a:lnTo>
                  <a:lnTo>
                    <a:pt x="474" y="110"/>
                  </a:lnTo>
                  <a:lnTo>
                    <a:pt x="462" y="126"/>
                  </a:lnTo>
                  <a:lnTo>
                    <a:pt x="455" y="133"/>
                  </a:lnTo>
                  <a:lnTo>
                    <a:pt x="450" y="134"/>
                  </a:lnTo>
                  <a:lnTo>
                    <a:pt x="450" y="134"/>
                  </a:lnTo>
                  <a:lnTo>
                    <a:pt x="444" y="136"/>
                  </a:lnTo>
                  <a:lnTo>
                    <a:pt x="441" y="138"/>
                  </a:lnTo>
                  <a:lnTo>
                    <a:pt x="441" y="138"/>
                  </a:lnTo>
                  <a:lnTo>
                    <a:pt x="444" y="171"/>
                  </a:lnTo>
                  <a:lnTo>
                    <a:pt x="448" y="198"/>
                  </a:lnTo>
                  <a:lnTo>
                    <a:pt x="451" y="217"/>
                  </a:lnTo>
                  <a:lnTo>
                    <a:pt x="451" y="217"/>
                  </a:lnTo>
                  <a:lnTo>
                    <a:pt x="457" y="235"/>
                  </a:lnTo>
                  <a:lnTo>
                    <a:pt x="465" y="258"/>
                  </a:lnTo>
                  <a:lnTo>
                    <a:pt x="472" y="281"/>
                  </a:lnTo>
                  <a:lnTo>
                    <a:pt x="476" y="293"/>
                  </a:lnTo>
                  <a:lnTo>
                    <a:pt x="476" y="303"/>
                  </a:lnTo>
                  <a:lnTo>
                    <a:pt x="476" y="303"/>
                  </a:lnTo>
                  <a:lnTo>
                    <a:pt x="478" y="321"/>
                  </a:lnTo>
                  <a:lnTo>
                    <a:pt x="481" y="337"/>
                  </a:lnTo>
                  <a:lnTo>
                    <a:pt x="487" y="358"/>
                  </a:lnTo>
                  <a:lnTo>
                    <a:pt x="487" y="358"/>
                  </a:lnTo>
                  <a:lnTo>
                    <a:pt x="487" y="369"/>
                  </a:lnTo>
                  <a:lnTo>
                    <a:pt x="483" y="379"/>
                  </a:lnTo>
                  <a:lnTo>
                    <a:pt x="478" y="390"/>
                  </a:lnTo>
                  <a:lnTo>
                    <a:pt x="474" y="393"/>
                  </a:lnTo>
                  <a:lnTo>
                    <a:pt x="471" y="395"/>
                  </a:lnTo>
                  <a:lnTo>
                    <a:pt x="471" y="395"/>
                  </a:lnTo>
                  <a:lnTo>
                    <a:pt x="444" y="395"/>
                  </a:lnTo>
                  <a:lnTo>
                    <a:pt x="413" y="395"/>
                  </a:lnTo>
                  <a:lnTo>
                    <a:pt x="413" y="395"/>
                  </a:lnTo>
                  <a:lnTo>
                    <a:pt x="398" y="393"/>
                  </a:lnTo>
                  <a:lnTo>
                    <a:pt x="391" y="393"/>
                  </a:lnTo>
                  <a:lnTo>
                    <a:pt x="383" y="395"/>
                  </a:lnTo>
                  <a:lnTo>
                    <a:pt x="376" y="397"/>
                  </a:lnTo>
                  <a:lnTo>
                    <a:pt x="369" y="402"/>
                  </a:lnTo>
                  <a:lnTo>
                    <a:pt x="360" y="409"/>
                  </a:lnTo>
                  <a:lnTo>
                    <a:pt x="353" y="420"/>
                  </a:lnTo>
                  <a:lnTo>
                    <a:pt x="353" y="420"/>
                  </a:lnTo>
                  <a:lnTo>
                    <a:pt x="346" y="430"/>
                  </a:lnTo>
                  <a:lnTo>
                    <a:pt x="340" y="443"/>
                  </a:lnTo>
                  <a:lnTo>
                    <a:pt x="335" y="464"/>
                  </a:lnTo>
                  <a:lnTo>
                    <a:pt x="333" y="472"/>
                  </a:lnTo>
                  <a:lnTo>
                    <a:pt x="330" y="480"/>
                  </a:lnTo>
                  <a:lnTo>
                    <a:pt x="326" y="485"/>
                  </a:lnTo>
                  <a:lnTo>
                    <a:pt x="321" y="487"/>
                  </a:lnTo>
                  <a:lnTo>
                    <a:pt x="321" y="487"/>
                  </a:lnTo>
                  <a:lnTo>
                    <a:pt x="309" y="487"/>
                  </a:lnTo>
                  <a:lnTo>
                    <a:pt x="293" y="490"/>
                  </a:lnTo>
                  <a:lnTo>
                    <a:pt x="286" y="494"/>
                  </a:lnTo>
                  <a:lnTo>
                    <a:pt x="279" y="499"/>
                  </a:lnTo>
                  <a:lnTo>
                    <a:pt x="272" y="504"/>
                  </a:lnTo>
                  <a:lnTo>
                    <a:pt x="266" y="513"/>
                  </a:lnTo>
                  <a:lnTo>
                    <a:pt x="266" y="513"/>
                  </a:lnTo>
                  <a:lnTo>
                    <a:pt x="254" y="532"/>
                  </a:lnTo>
                  <a:lnTo>
                    <a:pt x="240" y="548"/>
                  </a:lnTo>
                  <a:lnTo>
                    <a:pt x="231" y="555"/>
                  </a:lnTo>
                  <a:lnTo>
                    <a:pt x="222" y="561"/>
                  </a:lnTo>
                  <a:lnTo>
                    <a:pt x="214" y="564"/>
                  </a:lnTo>
                  <a:lnTo>
                    <a:pt x="205" y="566"/>
                  </a:lnTo>
                  <a:lnTo>
                    <a:pt x="205" y="566"/>
                  </a:lnTo>
                  <a:lnTo>
                    <a:pt x="185" y="568"/>
                  </a:lnTo>
                  <a:lnTo>
                    <a:pt x="162" y="573"/>
                  </a:lnTo>
                  <a:lnTo>
                    <a:pt x="117" y="585"/>
                  </a:lnTo>
                  <a:lnTo>
                    <a:pt x="117" y="585"/>
                  </a:lnTo>
                  <a:lnTo>
                    <a:pt x="97" y="591"/>
                  </a:lnTo>
                  <a:lnTo>
                    <a:pt x="83" y="598"/>
                  </a:lnTo>
                  <a:lnTo>
                    <a:pt x="69" y="605"/>
                  </a:lnTo>
                  <a:lnTo>
                    <a:pt x="55" y="610"/>
                  </a:lnTo>
                  <a:lnTo>
                    <a:pt x="55" y="610"/>
                  </a:lnTo>
                  <a:lnTo>
                    <a:pt x="46" y="613"/>
                  </a:lnTo>
                  <a:lnTo>
                    <a:pt x="37" y="619"/>
                  </a:lnTo>
                  <a:lnTo>
                    <a:pt x="27" y="626"/>
                  </a:lnTo>
                  <a:lnTo>
                    <a:pt x="18" y="635"/>
                  </a:lnTo>
                  <a:lnTo>
                    <a:pt x="9" y="645"/>
                  </a:lnTo>
                  <a:lnTo>
                    <a:pt x="4" y="657"/>
                  </a:lnTo>
                  <a:lnTo>
                    <a:pt x="0" y="670"/>
                  </a:lnTo>
                  <a:lnTo>
                    <a:pt x="0" y="684"/>
                  </a:lnTo>
                  <a:lnTo>
                    <a:pt x="0" y="684"/>
                  </a:lnTo>
                  <a:lnTo>
                    <a:pt x="6" y="714"/>
                  </a:lnTo>
                  <a:lnTo>
                    <a:pt x="9" y="730"/>
                  </a:lnTo>
                  <a:lnTo>
                    <a:pt x="15" y="744"/>
                  </a:lnTo>
                  <a:lnTo>
                    <a:pt x="25" y="758"/>
                  </a:lnTo>
                  <a:lnTo>
                    <a:pt x="39" y="772"/>
                  </a:lnTo>
                  <a:lnTo>
                    <a:pt x="59" y="786"/>
                  </a:lnTo>
                  <a:lnTo>
                    <a:pt x="85" y="800"/>
                  </a:lnTo>
                  <a:lnTo>
                    <a:pt x="85" y="800"/>
                  </a:lnTo>
                  <a:lnTo>
                    <a:pt x="115" y="816"/>
                  </a:lnTo>
                  <a:lnTo>
                    <a:pt x="145" y="835"/>
                  </a:lnTo>
                  <a:lnTo>
                    <a:pt x="173" y="856"/>
                  </a:lnTo>
                  <a:lnTo>
                    <a:pt x="199" y="878"/>
                  </a:lnTo>
                  <a:lnTo>
                    <a:pt x="240" y="913"/>
                  </a:lnTo>
                  <a:lnTo>
                    <a:pt x="256" y="927"/>
                  </a:lnTo>
                  <a:lnTo>
                    <a:pt x="670" y="1218"/>
                  </a:lnTo>
                  <a:lnTo>
                    <a:pt x="670" y="1218"/>
                  </a:lnTo>
                  <a:lnTo>
                    <a:pt x="670" y="1223"/>
                  </a:lnTo>
                  <a:lnTo>
                    <a:pt x="671" y="1233"/>
                  </a:lnTo>
                  <a:lnTo>
                    <a:pt x="675" y="1244"/>
                  </a:lnTo>
                  <a:lnTo>
                    <a:pt x="677" y="1247"/>
                  </a:lnTo>
                  <a:lnTo>
                    <a:pt x="680" y="1249"/>
                  </a:lnTo>
                  <a:lnTo>
                    <a:pt x="680" y="1249"/>
                  </a:lnTo>
                  <a:lnTo>
                    <a:pt x="687" y="1251"/>
                  </a:lnTo>
                  <a:lnTo>
                    <a:pt x="700" y="1255"/>
                  </a:lnTo>
                  <a:lnTo>
                    <a:pt x="730" y="1267"/>
                  </a:lnTo>
                  <a:lnTo>
                    <a:pt x="758" y="1279"/>
                  </a:lnTo>
                  <a:lnTo>
                    <a:pt x="774" y="1284"/>
                  </a:lnTo>
                  <a:lnTo>
                    <a:pt x="774" y="1284"/>
                  </a:lnTo>
                  <a:lnTo>
                    <a:pt x="775" y="1286"/>
                  </a:lnTo>
                  <a:lnTo>
                    <a:pt x="779" y="1290"/>
                  </a:lnTo>
                  <a:lnTo>
                    <a:pt x="786" y="1304"/>
                  </a:lnTo>
                  <a:lnTo>
                    <a:pt x="791" y="1321"/>
                  </a:lnTo>
                  <a:lnTo>
                    <a:pt x="793" y="1339"/>
                  </a:lnTo>
                  <a:lnTo>
                    <a:pt x="793" y="1339"/>
                  </a:lnTo>
                  <a:lnTo>
                    <a:pt x="795" y="1346"/>
                  </a:lnTo>
                  <a:lnTo>
                    <a:pt x="800" y="1351"/>
                  </a:lnTo>
                  <a:lnTo>
                    <a:pt x="805" y="1355"/>
                  </a:lnTo>
                  <a:lnTo>
                    <a:pt x="814" y="1357"/>
                  </a:lnTo>
                  <a:lnTo>
                    <a:pt x="833" y="1357"/>
                  </a:lnTo>
                  <a:lnTo>
                    <a:pt x="849" y="1353"/>
                  </a:lnTo>
                  <a:lnTo>
                    <a:pt x="849" y="1353"/>
                  </a:lnTo>
                  <a:lnTo>
                    <a:pt x="904" y="1343"/>
                  </a:lnTo>
                  <a:lnTo>
                    <a:pt x="955" y="1329"/>
                  </a:lnTo>
                  <a:lnTo>
                    <a:pt x="955" y="1329"/>
                  </a:lnTo>
                  <a:lnTo>
                    <a:pt x="976" y="1314"/>
                  </a:lnTo>
                  <a:lnTo>
                    <a:pt x="1025" y="1279"/>
                  </a:lnTo>
                  <a:lnTo>
                    <a:pt x="1168" y="1172"/>
                  </a:lnTo>
                  <a:lnTo>
                    <a:pt x="1369" y="1019"/>
                  </a:lnTo>
                  <a:lnTo>
                    <a:pt x="1369" y="1019"/>
                  </a:lnTo>
                  <a:lnTo>
                    <a:pt x="1365" y="1013"/>
                  </a:lnTo>
                  <a:lnTo>
                    <a:pt x="1362" y="1003"/>
                  </a:lnTo>
                  <a:lnTo>
                    <a:pt x="1362" y="1003"/>
                  </a:lnTo>
                  <a:lnTo>
                    <a:pt x="1360" y="992"/>
                  </a:lnTo>
                  <a:lnTo>
                    <a:pt x="1356" y="985"/>
                  </a:lnTo>
                  <a:lnTo>
                    <a:pt x="1351" y="978"/>
                  </a:lnTo>
                  <a:lnTo>
                    <a:pt x="1351" y="978"/>
                  </a:lnTo>
                  <a:lnTo>
                    <a:pt x="1323" y="962"/>
                  </a:lnTo>
                  <a:lnTo>
                    <a:pt x="1307" y="955"/>
                  </a:lnTo>
                  <a:lnTo>
                    <a:pt x="1297" y="950"/>
                  </a:lnTo>
                  <a:lnTo>
                    <a:pt x="1297" y="950"/>
                  </a:lnTo>
                  <a:lnTo>
                    <a:pt x="1288" y="948"/>
                  </a:lnTo>
                  <a:lnTo>
                    <a:pt x="1279" y="945"/>
                  </a:lnTo>
                  <a:lnTo>
                    <a:pt x="1274" y="941"/>
                  </a:lnTo>
                  <a:lnTo>
                    <a:pt x="1268" y="934"/>
                  </a:lnTo>
                  <a:lnTo>
                    <a:pt x="1268" y="934"/>
                  </a:lnTo>
                  <a:lnTo>
                    <a:pt x="1258" y="904"/>
                  </a:lnTo>
                  <a:lnTo>
                    <a:pt x="1251" y="888"/>
                  </a:lnTo>
                  <a:lnTo>
                    <a:pt x="1244" y="876"/>
                  </a:lnTo>
                  <a:lnTo>
                    <a:pt x="1244" y="876"/>
                  </a:lnTo>
                  <a:lnTo>
                    <a:pt x="1231" y="858"/>
                  </a:lnTo>
                  <a:lnTo>
                    <a:pt x="1223" y="841"/>
                  </a:lnTo>
                  <a:lnTo>
                    <a:pt x="1223" y="841"/>
                  </a:lnTo>
                  <a:lnTo>
                    <a:pt x="1223" y="834"/>
                  </a:lnTo>
                  <a:lnTo>
                    <a:pt x="1224" y="825"/>
                  </a:lnTo>
                  <a:lnTo>
                    <a:pt x="1228" y="811"/>
                  </a:lnTo>
                  <a:lnTo>
                    <a:pt x="1228" y="811"/>
                  </a:lnTo>
                  <a:lnTo>
                    <a:pt x="1226" y="791"/>
                  </a:lnTo>
                  <a:lnTo>
                    <a:pt x="1228" y="770"/>
                  </a:lnTo>
                  <a:lnTo>
                    <a:pt x="1228" y="770"/>
                  </a:lnTo>
                  <a:lnTo>
                    <a:pt x="1224" y="731"/>
                  </a:lnTo>
                  <a:lnTo>
                    <a:pt x="1223" y="698"/>
                  </a:lnTo>
                  <a:lnTo>
                    <a:pt x="1223" y="698"/>
                  </a:lnTo>
                  <a:lnTo>
                    <a:pt x="1219" y="659"/>
                  </a:lnTo>
                  <a:lnTo>
                    <a:pt x="1219" y="619"/>
                  </a:lnTo>
                  <a:lnTo>
                    <a:pt x="1219" y="619"/>
                  </a:lnTo>
                  <a:lnTo>
                    <a:pt x="1210" y="561"/>
                  </a:lnTo>
                  <a:lnTo>
                    <a:pt x="1203" y="506"/>
                  </a:lnTo>
                  <a:lnTo>
                    <a:pt x="1203" y="506"/>
                  </a:lnTo>
                  <a:lnTo>
                    <a:pt x="1200" y="476"/>
                  </a:lnTo>
                  <a:lnTo>
                    <a:pt x="1194" y="451"/>
                  </a:lnTo>
                  <a:lnTo>
                    <a:pt x="1191" y="439"/>
                  </a:lnTo>
                  <a:lnTo>
                    <a:pt x="1187" y="430"/>
                  </a:lnTo>
                  <a:lnTo>
                    <a:pt x="1187" y="430"/>
                  </a:lnTo>
                  <a:lnTo>
                    <a:pt x="1175" y="404"/>
                  </a:lnTo>
                  <a:lnTo>
                    <a:pt x="1165" y="383"/>
                  </a:lnTo>
                  <a:lnTo>
                    <a:pt x="1157" y="374"/>
                  </a:lnTo>
                  <a:lnTo>
                    <a:pt x="1152" y="365"/>
                  </a:lnTo>
                  <a:lnTo>
                    <a:pt x="1152" y="365"/>
                  </a:lnTo>
                  <a:lnTo>
                    <a:pt x="1136" y="347"/>
                  </a:lnTo>
                  <a:lnTo>
                    <a:pt x="1117" y="321"/>
                  </a:lnTo>
                  <a:lnTo>
                    <a:pt x="1091" y="282"/>
                  </a:lnTo>
                  <a:lnTo>
                    <a:pt x="1091" y="282"/>
                  </a:lnTo>
                  <a:lnTo>
                    <a:pt x="1087" y="275"/>
                  </a:lnTo>
                  <a:lnTo>
                    <a:pt x="1083" y="266"/>
                  </a:lnTo>
                  <a:lnTo>
                    <a:pt x="1076" y="242"/>
                  </a:lnTo>
                  <a:lnTo>
                    <a:pt x="1075" y="228"/>
                  </a:lnTo>
                  <a:lnTo>
                    <a:pt x="1075" y="217"/>
                  </a:lnTo>
                  <a:lnTo>
                    <a:pt x="1075" y="208"/>
                  </a:lnTo>
                  <a:lnTo>
                    <a:pt x="1078" y="203"/>
                  </a:lnTo>
                  <a:lnTo>
                    <a:pt x="1078" y="203"/>
                  </a:lnTo>
                  <a:lnTo>
                    <a:pt x="1085" y="199"/>
                  </a:lnTo>
                  <a:lnTo>
                    <a:pt x="1091" y="198"/>
                  </a:lnTo>
                  <a:lnTo>
                    <a:pt x="1096" y="196"/>
                  </a:lnTo>
                  <a:lnTo>
                    <a:pt x="1119" y="133"/>
                  </a:lnTo>
                  <a:lnTo>
                    <a:pt x="1119" y="133"/>
                  </a:lnTo>
                  <a:lnTo>
                    <a:pt x="1108" y="101"/>
                  </a:lnTo>
                  <a:lnTo>
                    <a:pt x="1099" y="78"/>
                  </a:lnTo>
                  <a:lnTo>
                    <a:pt x="1094" y="67"/>
                  </a:lnTo>
                  <a:lnTo>
                    <a:pt x="1091" y="62"/>
                  </a:lnTo>
                  <a:lnTo>
                    <a:pt x="1091" y="62"/>
                  </a:lnTo>
                  <a:lnTo>
                    <a:pt x="1083" y="53"/>
                  </a:lnTo>
                  <a:lnTo>
                    <a:pt x="1080" y="43"/>
                  </a:lnTo>
                  <a:lnTo>
                    <a:pt x="1076" y="32"/>
                  </a:lnTo>
                  <a:lnTo>
                    <a:pt x="1076" y="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4" name="Freeform 10">
              <a:extLst>
                <a:ext uri="{FF2B5EF4-FFF2-40B4-BE49-F238E27FC236}">
                  <a16:creationId xmlns:a16="http://schemas.microsoft.com/office/drawing/2014/main" id="{14CE6BFB-AA38-4213-BC11-C08429B8AAE0}"/>
                </a:ext>
              </a:extLst>
            </p:cNvPr>
            <p:cNvSpPr>
              <a:spLocks/>
            </p:cNvSpPr>
            <p:nvPr/>
          </p:nvSpPr>
          <p:spPr bwMode="auto">
            <a:xfrm>
              <a:off x="2673179" y="1899656"/>
              <a:ext cx="983290" cy="983291"/>
            </a:xfrm>
            <a:custGeom>
              <a:avLst/>
              <a:gdLst/>
              <a:ahLst/>
              <a:cxnLst>
                <a:cxn ang="0">
                  <a:pos x="1044" y="39"/>
                </a:cxn>
                <a:cxn ang="0">
                  <a:pos x="1003" y="10"/>
                </a:cxn>
                <a:cxn ang="0">
                  <a:pos x="973" y="14"/>
                </a:cxn>
                <a:cxn ang="0">
                  <a:pos x="944" y="30"/>
                </a:cxn>
                <a:cxn ang="0">
                  <a:pos x="892" y="33"/>
                </a:cxn>
                <a:cxn ang="0">
                  <a:pos x="847" y="19"/>
                </a:cxn>
                <a:cxn ang="0">
                  <a:pos x="817" y="3"/>
                </a:cxn>
                <a:cxn ang="0">
                  <a:pos x="780" y="7"/>
                </a:cxn>
                <a:cxn ang="0">
                  <a:pos x="769" y="44"/>
                </a:cxn>
                <a:cxn ang="0">
                  <a:pos x="750" y="79"/>
                </a:cxn>
                <a:cxn ang="0">
                  <a:pos x="709" y="141"/>
                </a:cxn>
                <a:cxn ang="0">
                  <a:pos x="672" y="153"/>
                </a:cxn>
                <a:cxn ang="0">
                  <a:pos x="588" y="208"/>
                </a:cxn>
                <a:cxn ang="0">
                  <a:pos x="530" y="278"/>
                </a:cxn>
                <a:cxn ang="0">
                  <a:pos x="523" y="345"/>
                </a:cxn>
                <a:cxn ang="0">
                  <a:pos x="519" y="380"/>
                </a:cxn>
                <a:cxn ang="0">
                  <a:pos x="533" y="417"/>
                </a:cxn>
                <a:cxn ang="0">
                  <a:pos x="524" y="449"/>
                </a:cxn>
                <a:cxn ang="0">
                  <a:pos x="510" y="490"/>
                </a:cxn>
                <a:cxn ang="0">
                  <a:pos x="399" y="565"/>
                </a:cxn>
                <a:cxn ang="0">
                  <a:pos x="382" y="583"/>
                </a:cxn>
                <a:cxn ang="0">
                  <a:pos x="332" y="588"/>
                </a:cxn>
                <a:cxn ang="0">
                  <a:pos x="280" y="608"/>
                </a:cxn>
                <a:cxn ang="0">
                  <a:pos x="266" y="662"/>
                </a:cxn>
                <a:cxn ang="0">
                  <a:pos x="190" y="745"/>
                </a:cxn>
                <a:cxn ang="0">
                  <a:pos x="172" y="791"/>
                </a:cxn>
                <a:cxn ang="0">
                  <a:pos x="169" y="831"/>
                </a:cxn>
                <a:cxn ang="0">
                  <a:pos x="133" y="847"/>
                </a:cxn>
                <a:cxn ang="0">
                  <a:pos x="95" y="905"/>
                </a:cxn>
                <a:cxn ang="0">
                  <a:pos x="56" y="986"/>
                </a:cxn>
                <a:cxn ang="0">
                  <a:pos x="30" y="1013"/>
                </a:cxn>
                <a:cxn ang="0">
                  <a:pos x="19" y="1044"/>
                </a:cxn>
                <a:cxn ang="0">
                  <a:pos x="0" y="1081"/>
                </a:cxn>
                <a:cxn ang="0">
                  <a:pos x="294" y="1071"/>
                </a:cxn>
                <a:cxn ang="0">
                  <a:pos x="292" y="1006"/>
                </a:cxn>
                <a:cxn ang="0">
                  <a:pos x="310" y="974"/>
                </a:cxn>
                <a:cxn ang="0">
                  <a:pos x="355" y="937"/>
                </a:cxn>
                <a:cxn ang="0">
                  <a:pos x="366" y="771"/>
                </a:cxn>
                <a:cxn ang="0">
                  <a:pos x="616" y="556"/>
                </a:cxn>
                <a:cxn ang="0">
                  <a:pos x="639" y="525"/>
                </a:cxn>
                <a:cxn ang="0">
                  <a:pos x="709" y="491"/>
                </a:cxn>
                <a:cxn ang="0">
                  <a:pos x="808" y="465"/>
                </a:cxn>
                <a:cxn ang="0">
                  <a:pos x="834" y="460"/>
                </a:cxn>
                <a:cxn ang="0">
                  <a:pos x="892" y="396"/>
                </a:cxn>
                <a:cxn ang="0">
                  <a:pos x="931" y="386"/>
                </a:cxn>
                <a:cxn ang="0">
                  <a:pos x="945" y="370"/>
                </a:cxn>
                <a:cxn ang="0">
                  <a:pos x="966" y="313"/>
                </a:cxn>
                <a:cxn ang="0">
                  <a:pos x="1079" y="292"/>
                </a:cxn>
                <a:cxn ang="0">
                  <a:pos x="1097" y="278"/>
                </a:cxn>
                <a:cxn ang="0">
                  <a:pos x="1095" y="243"/>
                </a:cxn>
                <a:cxn ang="0">
                  <a:pos x="1083" y="174"/>
                </a:cxn>
                <a:cxn ang="0">
                  <a:pos x="1067" y="128"/>
                </a:cxn>
                <a:cxn ang="0">
                  <a:pos x="1053" y="37"/>
                </a:cxn>
              </a:cxnLst>
              <a:rect l="0" t="0" r="r" b="b"/>
              <a:pathLst>
                <a:path w="1100" h="1102">
                  <a:moveTo>
                    <a:pt x="1053" y="37"/>
                  </a:moveTo>
                  <a:lnTo>
                    <a:pt x="1053" y="37"/>
                  </a:lnTo>
                  <a:lnTo>
                    <a:pt x="1053" y="39"/>
                  </a:lnTo>
                  <a:lnTo>
                    <a:pt x="1049" y="39"/>
                  </a:lnTo>
                  <a:lnTo>
                    <a:pt x="1044" y="39"/>
                  </a:lnTo>
                  <a:lnTo>
                    <a:pt x="1033" y="33"/>
                  </a:lnTo>
                  <a:lnTo>
                    <a:pt x="1033" y="33"/>
                  </a:lnTo>
                  <a:lnTo>
                    <a:pt x="1021" y="25"/>
                  </a:lnTo>
                  <a:lnTo>
                    <a:pt x="1010" y="14"/>
                  </a:lnTo>
                  <a:lnTo>
                    <a:pt x="1003" y="10"/>
                  </a:lnTo>
                  <a:lnTo>
                    <a:pt x="998" y="9"/>
                  </a:lnTo>
                  <a:lnTo>
                    <a:pt x="991" y="7"/>
                  </a:lnTo>
                  <a:lnTo>
                    <a:pt x="984" y="9"/>
                  </a:lnTo>
                  <a:lnTo>
                    <a:pt x="984" y="9"/>
                  </a:lnTo>
                  <a:lnTo>
                    <a:pt x="973" y="14"/>
                  </a:lnTo>
                  <a:lnTo>
                    <a:pt x="966" y="19"/>
                  </a:lnTo>
                  <a:lnTo>
                    <a:pt x="961" y="25"/>
                  </a:lnTo>
                  <a:lnTo>
                    <a:pt x="952" y="28"/>
                  </a:lnTo>
                  <a:lnTo>
                    <a:pt x="952" y="28"/>
                  </a:lnTo>
                  <a:lnTo>
                    <a:pt x="944" y="30"/>
                  </a:lnTo>
                  <a:lnTo>
                    <a:pt x="938" y="32"/>
                  </a:lnTo>
                  <a:lnTo>
                    <a:pt x="917" y="30"/>
                  </a:lnTo>
                  <a:lnTo>
                    <a:pt x="917" y="30"/>
                  </a:lnTo>
                  <a:lnTo>
                    <a:pt x="903" y="32"/>
                  </a:lnTo>
                  <a:lnTo>
                    <a:pt x="892" y="33"/>
                  </a:lnTo>
                  <a:lnTo>
                    <a:pt x="885" y="35"/>
                  </a:lnTo>
                  <a:lnTo>
                    <a:pt x="880" y="33"/>
                  </a:lnTo>
                  <a:lnTo>
                    <a:pt x="873" y="32"/>
                  </a:lnTo>
                  <a:lnTo>
                    <a:pt x="873" y="32"/>
                  </a:lnTo>
                  <a:lnTo>
                    <a:pt x="847" y="19"/>
                  </a:lnTo>
                  <a:lnTo>
                    <a:pt x="836" y="14"/>
                  </a:lnTo>
                  <a:lnTo>
                    <a:pt x="827" y="9"/>
                  </a:lnTo>
                  <a:lnTo>
                    <a:pt x="827" y="9"/>
                  </a:lnTo>
                  <a:lnTo>
                    <a:pt x="822" y="5"/>
                  </a:lnTo>
                  <a:lnTo>
                    <a:pt x="817" y="3"/>
                  </a:lnTo>
                  <a:lnTo>
                    <a:pt x="810" y="2"/>
                  </a:lnTo>
                  <a:lnTo>
                    <a:pt x="801" y="0"/>
                  </a:lnTo>
                  <a:lnTo>
                    <a:pt x="792" y="2"/>
                  </a:lnTo>
                  <a:lnTo>
                    <a:pt x="785" y="3"/>
                  </a:lnTo>
                  <a:lnTo>
                    <a:pt x="780" y="7"/>
                  </a:lnTo>
                  <a:lnTo>
                    <a:pt x="774" y="12"/>
                  </a:lnTo>
                  <a:lnTo>
                    <a:pt x="774" y="12"/>
                  </a:lnTo>
                  <a:lnTo>
                    <a:pt x="773" y="19"/>
                  </a:lnTo>
                  <a:lnTo>
                    <a:pt x="771" y="26"/>
                  </a:lnTo>
                  <a:lnTo>
                    <a:pt x="769" y="44"/>
                  </a:lnTo>
                  <a:lnTo>
                    <a:pt x="767" y="53"/>
                  </a:lnTo>
                  <a:lnTo>
                    <a:pt x="764" y="61"/>
                  </a:lnTo>
                  <a:lnTo>
                    <a:pt x="759" y="70"/>
                  </a:lnTo>
                  <a:lnTo>
                    <a:pt x="750" y="79"/>
                  </a:lnTo>
                  <a:lnTo>
                    <a:pt x="750" y="79"/>
                  </a:lnTo>
                  <a:lnTo>
                    <a:pt x="741" y="88"/>
                  </a:lnTo>
                  <a:lnTo>
                    <a:pt x="734" y="98"/>
                  </a:lnTo>
                  <a:lnTo>
                    <a:pt x="722" y="121"/>
                  </a:lnTo>
                  <a:lnTo>
                    <a:pt x="716" y="132"/>
                  </a:lnTo>
                  <a:lnTo>
                    <a:pt x="709" y="141"/>
                  </a:lnTo>
                  <a:lnTo>
                    <a:pt x="699" y="146"/>
                  </a:lnTo>
                  <a:lnTo>
                    <a:pt x="693" y="148"/>
                  </a:lnTo>
                  <a:lnTo>
                    <a:pt x="686" y="150"/>
                  </a:lnTo>
                  <a:lnTo>
                    <a:pt x="686" y="150"/>
                  </a:lnTo>
                  <a:lnTo>
                    <a:pt x="672" y="153"/>
                  </a:lnTo>
                  <a:lnTo>
                    <a:pt x="656" y="158"/>
                  </a:lnTo>
                  <a:lnTo>
                    <a:pt x="642" y="165"/>
                  </a:lnTo>
                  <a:lnTo>
                    <a:pt x="630" y="172"/>
                  </a:lnTo>
                  <a:lnTo>
                    <a:pt x="605" y="192"/>
                  </a:lnTo>
                  <a:lnTo>
                    <a:pt x="588" y="208"/>
                  </a:lnTo>
                  <a:lnTo>
                    <a:pt x="588" y="208"/>
                  </a:lnTo>
                  <a:lnTo>
                    <a:pt x="558" y="239"/>
                  </a:lnTo>
                  <a:lnTo>
                    <a:pt x="533" y="271"/>
                  </a:lnTo>
                  <a:lnTo>
                    <a:pt x="533" y="271"/>
                  </a:lnTo>
                  <a:lnTo>
                    <a:pt x="530" y="278"/>
                  </a:lnTo>
                  <a:lnTo>
                    <a:pt x="528" y="289"/>
                  </a:lnTo>
                  <a:lnTo>
                    <a:pt x="528" y="310"/>
                  </a:lnTo>
                  <a:lnTo>
                    <a:pt x="526" y="331"/>
                  </a:lnTo>
                  <a:lnTo>
                    <a:pt x="526" y="340"/>
                  </a:lnTo>
                  <a:lnTo>
                    <a:pt x="523" y="345"/>
                  </a:lnTo>
                  <a:lnTo>
                    <a:pt x="523" y="345"/>
                  </a:lnTo>
                  <a:lnTo>
                    <a:pt x="517" y="354"/>
                  </a:lnTo>
                  <a:lnTo>
                    <a:pt x="516" y="363"/>
                  </a:lnTo>
                  <a:lnTo>
                    <a:pt x="516" y="370"/>
                  </a:lnTo>
                  <a:lnTo>
                    <a:pt x="519" y="380"/>
                  </a:lnTo>
                  <a:lnTo>
                    <a:pt x="519" y="380"/>
                  </a:lnTo>
                  <a:lnTo>
                    <a:pt x="524" y="391"/>
                  </a:lnTo>
                  <a:lnTo>
                    <a:pt x="531" y="403"/>
                  </a:lnTo>
                  <a:lnTo>
                    <a:pt x="533" y="410"/>
                  </a:lnTo>
                  <a:lnTo>
                    <a:pt x="533" y="417"/>
                  </a:lnTo>
                  <a:lnTo>
                    <a:pt x="533" y="424"/>
                  </a:lnTo>
                  <a:lnTo>
                    <a:pt x="530" y="433"/>
                  </a:lnTo>
                  <a:lnTo>
                    <a:pt x="530" y="433"/>
                  </a:lnTo>
                  <a:lnTo>
                    <a:pt x="526" y="442"/>
                  </a:lnTo>
                  <a:lnTo>
                    <a:pt x="524" y="449"/>
                  </a:lnTo>
                  <a:lnTo>
                    <a:pt x="526" y="461"/>
                  </a:lnTo>
                  <a:lnTo>
                    <a:pt x="524" y="468"/>
                  </a:lnTo>
                  <a:lnTo>
                    <a:pt x="523" y="475"/>
                  </a:lnTo>
                  <a:lnTo>
                    <a:pt x="517" y="482"/>
                  </a:lnTo>
                  <a:lnTo>
                    <a:pt x="510" y="490"/>
                  </a:lnTo>
                  <a:lnTo>
                    <a:pt x="510" y="490"/>
                  </a:lnTo>
                  <a:lnTo>
                    <a:pt x="484" y="509"/>
                  </a:lnTo>
                  <a:lnTo>
                    <a:pt x="452" y="532"/>
                  </a:lnTo>
                  <a:lnTo>
                    <a:pt x="421" y="553"/>
                  </a:lnTo>
                  <a:lnTo>
                    <a:pt x="399" y="565"/>
                  </a:lnTo>
                  <a:lnTo>
                    <a:pt x="399" y="565"/>
                  </a:lnTo>
                  <a:lnTo>
                    <a:pt x="394" y="569"/>
                  </a:lnTo>
                  <a:lnTo>
                    <a:pt x="391" y="572"/>
                  </a:lnTo>
                  <a:lnTo>
                    <a:pt x="385" y="579"/>
                  </a:lnTo>
                  <a:lnTo>
                    <a:pt x="382" y="583"/>
                  </a:lnTo>
                  <a:lnTo>
                    <a:pt x="378" y="586"/>
                  </a:lnTo>
                  <a:lnTo>
                    <a:pt x="369" y="588"/>
                  </a:lnTo>
                  <a:lnTo>
                    <a:pt x="359" y="588"/>
                  </a:lnTo>
                  <a:lnTo>
                    <a:pt x="359" y="588"/>
                  </a:lnTo>
                  <a:lnTo>
                    <a:pt x="332" y="588"/>
                  </a:lnTo>
                  <a:lnTo>
                    <a:pt x="308" y="592"/>
                  </a:lnTo>
                  <a:lnTo>
                    <a:pt x="297" y="595"/>
                  </a:lnTo>
                  <a:lnTo>
                    <a:pt x="288" y="597"/>
                  </a:lnTo>
                  <a:lnTo>
                    <a:pt x="283" y="602"/>
                  </a:lnTo>
                  <a:lnTo>
                    <a:pt x="280" y="608"/>
                  </a:lnTo>
                  <a:lnTo>
                    <a:pt x="280" y="608"/>
                  </a:lnTo>
                  <a:lnTo>
                    <a:pt x="274" y="637"/>
                  </a:lnTo>
                  <a:lnTo>
                    <a:pt x="273" y="646"/>
                  </a:lnTo>
                  <a:lnTo>
                    <a:pt x="269" y="655"/>
                  </a:lnTo>
                  <a:lnTo>
                    <a:pt x="266" y="662"/>
                  </a:lnTo>
                  <a:lnTo>
                    <a:pt x="258" y="671"/>
                  </a:lnTo>
                  <a:lnTo>
                    <a:pt x="258" y="671"/>
                  </a:lnTo>
                  <a:lnTo>
                    <a:pt x="220" y="710"/>
                  </a:lnTo>
                  <a:lnTo>
                    <a:pt x="199" y="733"/>
                  </a:lnTo>
                  <a:lnTo>
                    <a:pt x="190" y="745"/>
                  </a:lnTo>
                  <a:lnTo>
                    <a:pt x="181" y="755"/>
                  </a:lnTo>
                  <a:lnTo>
                    <a:pt x="181" y="755"/>
                  </a:lnTo>
                  <a:lnTo>
                    <a:pt x="176" y="768"/>
                  </a:lnTo>
                  <a:lnTo>
                    <a:pt x="174" y="778"/>
                  </a:lnTo>
                  <a:lnTo>
                    <a:pt x="172" y="791"/>
                  </a:lnTo>
                  <a:lnTo>
                    <a:pt x="174" y="801"/>
                  </a:lnTo>
                  <a:lnTo>
                    <a:pt x="174" y="812"/>
                  </a:lnTo>
                  <a:lnTo>
                    <a:pt x="174" y="821"/>
                  </a:lnTo>
                  <a:lnTo>
                    <a:pt x="170" y="828"/>
                  </a:lnTo>
                  <a:lnTo>
                    <a:pt x="169" y="831"/>
                  </a:lnTo>
                  <a:lnTo>
                    <a:pt x="165" y="833"/>
                  </a:lnTo>
                  <a:lnTo>
                    <a:pt x="165" y="833"/>
                  </a:lnTo>
                  <a:lnTo>
                    <a:pt x="151" y="838"/>
                  </a:lnTo>
                  <a:lnTo>
                    <a:pt x="139" y="844"/>
                  </a:lnTo>
                  <a:lnTo>
                    <a:pt x="133" y="847"/>
                  </a:lnTo>
                  <a:lnTo>
                    <a:pt x="128" y="854"/>
                  </a:lnTo>
                  <a:lnTo>
                    <a:pt x="114" y="872"/>
                  </a:lnTo>
                  <a:lnTo>
                    <a:pt x="114" y="872"/>
                  </a:lnTo>
                  <a:lnTo>
                    <a:pt x="102" y="891"/>
                  </a:lnTo>
                  <a:lnTo>
                    <a:pt x="95" y="905"/>
                  </a:lnTo>
                  <a:lnTo>
                    <a:pt x="81" y="939"/>
                  </a:lnTo>
                  <a:lnTo>
                    <a:pt x="81" y="939"/>
                  </a:lnTo>
                  <a:lnTo>
                    <a:pt x="72" y="958"/>
                  </a:lnTo>
                  <a:lnTo>
                    <a:pt x="65" y="974"/>
                  </a:lnTo>
                  <a:lnTo>
                    <a:pt x="56" y="986"/>
                  </a:lnTo>
                  <a:lnTo>
                    <a:pt x="51" y="991"/>
                  </a:lnTo>
                  <a:lnTo>
                    <a:pt x="42" y="999"/>
                  </a:lnTo>
                  <a:lnTo>
                    <a:pt x="42" y="999"/>
                  </a:lnTo>
                  <a:lnTo>
                    <a:pt x="35" y="1006"/>
                  </a:lnTo>
                  <a:lnTo>
                    <a:pt x="30" y="1013"/>
                  </a:lnTo>
                  <a:lnTo>
                    <a:pt x="28" y="1020"/>
                  </a:lnTo>
                  <a:lnTo>
                    <a:pt x="26" y="1025"/>
                  </a:lnTo>
                  <a:lnTo>
                    <a:pt x="24" y="1037"/>
                  </a:lnTo>
                  <a:lnTo>
                    <a:pt x="23" y="1041"/>
                  </a:lnTo>
                  <a:lnTo>
                    <a:pt x="19" y="1044"/>
                  </a:lnTo>
                  <a:lnTo>
                    <a:pt x="19" y="1044"/>
                  </a:lnTo>
                  <a:lnTo>
                    <a:pt x="15" y="1048"/>
                  </a:lnTo>
                  <a:lnTo>
                    <a:pt x="10" y="1053"/>
                  </a:lnTo>
                  <a:lnTo>
                    <a:pt x="5" y="1065"/>
                  </a:lnTo>
                  <a:lnTo>
                    <a:pt x="0" y="1081"/>
                  </a:lnTo>
                  <a:lnTo>
                    <a:pt x="274" y="1102"/>
                  </a:lnTo>
                  <a:lnTo>
                    <a:pt x="274" y="1102"/>
                  </a:lnTo>
                  <a:lnTo>
                    <a:pt x="285" y="1090"/>
                  </a:lnTo>
                  <a:lnTo>
                    <a:pt x="290" y="1078"/>
                  </a:lnTo>
                  <a:lnTo>
                    <a:pt x="294" y="1071"/>
                  </a:lnTo>
                  <a:lnTo>
                    <a:pt x="294" y="1064"/>
                  </a:lnTo>
                  <a:lnTo>
                    <a:pt x="294" y="1064"/>
                  </a:lnTo>
                  <a:lnTo>
                    <a:pt x="290" y="1027"/>
                  </a:lnTo>
                  <a:lnTo>
                    <a:pt x="290" y="1016"/>
                  </a:lnTo>
                  <a:lnTo>
                    <a:pt x="292" y="1006"/>
                  </a:lnTo>
                  <a:lnTo>
                    <a:pt x="294" y="997"/>
                  </a:lnTo>
                  <a:lnTo>
                    <a:pt x="297" y="988"/>
                  </a:lnTo>
                  <a:lnTo>
                    <a:pt x="297" y="988"/>
                  </a:lnTo>
                  <a:lnTo>
                    <a:pt x="303" y="981"/>
                  </a:lnTo>
                  <a:lnTo>
                    <a:pt x="310" y="974"/>
                  </a:lnTo>
                  <a:lnTo>
                    <a:pt x="327" y="962"/>
                  </a:lnTo>
                  <a:lnTo>
                    <a:pt x="345" y="949"/>
                  </a:lnTo>
                  <a:lnTo>
                    <a:pt x="350" y="944"/>
                  </a:lnTo>
                  <a:lnTo>
                    <a:pt x="355" y="937"/>
                  </a:lnTo>
                  <a:lnTo>
                    <a:pt x="355" y="937"/>
                  </a:lnTo>
                  <a:lnTo>
                    <a:pt x="359" y="928"/>
                  </a:lnTo>
                  <a:lnTo>
                    <a:pt x="361" y="914"/>
                  </a:lnTo>
                  <a:lnTo>
                    <a:pt x="362" y="882"/>
                  </a:lnTo>
                  <a:lnTo>
                    <a:pt x="364" y="842"/>
                  </a:lnTo>
                  <a:lnTo>
                    <a:pt x="366" y="771"/>
                  </a:lnTo>
                  <a:lnTo>
                    <a:pt x="607" y="764"/>
                  </a:lnTo>
                  <a:lnTo>
                    <a:pt x="611" y="576"/>
                  </a:lnTo>
                  <a:lnTo>
                    <a:pt x="611" y="576"/>
                  </a:lnTo>
                  <a:lnTo>
                    <a:pt x="612" y="571"/>
                  </a:lnTo>
                  <a:lnTo>
                    <a:pt x="616" y="556"/>
                  </a:lnTo>
                  <a:lnTo>
                    <a:pt x="620" y="548"/>
                  </a:lnTo>
                  <a:lnTo>
                    <a:pt x="623" y="539"/>
                  </a:lnTo>
                  <a:lnTo>
                    <a:pt x="630" y="532"/>
                  </a:lnTo>
                  <a:lnTo>
                    <a:pt x="639" y="525"/>
                  </a:lnTo>
                  <a:lnTo>
                    <a:pt x="639" y="525"/>
                  </a:lnTo>
                  <a:lnTo>
                    <a:pt x="669" y="509"/>
                  </a:lnTo>
                  <a:lnTo>
                    <a:pt x="686" y="500"/>
                  </a:lnTo>
                  <a:lnTo>
                    <a:pt x="686" y="500"/>
                  </a:lnTo>
                  <a:lnTo>
                    <a:pt x="693" y="497"/>
                  </a:lnTo>
                  <a:lnTo>
                    <a:pt x="709" y="491"/>
                  </a:lnTo>
                  <a:lnTo>
                    <a:pt x="737" y="481"/>
                  </a:lnTo>
                  <a:lnTo>
                    <a:pt x="737" y="481"/>
                  </a:lnTo>
                  <a:lnTo>
                    <a:pt x="804" y="465"/>
                  </a:lnTo>
                  <a:lnTo>
                    <a:pt x="804" y="465"/>
                  </a:lnTo>
                  <a:lnTo>
                    <a:pt x="808" y="465"/>
                  </a:lnTo>
                  <a:lnTo>
                    <a:pt x="813" y="465"/>
                  </a:lnTo>
                  <a:lnTo>
                    <a:pt x="819" y="465"/>
                  </a:lnTo>
                  <a:lnTo>
                    <a:pt x="824" y="463"/>
                  </a:lnTo>
                  <a:lnTo>
                    <a:pt x="824" y="463"/>
                  </a:lnTo>
                  <a:lnTo>
                    <a:pt x="834" y="460"/>
                  </a:lnTo>
                  <a:lnTo>
                    <a:pt x="845" y="453"/>
                  </a:lnTo>
                  <a:lnTo>
                    <a:pt x="857" y="440"/>
                  </a:lnTo>
                  <a:lnTo>
                    <a:pt x="857" y="440"/>
                  </a:lnTo>
                  <a:lnTo>
                    <a:pt x="882" y="408"/>
                  </a:lnTo>
                  <a:lnTo>
                    <a:pt x="892" y="396"/>
                  </a:lnTo>
                  <a:lnTo>
                    <a:pt x="900" y="391"/>
                  </a:lnTo>
                  <a:lnTo>
                    <a:pt x="900" y="391"/>
                  </a:lnTo>
                  <a:lnTo>
                    <a:pt x="929" y="384"/>
                  </a:lnTo>
                  <a:lnTo>
                    <a:pt x="929" y="384"/>
                  </a:lnTo>
                  <a:lnTo>
                    <a:pt x="931" y="386"/>
                  </a:lnTo>
                  <a:lnTo>
                    <a:pt x="935" y="386"/>
                  </a:lnTo>
                  <a:lnTo>
                    <a:pt x="938" y="384"/>
                  </a:lnTo>
                  <a:lnTo>
                    <a:pt x="940" y="382"/>
                  </a:lnTo>
                  <a:lnTo>
                    <a:pt x="944" y="377"/>
                  </a:lnTo>
                  <a:lnTo>
                    <a:pt x="945" y="370"/>
                  </a:lnTo>
                  <a:lnTo>
                    <a:pt x="945" y="370"/>
                  </a:lnTo>
                  <a:lnTo>
                    <a:pt x="951" y="349"/>
                  </a:lnTo>
                  <a:lnTo>
                    <a:pt x="956" y="338"/>
                  </a:lnTo>
                  <a:lnTo>
                    <a:pt x="961" y="326"/>
                  </a:lnTo>
                  <a:lnTo>
                    <a:pt x="966" y="313"/>
                  </a:lnTo>
                  <a:lnTo>
                    <a:pt x="975" y="305"/>
                  </a:lnTo>
                  <a:lnTo>
                    <a:pt x="986" y="298"/>
                  </a:lnTo>
                  <a:lnTo>
                    <a:pt x="998" y="292"/>
                  </a:lnTo>
                  <a:lnTo>
                    <a:pt x="1079" y="292"/>
                  </a:lnTo>
                  <a:lnTo>
                    <a:pt x="1079" y="292"/>
                  </a:lnTo>
                  <a:lnTo>
                    <a:pt x="1081" y="294"/>
                  </a:lnTo>
                  <a:lnTo>
                    <a:pt x="1086" y="292"/>
                  </a:lnTo>
                  <a:lnTo>
                    <a:pt x="1090" y="289"/>
                  </a:lnTo>
                  <a:lnTo>
                    <a:pt x="1093" y="285"/>
                  </a:lnTo>
                  <a:lnTo>
                    <a:pt x="1097" y="278"/>
                  </a:lnTo>
                  <a:lnTo>
                    <a:pt x="1100" y="268"/>
                  </a:lnTo>
                  <a:lnTo>
                    <a:pt x="1100" y="268"/>
                  </a:lnTo>
                  <a:lnTo>
                    <a:pt x="1099" y="259"/>
                  </a:lnTo>
                  <a:lnTo>
                    <a:pt x="1095" y="243"/>
                  </a:lnTo>
                  <a:lnTo>
                    <a:pt x="1095" y="243"/>
                  </a:lnTo>
                  <a:lnTo>
                    <a:pt x="1091" y="234"/>
                  </a:lnTo>
                  <a:lnTo>
                    <a:pt x="1090" y="222"/>
                  </a:lnTo>
                  <a:lnTo>
                    <a:pt x="1088" y="202"/>
                  </a:lnTo>
                  <a:lnTo>
                    <a:pt x="1088" y="202"/>
                  </a:lnTo>
                  <a:lnTo>
                    <a:pt x="1083" y="174"/>
                  </a:lnTo>
                  <a:lnTo>
                    <a:pt x="1079" y="157"/>
                  </a:lnTo>
                  <a:lnTo>
                    <a:pt x="1074" y="146"/>
                  </a:lnTo>
                  <a:lnTo>
                    <a:pt x="1074" y="146"/>
                  </a:lnTo>
                  <a:lnTo>
                    <a:pt x="1070" y="139"/>
                  </a:lnTo>
                  <a:lnTo>
                    <a:pt x="1067" y="128"/>
                  </a:lnTo>
                  <a:lnTo>
                    <a:pt x="1062" y="111"/>
                  </a:lnTo>
                  <a:lnTo>
                    <a:pt x="1062" y="111"/>
                  </a:lnTo>
                  <a:lnTo>
                    <a:pt x="1056" y="72"/>
                  </a:lnTo>
                  <a:lnTo>
                    <a:pt x="1053" y="37"/>
                  </a:lnTo>
                  <a:lnTo>
                    <a:pt x="1053" y="3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5" name="Freeform 11">
              <a:extLst>
                <a:ext uri="{FF2B5EF4-FFF2-40B4-BE49-F238E27FC236}">
                  <a16:creationId xmlns:a16="http://schemas.microsoft.com/office/drawing/2014/main" id="{3EC3B120-365D-436D-B073-6A0F410D85B0}"/>
                </a:ext>
              </a:extLst>
            </p:cNvPr>
            <p:cNvSpPr>
              <a:spLocks/>
            </p:cNvSpPr>
            <p:nvPr/>
          </p:nvSpPr>
          <p:spPr bwMode="auto">
            <a:xfrm>
              <a:off x="2671395" y="2413608"/>
              <a:ext cx="772713" cy="865511"/>
            </a:xfrm>
            <a:custGeom>
              <a:avLst/>
              <a:gdLst/>
              <a:ahLst/>
              <a:cxnLst>
                <a:cxn ang="0">
                  <a:pos x="333" y="965"/>
                </a:cxn>
                <a:cxn ang="0">
                  <a:pos x="342" y="954"/>
                </a:cxn>
                <a:cxn ang="0">
                  <a:pos x="375" y="946"/>
                </a:cxn>
                <a:cxn ang="0">
                  <a:pos x="405" y="944"/>
                </a:cxn>
                <a:cxn ang="0">
                  <a:pos x="470" y="947"/>
                </a:cxn>
                <a:cxn ang="0">
                  <a:pos x="521" y="942"/>
                </a:cxn>
                <a:cxn ang="0">
                  <a:pos x="738" y="935"/>
                </a:cxn>
                <a:cxn ang="0">
                  <a:pos x="777" y="933"/>
                </a:cxn>
                <a:cxn ang="0">
                  <a:pos x="800" y="925"/>
                </a:cxn>
                <a:cxn ang="0">
                  <a:pos x="812" y="898"/>
                </a:cxn>
                <a:cxn ang="0">
                  <a:pos x="803" y="842"/>
                </a:cxn>
                <a:cxn ang="0">
                  <a:pos x="726" y="260"/>
                </a:cxn>
                <a:cxn ang="0">
                  <a:pos x="796" y="183"/>
                </a:cxn>
                <a:cxn ang="0">
                  <a:pos x="715" y="130"/>
                </a:cxn>
                <a:cxn ang="0">
                  <a:pos x="682" y="114"/>
                </a:cxn>
                <a:cxn ang="0">
                  <a:pos x="645" y="86"/>
                </a:cxn>
                <a:cxn ang="0">
                  <a:pos x="629" y="60"/>
                </a:cxn>
                <a:cxn ang="0">
                  <a:pos x="611" y="188"/>
                </a:cxn>
                <a:cxn ang="0">
                  <a:pos x="368" y="257"/>
                </a:cxn>
                <a:cxn ang="0">
                  <a:pos x="365" y="336"/>
                </a:cxn>
                <a:cxn ang="0">
                  <a:pos x="354" y="364"/>
                </a:cxn>
                <a:cxn ang="0">
                  <a:pos x="342" y="375"/>
                </a:cxn>
                <a:cxn ang="0">
                  <a:pos x="301" y="412"/>
                </a:cxn>
                <a:cxn ang="0">
                  <a:pos x="296" y="431"/>
                </a:cxn>
                <a:cxn ang="0">
                  <a:pos x="299" y="482"/>
                </a:cxn>
                <a:cxn ang="0">
                  <a:pos x="294" y="500"/>
                </a:cxn>
                <a:cxn ang="0">
                  <a:pos x="278" y="526"/>
                </a:cxn>
                <a:cxn ang="0">
                  <a:pos x="0" y="511"/>
                </a:cxn>
                <a:cxn ang="0">
                  <a:pos x="2" y="523"/>
                </a:cxn>
                <a:cxn ang="0">
                  <a:pos x="11" y="553"/>
                </a:cxn>
                <a:cxn ang="0">
                  <a:pos x="14" y="563"/>
                </a:cxn>
                <a:cxn ang="0">
                  <a:pos x="21" y="563"/>
                </a:cxn>
                <a:cxn ang="0">
                  <a:pos x="62" y="570"/>
                </a:cxn>
                <a:cxn ang="0">
                  <a:pos x="71" y="579"/>
                </a:cxn>
                <a:cxn ang="0">
                  <a:pos x="69" y="585"/>
                </a:cxn>
                <a:cxn ang="0">
                  <a:pos x="63" y="602"/>
                </a:cxn>
                <a:cxn ang="0">
                  <a:pos x="60" y="618"/>
                </a:cxn>
                <a:cxn ang="0">
                  <a:pos x="49" y="629"/>
                </a:cxn>
                <a:cxn ang="0">
                  <a:pos x="51" y="644"/>
                </a:cxn>
                <a:cxn ang="0">
                  <a:pos x="67" y="689"/>
                </a:cxn>
                <a:cxn ang="0">
                  <a:pos x="86" y="740"/>
                </a:cxn>
                <a:cxn ang="0">
                  <a:pos x="86" y="770"/>
                </a:cxn>
                <a:cxn ang="0">
                  <a:pos x="63" y="819"/>
                </a:cxn>
                <a:cxn ang="0">
                  <a:pos x="56" y="845"/>
                </a:cxn>
                <a:cxn ang="0">
                  <a:pos x="60" y="875"/>
                </a:cxn>
                <a:cxn ang="0">
                  <a:pos x="113" y="852"/>
                </a:cxn>
                <a:cxn ang="0">
                  <a:pos x="136" y="845"/>
                </a:cxn>
                <a:cxn ang="0">
                  <a:pos x="157" y="844"/>
                </a:cxn>
                <a:cxn ang="0">
                  <a:pos x="196" y="854"/>
                </a:cxn>
                <a:cxn ang="0">
                  <a:pos x="201" y="863"/>
                </a:cxn>
                <a:cxn ang="0">
                  <a:pos x="206" y="873"/>
                </a:cxn>
                <a:cxn ang="0">
                  <a:pos x="224" y="873"/>
                </a:cxn>
                <a:cxn ang="0">
                  <a:pos x="259" y="886"/>
                </a:cxn>
                <a:cxn ang="0">
                  <a:pos x="264" y="891"/>
                </a:cxn>
                <a:cxn ang="0">
                  <a:pos x="289" y="944"/>
                </a:cxn>
                <a:cxn ang="0">
                  <a:pos x="310" y="965"/>
                </a:cxn>
                <a:cxn ang="0">
                  <a:pos x="329" y="970"/>
                </a:cxn>
              </a:cxnLst>
              <a:rect l="0" t="0" r="r" b="b"/>
              <a:pathLst>
                <a:path w="867" h="970">
                  <a:moveTo>
                    <a:pt x="333" y="969"/>
                  </a:moveTo>
                  <a:lnTo>
                    <a:pt x="333" y="969"/>
                  </a:lnTo>
                  <a:lnTo>
                    <a:pt x="333" y="965"/>
                  </a:lnTo>
                  <a:lnTo>
                    <a:pt x="335" y="963"/>
                  </a:lnTo>
                  <a:lnTo>
                    <a:pt x="336" y="960"/>
                  </a:lnTo>
                  <a:lnTo>
                    <a:pt x="342" y="954"/>
                  </a:lnTo>
                  <a:lnTo>
                    <a:pt x="349" y="951"/>
                  </a:lnTo>
                  <a:lnTo>
                    <a:pt x="361" y="947"/>
                  </a:lnTo>
                  <a:lnTo>
                    <a:pt x="375" y="946"/>
                  </a:lnTo>
                  <a:lnTo>
                    <a:pt x="375" y="946"/>
                  </a:lnTo>
                  <a:lnTo>
                    <a:pt x="391" y="944"/>
                  </a:lnTo>
                  <a:lnTo>
                    <a:pt x="405" y="944"/>
                  </a:lnTo>
                  <a:lnTo>
                    <a:pt x="428" y="947"/>
                  </a:lnTo>
                  <a:lnTo>
                    <a:pt x="454" y="949"/>
                  </a:lnTo>
                  <a:lnTo>
                    <a:pt x="470" y="947"/>
                  </a:lnTo>
                  <a:lnTo>
                    <a:pt x="491" y="946"/>
                  </a:lnTo>
                  <a:lnTo>
                    <a:pt x="491" y="946"/>
                  </a:lnTo>
                  <a:lnTo>
                    <a:pt x="521" y="942"/>
                  </a:lnTo>
                  <a:lnTo>
                    <a:pt x="560" y="940"/>
                  </a:lnTo>
                  <a:lnTo>
                    <a:pt x="655" y="937"/>
                  </a:lnTo>
                  <a:lnTo>
                    <a:pt x="738" y="935"/>
                  </a:lnTo>
                  <a:lnTo>
                    <a:pt x="766" y="935"/>
                  </a:lnTo>
                  <a:lnTo>
                    <a:pt x="777" y="933"/>
                  </a:lnTo>
                  <a:lnTo>
                    <a:pt x="777" y="933"/>
                  </a:lnTo>
                  <a:lnTo>
                    <a:pt x="786" y="932"/>
                  </a:lnTo>
                  <a:lnTo>
                    <a:pt x="793" y="928"/>
                  </a:lnTo>
                  <a:lnTo>
                    <a:pt x="800" y="925"/>
                  </a:lnTo>
                  <a:lnTo>
                    <a:pt x="807" y="919"/>
                  </a:lnTo>
                  <a:lnTo>
                    <a:pt x="810" y="910"/>
                  </a:lnTo>
                  <a:lnTo>
                    <a:pt x="812" y="898"/>
                  </a:lnTo>
                  <a:lnTo>
                    <a:pt x="810" y="882"/>
                  </a:lnTo>
                  <a:lnTo>
                    <a:pt x="810" y="882"/>
                  </a:lnTo>
                  <a:lnTo>
                    <a:pt x="803" y="842"/>
                  </a:lnTo>
                  <a:lnTo>
                    <a:pt x="793" y="764"/>
                  </a:lnTo>
                  <a:lnTo>
                    <a:pt x="763" y="553"/>
                  </a:lnTo>
                  <a:lnTo>
                    <a:pt x="726" y="260"/>
                  </a:lnTo>
                  <a:lnTo>
                    <a:pt x="867" y="245"/>
                  </a:lnTo>
                  <a:lnTo>
                    <a:pt x="796" y="183"/>
                  </a:lnTo>
                  <a:lnTo>
                    <a:pt x="796" y="183"/>
                  </a:lnTo>
                  <a:lnTo>
                    <a:pt x="759" y="158"/>
                  </a:lnTo>
                  <a:lnTo>
                    <a:pt x="731" y="139"/>
                  </a:lnTo>
                  <a:lnTo>
                    <a:pt x="715" y="130"/>
                  </a:lnTo>
                  <a:lnTo>
                    <a:pt x="715" y="130"/>
                  </a:lnTo>
                  <a:lnTo>
                    <a:pt x="703" y="125"/>
                  </a:lnTo>
                  <a:lnTo>
                    <a:pt x="682" y="114"/>
                  </a:lnTo>
                  <a:lnTo>
                    <a:pt x="659" y="100"/>
                  </a:lnTo>
                  <a:lnTo>
                    <a:pt x="650" y="93"/>
                  </a:lnTo>
                  <a:lnTo>
                    <a:pt x="645" y="86"/>
                  </a:lnTo>
                  <a:lnTo>
                    <a:pt x="645" y="86"/>
                  </a:lnTo>
                  <a:lnTo>
                    <a:pt x="636" y="74"/>
                  </a:lnTo>
                  <a:lnTo>
                    <a:pt x="629" y="60"/>
                  </a:lnTo>
                  <a:lnTo>
                    <a:pt x="622" y="39"/>
                  </a:lnTo>
                  <a:lnTo>
                    <a:pt x="615" y="0"/>
                  </a:lnTo>
                  <a:lnTo>
                    <a:pt x="611" y="188"/>
                  </a:lnTo>
                  <a:lnTo>
                    <a:pt x="370" y="195"/>
                  </a:lnTo>
                  <a:lnTo>
                    <a:pt x="370" y="195"/>
                  </a:lnTo>
                  <a:lnTo>
                    <a:pt x="368" y="257"/>
                  </a:lnTo>
                  <a:lnTo>
                    <a:pt x="366" y="331"/>
                  </a:lnTo>
                  <a:lnTo>
                    <a:pt x="366" y="331"/>
                  </a:lnTo>
                  <a:lnTo>
                    <a:pt x="365" y="336"/>
                  </a:lnTo>
                  <a:lnTo>
                    <a:pt x="361" y="349"/>
                  </a:lnTo>
                  <a:lnTo>
                    <a:pt x="359" y="357"/>
                  </a:lnTo>
                  <a:lnTo>
                    <a:pt x="354" y="364"/>
                  </a:lnTo>
                  <a:lnTo>
                    <a:pt x="349" y="371"/>
                  </a:lnTo>
                  <a:lnTo>
                    <a:pt x="342" y="375"/>
                  </a:lnTo>
                  <a:lnTo>
                    <a:pt x="342" y="375"/>
                  </a:lnTo>
                  <a:lnTo>
                    <a:pt x="322" y="393"/>
                  </a:lnTo>
                  <a:lnTo>
                    <a:pt x="307" y="405"/>
                  </a:lnTo>
                  <a:lnTo>
                    <a:pt x="301" y="412"/>
                  </a:lnTo>
                  <a:lnTo>
                    <a:pt x="299" y="417"/>
                  </a:lnTo>
                  <a:lnTo>
                    <a:pt x="299" y="417"/>
                  </a:lnTo>
                  <a:lnTo>
                    <a:pt x="296" y="431"/>
                  </a:lnTo>
                  <a:lnTo>
                    <a:pt x="296" y="451"/>
                  </a:lnTo>
                  <a:lnTo>
                    <a:pt x="298" y="470"/>
                  </a:lnTo>
                  <a:lnTo>
                    <a:pt x="299" y="482"/>
                  </a:lnTo>
                  <a:lnTo>
                    <a:pt x="299" y="482"/>
                  </a:lnTo>
                  <a:lnTo>
                    <a:pt x="298" y="488"/>
                  </a:lnTo>
                  <a:lnTo>
                    <a:pt x="294" y="500"/>
                  </a:lnTo>
                  <a:lnTo>
                    <a:pt x="289" y="514"/>
                  </a:lnTo>
                  <a:lnTo>
                    <a:pt x="284" y="521"/>
                  </a:lnTo>
                  <a:lnTo>
                    <a:pt x="278" y="526"/>
                  </a:lnTo>
                  <a:lnTo>
                    <a:pt x="4" y="505"/>
                  </a:lnTo>
                  <a:lnTo>
                    <a:pt x="4" y="505"/>
                  </a:lnTo>
                  <a:lnTo>
                    <a:pt x="0" y="511"/>
                  </a:lnTo>
                  <a:lnTo>
                    <a:pt x="0" y="516"/>
                  </a:lnTo>
                  <a:lnTo>
                    <a:pt x="2" y="523"/>
                  </a:lnTo>
                  <a:lnTo>
                    <a:pt x="2" y="523"/>
                  </a:lnTo>
                  <a:lnTo>
                    <a:pt x="9" y="539"/>
                  </a:lnTo>
                  <a:lnTo>
                    <a:pt x="11" y="546"/>
                  </a:lnTo>
                  <a:lnTo>
                    <a:pt x="11" y="553"/>
                  </a:lnTo>
                  <a:lnTo>
                    <a:pt x="11" y="553"/>
                  </a:lnTo>
                  <a:lnTo>
                    <a:pt x="12" y="560"/>
                  </a:lnTo>
                  <a:lnTo>
                    <a:pt x="14" y="563"/>
                  </a:lnTo>
                  <a:lnTo>
                    <a:pt x="18" y="565"/>
                  </a:lnTo>
                  <a:lnTo>
                    <a:pt x="21" y="563"/>
                  </a:lnTo>
                  <a:lnTo>
                    <a:pt x="21" y="563"/>
                  </a:lnTo>
                  <a:lnTo>
                    <a:pt x="34" y="563"/>
                  </a:lnTo>
                  <a:lnTo>
                    <a:pt x="53" y="567"/>
                  </a:lnTo>
                  <a:lnTo>
                    <a:pt x="62" y="570"/>
                  </a:lnTo>
                  <a:lnTo>
                    <a:pt x="67" y="574"/>
                  </a:lnTo>
                  <a:lnTo>
                    <a:pt x="71" y="576"/>
                  </a:lnTo>
                  <a:lnTo>
                    <a:pt x="71" y="579"/>
                  </a:lnTo>
                  <a:lnTo>
                    <a:pt x="71" y="581"/>
                  </a:lnTo>
                  <a:lnTo>
                    <a:pt x="69" y="585"/>
                  </a:lnTo>
                  <a:lnTo>
                    <a:pt x="69" y="585"/>
                  </a:lnTo>
                  <a:lnTo>
                    <a:pt x="65" y="590"/>
                  </a:lnTo>
                  <a:lnTo>
                    <a:pt x="63" y="595"/>
                  </a:lnTo>
                  <a:lnTo>
                    <a:pt x="63" y="602"/>
                  </a:lnTo>
                  <a:lnTo>
                    <a:pt x="63" y="611"/>
                  </a:lnTo>
                  <a:lnTo>
                    <a:pt x="63" y="615"/>
                  </a:lnTo>
                  <a:lnTo>
                    <a:pt x="60" y="618"/>
                  </a:lnTo>
                  <a:lnTo>
                    <a:pt x="60" y="618"/>
                  </a:lnTo>
                  <a:lnTo>
                    <a:pt x="53" y="625"/>
                  </a:lnTo>
                  <a:lnTo>
                    <a:pt x="49" y="629"/>
                  </a:lnTo>
                  <a:lnTo>
                    <a:pt x="49" y="634"/>
                  </a:lnTo>
                  <a:lnTo>
                    <a:pt x="51" y="644"/>
                  </a:lnTo>
                  <a:lnTo>
                    <a:pt x="51" y="644"/>
                  </a:lnTo>
                  <a:lnTo>
                    <a:pt x="60" y="669"/>
                  </a:lnTo>
                  <a:lnTo>
                    <a:pt x="67" y="689"/>
                  </a:lnTo>
                  <a:lnTo>
                    <a:pt x="67" y="689"/>
                  </a:lnTo>
                  <a:lnTo>
                    <a:pt x="74" y="704"/>
                  </a:lnTo>
                  <a:lnTo>
                    <a:pt x="83" y="727"/>
                  </a:lnTo>
                  <a:lnTo>
                    <a:pt x="86" y="740"/>
                  </a:lnTo>
                  <a:lnTo>
                    <a:pt x="90" y="752"/>
                  </a:lnTo>
                  <a:lnTo>
                    <a:pt x="90" y="762"/>
                  </a:lnTo>
                  <a:lnTo>
                    <a:pt x="86" y="770"/>
                  </a:lnTo>
                  <a:lnTo>
                    <a:pt x="86" y="770"/>
                  </a:lnTo>
                  <a:lnTo>
                    <a:pt x="71" y="803"/>
                  </a:lnTo>
                  <a:lnTo>
                    <a:pt x="63" y="819"/>
                  </a:lnTo>
                  <a:lnTo>
                    <a:pt x="58" y="833"/>
                  </a:lnTo>
                  <a:lnTo>
                    <a:pt x="58" y="833"/>
                  </a:lnTo>
                  <a:lnTo>
                    <a:pt x="56" y="845"/>
                  </a:lnTo>
                  <a:lnTo>
                    <a:pt x="58" y="859"/>
                  </a:lnTo>
                  <a:lnTo>
                    <a:pt x="60" y="875"/>
                  </a:lnTo>
                  <a:lnTo>
                    <a:pt x="60" y="875"/>
                  </a:lnTo>
                  <a:lnTo>
                    <a:pt x="79" y="866"/>
                  </a:lnTo>
                  <a:lnTo>
                    <a:pt x="97" y="858"/>
                  </a:lnTo>
                  <a:lnTo>
                    <a:pt x="113" y="852"/>
                  </a:lnTo>
                  <a:lnTo>
                    <a:pt x="113" y="852"/>
                  </a:lnTo>
                  <a:lnTo>
                    <a:pt x="125" y="849"/>
                  </a:lnTo>
                  <a:lnTo>
                    <a:pt x="136" y="845"/>
                  </a:lnTo>
                  <a:lnTo>
                    <a:pt x="146" y="842"/>
                  </a:lnTo>
                  <a:lnTo>
                    <a:pt x="157" y="844"/>
                  </a:lnTo>
                  <a:lnTo>
                    <a:pt x="157" y="844"/>
                  </a:lnTo>
                  <a:lnTo>
                    <a:pt x="185" y="849"/>
                  </a:lnTo>
                  <a:lnTo>
                    <a:pt x="190" y="852"/>
                  </a:lnTo>
                  <a:lnTo>
                    <a:pt x="196" y="854"/>
                  </a:lnTo>
                  <a:lnTo>
                    <a:pt x="199" y="859"/>
                  </a:lnTo>
                  <a:lnTo>
                    <a:pt x="201" y="863"/>
                  </a:lnTo>
                  <a:lnTo>
                    <a:pt x="201" y="863"/>
                  </a:lnTo>
                  <a:lnTo>
                    <a:pt x="203" y="872"/>
                  </a:lnTo>
                  <a:lnTo>
                    <a:pt x="204" y="872"/>
                  </a:lnTo>
                  <a:lnTo>
                    <a:pt x="206" y="873"/>
                  </a:lnTo>
                  <a:lnTo>
                    <a:pt x="211" y="873"/>
                  </a:lnTo>
                  <a:lnTo>
                    <a:pt x="224" y="873"/>
                  </a:lnTo>
                  <a:lnTo>
                    <a:pt x="224" y="873"/>
                  </a:lnTo>
                  <a:lnTo>
                    <a:pt x="238" y="877"/>
                  </a:lnTo>
                  <a:lnTo>
                    <a:pt x="250" y="880"/>
                  </a:lnTo>
                  <a:lnTo>
                    <a:pt x="259" y="886"/>
                  </a:lnTo>
                  <a:lnTo>
                    <a:pt x="262" y="888"/>
                  </a:lnTo>
                  <a:lnTo>
                    <a:pt x="264" y="891"/>
                  </a:lnTo>
                  <a:lnTo>
                    <a:pt x="264" y="891"/>
                  </a:lnTo>
                  <a:lnTo>
                    <a:pt x="273" y="917"/>
                  </a:lnTo>
                  <a:lnTo>
                    <a:pt x="280" y="932"/>
                  </a:lnTo>
                  <a:lnTo>
                    <a:pt x="289" y="944"/>
                  </a:lnTo>
                  <a:lnTo>
                    <a:pt x="289" y="944"/>
                  </a:lnTo>
                  <a:lnTo>
                    <a:pt x="298" y="956"/>
                  </a:lnTo>
                  <a:lnTo>
                    <a:pt x="310" y="965"/>
                  </a:lnTo>
                  <a:lnTo>
                    <a:pt x="317" y="969"/>
                  </a:lnTo>
                  <a:lnTo>
                    <a:pt x="322" y="970"/>
                  </a:lnTo>
                  <a:lnTo>
                    <a:pt x="329" y="970"/>
                  </a:lnTo>
                  <a:lnTo>
                    <a:pt x="333" y="969"/>
                  </a:lnTo>
                  <a:lnTo>
                    <a:pt x="333" y="96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6" name="Freeform 12">
              <a:extLst>
                <a:ext uri="{FF2B5EF4-FFF2-40B4-BE49-F238E27FC236}">
                  <a16:creationId xmlns:a16="http://schemas.microsoft.com/office/drawing/2014/main" id="{E7538B65-7E94-476F-95A7-5005D96B7B4C}"/>
                </a:ext>
              </a:extLst>
            </p:cNvPr>
            <p:cNvSpPr>
              <a:spLocks/>
            </p:cNvSpPr>
            <p:nvPr/>
          </p:nvSpPr>
          <p:spPr bwMode="auto">
            <a:xfrm>
              <a:off x="2674964" y="3163122"/>
              <a:ext cx="360480" cy="298022"/>
            </a:xfrm>
            <a:custGeom>
              <a:avLst/>
              <a:gdLst/>
              <a:ahLst/>
              <a:cxnLst>
                <a:cxn ang="0">
                  <a:pos x="386" y="335"/>
                </a:cxn>
                <a:cxn ang="0">
                  <a:pos x="358" y="329"/>
                </a:cxn>
                <a:cxn ang="0">
                  <a:pos x="275" y="301"/>
                </a:cxn>
                <a:cxn ang="0">
                  <a:pos x="217" y="296"/>
                </a:cxn>
                <a:cxn ang="0">
                  <a:pos x="164" y="294"/>
                </a:cxn>
                <a:cxn ang="0">
                  <a:pos x="127" y="298"/>
                </a:cxn>
                <a:cxn ang="0">
                  <a:pos x="99" y="306"/>
                </a:cxn>
                <a:cxn ang="0">
                  <a:pos x="74" y="317"/>
                </a:cxn>
                <a:cxn ang="0">
                  <a:pos x="64" y="321"/>
                </a:cxn>
                <a:cxn ang="0">
                  <a:pos x="50" y="312"/>
                </a:cxn>
                <a:cxn ang="0">
                  <a:pos x="39" y="292"/>
                </a:cxn>
                <a:cxn ang="0">
                  <a:pos x="25" y="280"/>
                </a:cxn>
                <a:cxn ang="0">
                  <a:pos x="20" y="266"/>
                </a:cxn>
                <a:cxn ang="0">
                  <a:pos x="29" y="252"/>
                </a:cxn>
                <a:cxn ang="0">
                  <a:pos x="43" y="236"/>
                </a:cxn>
                <a:cxn ang="0">
                  <a:pos x="44" y="217"/>
                </a:cxn>
                <a:cxn ang="0">
                  <a:pos x="30" y="210"/>
                </a:cxn>
                <a:cxn ang="0">
                  <a:pos x="29" y="201"/>
                </a:cxn>
                <a:cxn ang="0">
                  <a:pos x="23" y="192"/>
                </a:cxn>
                <a:cxn ang="0">
                  <a:pos x="9" y="178"/>
                </a:cxn>
                <a:cxn ang="0">
                  <a:pos x="0" y="146"/>
                </a:cxn>
                <a:cxn ang="0">
                  <a:pos x="4" y="123"/>
                </a:cxn>
                <a:cxn ang="0">
                  <a:pos x="18" y="107"/>
                </a:cxn>
                <a:cxn ang="0">
                  <a:pos x="43" y="85"/>
                </a:cxn>
                <a:cxn ang="0">
                  <a:pos x="50" y="72"/>
                </a:cxn>
                <a:cxn ang="0">
                  <a:pos x="55" y="35"/>
                </a:cxn>
                <a:cxn ang="0">
                  <a:pos x="104" y="12"/>
                </a:cxn>
                <a:cxn ang="0">
                  <a:pos x="124" y="7"/>
                </a:cxn>
                <a:cxn ang="0">
                  <a:pos x="141" y="0"/>
                </a:cxn>
                <a:cxn ang="0">
                  <a:pos x="191" y="12"/>
                </a:cxn>
                <a:cxn ang="0">
                  <a:pos x="194" y="23"/>
                </a:cxn>
                <a:cxn ang="0">
                  <a:pos x="205" y="33"/>
                </a:cxn>
                <a:cxn ang="0">
                  <a:pos x="219" y="33"/>
                </a:cxn>
                <a:cxn ang="0">
                  <a:pos x="254" y="44"/>
                </a:cxn>
                <a:cxn ang="0">
                  <a:pos x="266" y="72"/>
                </a:cxn>
                <a:cxn ang="0">
                  <a:pos x="284" y="104"/>
                </a:cxn>
                <a:cxn ang="0">
                  <a:pos x="296" y="120"/>
                </a:cxn>
                <a:cxn ang="0">
                  <a:pos x="317" y="129"/>
                </a:cxn>
                <a:cxn ang="0">
                  <a:pos x="331" y="122"/>
                </a:cxn>
                <a:cxn ang="0">
                  <a:pos x="342" y="113"/>
                </a:cxn>
                <a:cxn ang="0">
                  <a:pos x="344" y="132"/>
                </a:cxn>
                <a:cxn ang="0">
                  <a:pos x="340" y="162"/>
                </a:cxn>
                <a:cxn ang="0">
                  <a:pos x="346" y="203"/>
                </a:cxn>
                <a:cxn ang="0">
                  <a:pos x="363" y="232"/>
                </a:cxn>
                <a:cxn ang="0">
                  <a:pos x="397" y="287"/>
                </a:cxn>
                <a:cxn ang="0">
                  <a:pos x="402" y="314"/>
                </a:cxn>
                <a:cxn ang="0">
                  <a:pos x="402" y="329"/>
                </a:cxn>
              </a:cxnLst>
              <a:rect l="0" t="0" r="r" b="b"/>
              <a:pathLst>
                <a:path w="404" h="335">
                  <a:moveTo>
                    <a:pt x="398" y="333"/>
                  </a:moveTo>
                  <a:lnTo>
                    <a:pt x="398" y="333"/>
                  </a:lnTo>
                  <a:lnTo>
                    <a:pt x="386" y="335"/>
                  </a:lnTo>
                  <a:lnTo>
                    <a:pt x="372" y="333"/>
                  </a:lnTo>
                  <a:lnTo>
                    <a:pt x="358" y="329"/>
                  </a:lnTo>
                  <a:lnTo>
                    <a:pt x="358" y="329"/>
                  </a:lnTo>
                  <a:lnTo>
                    <a:pt x="319" y="317"/>
                  </a:lnTo>
                  <a:lnTo>
                    <a:pt x="275" y="301"/>
                  </a:lnTo>
                  <a:lnTo>
                    <a:pt x="275" y="301"/>
                  </a:lnTo>
                  <a:lnTo>
                    <a:pt x="256" y="298"/>
                  </a:lnTo>
                  <a:lnTo>
                    <a:pt x="238" y="296"/>
                  </a:lnTo>
                  <a:lnTo>
                    <a:pt x="217" y="296"/>
                  </a:lnTo>
                  <a:lnTo>
                    <a:pt x="182" y="294"/>
                  </a:lnTo>
                  <a:lnTo>
                    <a:pt x="182" y="294"/>
                  </a:lnTo>
                  <a:lnTo>
                    <a:pt x="164" y="294"/>
                  </a:lnTo>
                  <a:lnTo>
                    <a:pt x="148" y="294"/>
                  </a:lnTo>
                  <a:lnTo>
                    <a:pt x="136" y="296"/>
                  </a:lnTo>
                  <a:lnTo>
                    <a:pt x="127" y="298"/>
                  </a:lnTo>
                  <a:lnTo>
                    <a:pt x="111" y="303"/>
                  </a:lnTo>
                  <a:lnTo>
                    <a:pt x="99" y="306"/>
                  </a:lnTo>
                  <a:lnTo>
                    <a:pt x="99" y="306"/>
                  </a:lnTo>
                  <a:lnTo>
                    <a:pt x="90" y="310"/>
                  </a:lnTo>
                  <a:lnTo>
                    <a:pt x="81" y="314"/>
                  </a:lnTo>
                  <a:lnTo>
                    <a:pt x="74" y="317"/>
                  </a:lnTo>
                  <a:lnTo>
                    <a:pt x="69" y="321"/>
                  </a:lnTo>
                  <a:lnTo>
                    <a:pt x="69" y="321"/>
                  </a:lnTo>
                  <a:lnTo>
                    <a:pt x="64" y="321"/>
                  </a:lnTo>
                  <a:lnTo>
                    <a:pt x="58" y="319"/>
                  </a:lnTo>
                  <a:lnTo>
                    <a:pt x="53" y="315"/>
                  </a:lnTo>
                  <a:lnTo>
                    <a:pt x="50" y="312"/>
                  </a:lnTo>
                  <a:lnTo>
                    <a:pt x="50" y="312"/>
                  </a:lnTo>
                  <a:lnTo>
                    <a:pt x="39" y="292"/>
                  </a:lnTo>
                  <a:lnTo>
                    <a:pt x="39" y="292"/>
                  </a:lnTo>
                  <a:lnTo>
                    <a:pt x="37" y="289"/>
                  </a:lnTo>
                  <a:lnTo>
                    <a:pt x="34" y="285"/>
                  </a:lnTo>
                  <a:lnTo>
                    <a:pt x="25" y="280"/>
                  </a:lnTo>
                  <a:lnTo>
                    <a:pt x="20" y="273"/>
                  </a:lnTo>
                  <a:lnTo>
                    <a:pt x="18" y="269"/>
                  </a:lnTo>
                  <a:lnTo>
                    <a:pt x="20" y="266"/>
                  </a:lnTo>
                  <a:lnTo>
                    <a:pt x="20" y="266"/>
                  </a:lnTo>
                  <a:lnTo>
                    <a:pt x="23" y="259"/>
                  </a:lnTo>
                  <a:lnTo>
                    <a:pt x="29" y="252"/>
                  </a:lnTo>
                  <a:lnTo>
                    <a:pt x="37" y="241"/>
                  </a:lnTo>
                  <a:lnTo>
                    <a:pt x="37" y="241"/>
                  </a:lnTo>
                  <a:lnTo>
                    <a:pt x="43" y="236"/>
                  </a:lnTo>
                  <a:lnTo>
                    <a:pt x="46" y="229"/>
                  </a:lnTo>
                  <a:lnTo>
                    <a:pt x="46" y="220"/>
                  </a:lnTo>
                  <a:lnTo>
                    <a:pt x="44" y="217"/>
                  </a:lnTo>
                  <a:lnTo>
                    <a:pt x="41" y="215"/>
                  </a:lnTo>
                  <a:lnTo>
                    <a:pt x="41" y="215"/>
                  </a:lnTo>
                  <a:lnTo>
                    <a:pt x="30" y="210"/>
                  </a:lnTo>
                  <a:lnTo>
                    <a:pt x="29" y="208"/>
                  </a:lnTo>
                  <a:lnTo>
                    <a:pt x="29" y="201"/>
                  </a:lnTo>
                  <a:lnTo>
                    <a:pt x="29" y="201"/>
                  </a:lnTo>
                  <a:lnTo>
                    <a:pt x="30" y="199"/>
                  </a:lnTo>
                  <a:lnTo>
                    <a:pt x="29" y="195"/>
                  </a:lnTo>
                  <a:lnTo>
                    <a:pt x="23" y="192"/>
                  </a:lnTo>
                  <a:lnTo>
                    <a:pt x="16" y="188"/>
                  </a:lnTo>
                  <a:lnTo>
                    <a:pt x="13" y="183"/>
                  </a:lnTo>
                  <a:lnTo>
                    <a:pt x="9" y="178"/>
                  </a:lnTo>
                  <a:lnTo>
                    <a:pt x="9" y="178"/>
                  </a:lnTo>
                  <a:lnTo>
                    <a:pt x="4" y="164"/>
                  </a:lnTo>
                  <a:lnTo>
                    <a:pt x="0" y="146"/>
                  </a:lnTo>
                  <a:lnTo>
                    <a:pt x="0" y="139"/>
                  </a:lnTo>
                  <a:lnTo>
                    <a:pt x="2" y="130"/>
                  </a:lnTo>
                  <a:lnTo>
                    <a:pt x="4" y="123"/>
                  </a:lnTo>
                  <a:lnTo>
                    <a:pt x="7" y="116"/>
                  </a:lnTo>
                  <a:lnTo>
                    <a:pt x="7" y="116"/>
                  </a:lnTo>
                  <a:lnTo>
                    <a:pt x="18" y="107"/>
                  </a:lnTo>
                  <a:lnTo>
                    <a:pt x="27" y="100"/>
                  </a:lnTo>
                  <a:lnTo>
                    <a:pt x="36" y="93"/>
                  </a:lnTo>
                  <a:lnTo>
                    <a:pt x="43" y="85"/>
                  </a:lnTo>
                  <a:lnTo>
                    <a:pt x="43" y="85"/>
                  </a:lnTo>
                  <a:lnTo>
                    <a:pt x="46" y="79"/>
                  </a:lnTo>
                  <a:lnTo>
                    <a:pt x="50" y="72"/>
                  </a:lnTo>
                  <a:lnTo>
                    <a:pt x="53" y="56"/>
                  </a:lnTo>
                  <a:lnTo>
                    <a:pt x="55" y="35"/>
                  </a:lnTo>
                  <a:lnTo>
                    <a:pt x="55" y="35"/>
                  </a:lnTo>
                  <a:lnTo>
                    <a:pt x="78" y="25"/>
                  </a:lnTo>
                  <a:lnTo>
                    <a:pt x="94" y="18"/>
                  </a:lnTo>
                  <a:lnTo>
                    <a:pt x="104" y="12"/>
                  </a:lnTo>
                  <a:lnTo>
                    <a:pt x="104" y="12"/>
                  </a:lnTo>
                  <a:lnTo>
                    <a:pt x="113" y="11"/>
                  </a:lnTo>
                  <a:lnTo>
                    <a:pt x="124" y="7"/>
                  </a:lnTo>
                  <a:lnTo>
                    <a:pt x="136" y="4"/>
                  </a:lnTo>
                  <a:lnTo>
                    <a:pt x="141" y="0"/>
                  </a:lnTo>
                  <a:lnTo>
                    <a:pt x="141" y="0"/>
                  </a:lnTo>
                  <a:lnTo>
                    <a:pt x="168" y="5"/>
                  </a:lnTo>
                  <a:lnTo>
                    <a:pt x="182" y="11"/>
                  </a:lnTo>
                  <a:lnTo>
                    <a:pt x="191" y="12"/>
                  </a:lnTo>
                  <a:lnTo>
                    <a:pt x="191" y="12"/>
                  </a:lnTo>
                  <a:lnTo>
                    <a:pt x="192" y="18"/>
                  </a:lnTo>
                  <a:lnTo>
                    <a:pt x="194" y="23"/>
                  </a:lnTo>
                  <a:lnTo>
                    <a:pt x="196" y="30"/>
                  </a:lnTo>
                  <a:lnTo>
                    <a:pt x="196" y="30"/>
                  </a:lnTo>
                  <a:lnTo>
                    <a:pt x="205" y="33"/>
                  </a:lnTo>
                  <a:lnTo>
                    <a:pt x="212" y="35"/>
                  </a:lnTo>
                  <a:lnTo>
                    <a:pt x="219" y="33"/>
                  </a:lnTo>
                  <a:lnTo>
                    <a:pt x="219" y="33"/>
                  </a:lnTo>
                  <a:lnTo>
                    <a:pt x="228" y="35"/>
                  </a:lnTo>
                  <a:lnTo>
                    <a:pt x="238" y="39"/>
                  </a:lnTo>
                  <a:lnTo>
                    <a:pt x="254" y="44"/>
                  </a:lnTo>
                  <a:lnTo>
                    <a:pt x="254" y="44"/>
                  </a:lnTo>
                  <a:lnTo>
                    <a:pt x="259" y="55"/>
                  </a:lnTo>
                  <a:lnTo>
                    <a:pt x="266" y="72"/>
                  </a:lnTo>
                  <a:lnTo>
                    <a:pt x="275" y="92"/>
                  </a:lnTo>
                  <a:lnTo>
                    <a:pt x="279" y="100"/>
                  </a:lnTo>
                  <a:lnTo>
                    <a:pt x="284" y="104"/>
                  </a:lnTo>
                  <a:lnTo>
                    <a:pt x="284" y="104"/>
                  </a:lnTo>
                  <a:lnTo>
                    <a:pt x="289" y="113"/>
                  </a:lnTo>
                  <a:lnTo>
                    <a:pt x="296" y="120"/>
                  </a:lnTo>
                  <a:lnTo>
                    <a:pt x="302" y="123"/>
                  </a:lnTo>
                  <a:lnTo>
                    <a:pt x="309" y="127"/>
                  </a:lnTo>
                  <a:lnTo>
                    <a:pt x="317" y="129"/>
                  </a:lnTo>
                  <a:lnTo>
                    <a:pt x="328" y="129"/>
                  </a:lnTo>
                  <a:lnTo>
                    <a:pt x="328" y="129"/>
                  </a:lnTo>
                  <a:lnTo>
                    <a:pt x="331" y="122"/>
                  </a:lnTo>
                  <a:lnTo>
                    <a:pt x="337" y="116"/>
                  </a:lnTo>
                  <a:lnTo>
                    <a:pt x="342" y="113"/>
                  </a:lnTo>
                  <a:lnTo>
                    <a:pt x="342" y="113"/>
                  </a:lnTo>
                  <a:lnTo>
                    <a:pt x="346" y="113"/>
                  </a:lnTo>
                  <a:lnTo>
                    <a:pt x="347" y="114"/>
                  </a:lnTo>
                  <a:lnTo>
                    <a:pt x="344" y="132"/>
                  </a:lnTo>
                  <a:lnTo>
                    <a:pt x="344" y="132"/>
                  </a:lnTo>
                  <a:lnTo>
                    <a:pt x="342" y="151"/>
                  </a:lnTo>
                  <a:lnTo>
                    <a:pt x="340" y="162"/>
                  </a:lnTo>
                  <a:lnTo>
                    <a:pt x="340" y="174"/>
                  </a:lnTo>
                  <a:lnTo>
                    <a:pt x="342" y="188"/>
                  </a:lnTo>
                  <a:lnTo>
                    <a:pt x="346" y="203"/>
                  </a:lnTo>
                  <a:lnTo>
                    <a:pt x="353" y="218"/>
                  </a:lnTo>
                  <a:lnTo>
                    <a:pt x="363" y="232"/>
                  </a:lnTo>
                  <a:lnTo>
                    <a:pt x="363" y="232"/>
                  </a:lnTo>
                  <a:lnTo>
                    <a:pt x="391" y="266"/>
                  </a:lnTo>
                  <a:lnTo>
                    <a:pt x="395" y="275"/>
                  </a:lnTo>
                  <a:lnTo>
                    <a:pt x="397" y="287"/>
                  </a:lnTo>
                  <a:lnTo>
                    <a:pt x="397" y="287"/>
                  </a:lnTo>
                  <a:lnTo>
                    <a:pt x="398" y="301"/>
                  </a:lnTo>
                  <a:lnTo>
                    <a:pt x="402" y="314"/>
                  </a:lnTo>
                  <a:lnTo>
                    <a:pt x="404" y="321"/>
                  </a:lnTo>
                  <a:lnTo>
                    <a:pt x="404" y="324"/>
                  </a:lnTo>
                  <a:lnTo>
                    <a:pt x="402" y="329"/>
                  </a:lnTo>
                  <a:lnTo>
                    <a:pt x="398" y="333"/>
                  </a:lnTo>
                  <a:lnTo>
                    <a:pt x="398" y="3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7" name="Freeform 13">
              <a:extLst>
                <a:ext uri="{FF2B5EF4-FFF2-40B4-BE49-F238E27FC236}">
                  <a16:creationId xmlns:a16="http://schemas.microsoft.com/office/drawing/2014/main" id="{9FE0C539-9D1D-4135-82C5-53433CD53916}"/>
                </a:ext>
              </a:extLst>
            </p:cNvPr>
            <p:cNvSpPr>
              <a:spLocks/>
            </p:cNvSpPr>
            <p:nvPr/>
          </p:nvSpPr>
          <p:spPr bwMode="auto">
            <a:xfrm>
              <a:off x="2737423" y="3423667"/>
              <a:ext cx="160610" cy="101720"/>
            </a:xfrm>
            <a:custGeom>
              <a:avLst/>
              <a:gdLst/>
              <a:ahLst/>
              <a:cxnLst>
                <a:cxn ang="0">
                  <a:pos x="62" y="110"/>
                </a:cxn>
                <a:cxn ang="0">
                  <a:pos x="62" y="110"/>
                </a:cxn>
                <a:cxn ang="0">
                  <a:pos x="62" y="106"/>
                </a:cxn>
                <a:cxn ang="0">
                  <a:pos x="58" y="88"/>
                </a:cxn>
                <a:cxn ang="0">
                  <a:pos x="58" y="88"/>
                </a:cxn>
                <a:cxn ang="0">
                  <a:pos x="51" y="60"/>
                </a:cxn>
                <a:cxn ang="0">
                  <a:pos x="48" y="50"/>
                </a:cxn>
                <a:cxn ang="0">
                  <a:pos x="44" y="48"/>
                </a:cxn>
                <a:cxn ang="0">
                  <a:pos x="41" y="48"/>
                </a:cxn>
                <a:cxn ang="0">
                  <a:pos x="41" y="48"/>
                </a:cxn>
                <a:cxn ang="0">
                  <a:pos x="28" y="55"/>
                </a:cxn>
                <a:cxn ang="0">
                  <a:pos x="23" y="57"/>
                </a:cxn>
                <a:cxn ang="0">
                  <a:pos x="19" y="55"/>
                </a:cxn>
                <a:cxn ang="0">
                  <a:pos x="19" y="55"/>
                </a:cxn>
                <a:cxn ang="0">
                  <a:pos x="18" y="53"/>
                </a:cxn>
                <a:cxn ang="0">
                  <a:pos x="16" y="50"/>
                </a:cxn>
                <a:cxn ang="0">
                  <a:pos x="18" y="43"/>
                </a:cxn>
                <a:cxn ang="0">
                  <a:pos x="18" y="43"/>
                </a:cxn>
                <a:cxn ang="0">
                  <a:pos x="18" y="43"/>
                </a:cxn>
                <a:cxn ang="0">
                  <a:pos x="16" y="39"/>
                </a:cxn>
                <a:cxn ang="0">
                  <a:pos x="11" y="34"/>
                </a:cxn>
                <a:cxn ang="0">
                  <a:pos x="0" y="29"/>
                </a:cxn>
                <a:cxn ang="0">
                  <a:pos x="0" y="29"/>
                </a:cxn>
                <a:cxn ang="0">
                  <a:pos x="11" y="23"/>
                </a:cxn>
                <a:cxn ang="0">
                  <a:pos x="19" y="18"/>
                </a:cxn>
                <a:cxn ang="0">
                  <a:pos x="30" y="14"/>
                </a:cxn>
                <a:cxn ang="0">
                  <a:pos x="30" y="14"/>
                </a:cxn>
                <a:cxn ang="0">
                  <a:pos x="42" y="11"/>
                </a:cxn>
                <a:cxn ang="0">
                  <a:pos x="55" y="6"/>
                </a:cxn>
                <a:cxn ang="0">
                  <a:pos x="69" y="2"/>
                </a:cxn>
                <a:cxn ang="0">
                  <a:pos x="83" y="0"/>
                </a:cxn>
                <a:cxn ang="0">
                  <a:pos x="83" y="0"/>
                </a:cxn>
                <a:cxn ang="0">
                  <a:pos x="123" y="4"/>
                </a:cxn>
                <a:cxn ang="0">
                  <a:pos x="144" y="4"/>
                </a:cxn>
                <a:cxn ang="0">
                  <a:pos x="162" y="4"/>
                </a:cxn>
                <a:cxn ang="0">
                  <a:pos x="181" y="6"/>
                </a:cxn>
                <a:cxn ang="0">
                  <a:pos x="181" y="6"/>
                </a:cxn>
                <a:cxn ang="0">
                  <a:pos x="181" y="7"/>
                </a:cxn>
                <a:cxn ang="0">
                  <a:pos x="181" y="9"/>
                </a:cxn>
                <a:cxn ang="0">
                  <a:pos x="180" y="14"/>
                </a:cxn>
                <a:cxn ang="0">
                  <a:pos x="169" y="23"/>
                </a:cxn>
                <a:cxn ang="0">
                  <a:pos x="169" y="23"/>
                </a:cxn>
                <a:cxn ang="0">
                  <a:pos x="160" y="30"/>
                </a:cxn>
                <a:cxn ang="0">
                  <a:pos x="157" y="36"/>
                </a:cxn>
                <a:cxn ang="0">
                  <a:pos x="153" y="43"/>
                </a:cxn>
                <a:cxn ang="0">
                  <a:pos x="144" y="51"/>
                </a:cxn>
                <a:cxn ang="0">
                  <a:pos x="144" y="51"/>
                </a:cxn>
                <a:cxn ang="0">
                  <a:pos x="139" y="58"/>
                </a:cxn>
                <a:cxn ang="0">
                  <a:pos x="132" y="62"/>
                </a:cxn>
                <a:cxn ang="0">
                  <a:pos x="116" y="69"/>
                </a:cxn>
                <a:cxn ang="0">
                  <a:pos x="102" y="73"/>
                </a:cxn>
                <a:cxn ang="0">
                  <a:pos x="95" y="76"/>
                </a:cxn>
                <a:cxn ang="0">
                  <a:pos x="90" y="80"/>
                </a:cxn>
                <a:cxn ang="0">
                  <a:pos x="90" y="80"/>
                </a:cxn>
                <a:cxn ang="0">
                  <a:pos x="86" y="85"/>
                </a:cxn>
                <a:cxn ang="0">
                  <a:pos x="83" y="92"/>
                </a:cxn>
                <a:cxn ang="0">
                  <a:pos x="78" y="104"/>
                </a:cxn>
                <a:cxn ang="0">
                  <a:pos x="74" y="110"/>
                </a:cxn>
                <a:cxn ang="0">
                  <a:pos x="71" y="113"/>
                </a:cxn>
                <a:cxn ang="0">
                  <a:pos x="67" y="113"/>
                </a:cxn>
                <a:cxn ang="0">
                  <a:pos x="62" y="110"/>
                </a:cxn>
                <a:cxn ang="0">
                  <a:pos x="62" y="110"/>
                </a:cxn>
              </a:cxnLst>
              <a:rect l="0" t="0" r="r" b="b"/>
              <a:pathLst>
                <a:path w="181" h="113">
                  <a:moveTo>
                    <a:pt x="62" y="110"/>
                  </a:moveTo>
                  <a:lnTo>
                    <a:pt x="62" y="110"/>
                  </a:lnTo>
                  <a:lnTo>
                    <a:pt x="62" y="106"/>
                  </a:lnTo>
                  <a:lnTo>
                    <a:pt x="58" y="88"/>
                  </a:lnTo>
                  <a:lnTo>
                    <a:pt x="58" y="88"/>
                  </a:lnTo>
                  <a:lnTo>
                    <a:pt x="51" y="60"/>
                  </a:lnTo>
                  <a:lnTo>
                    <a:pt x="48" y="50"/>
                  </a:lnTo>
                  <a:lnTo>
                    <a:pt x="44" y="48"/>
                  </a:lnTo>
                  <a:lnTo>
                    <a:pt x="41" y="48"/>
                  </a:lnTo>
                  <a:lnTo>
                    <a:pt x="41" y="48"/>
                  </a:lnTo>
                  <a:lnTo>
                    <a:pt x="28" y="55"/>
                  </a:lnTo>
                  <a:lnTo>
                    <a:pt x="23" y="57"/>
                  </a:lnTo>
                  <a:lnTo>
                    <a:pt x="19" y="55"/>
                  </a:lnTo>
                  <a:lnTo>
                    <a:pt x="19" y="55"/>
                  </a:lnTo>
                  <a:lnTo>
                    <a:pt x="18" y="53"/>
                  </a:lnTo>
                  <a:lnTo>
                    <a:pt x="16" y="50"/>
                  </a:lnTo>
                  <a:lnTo>
                    <a:pt x="18" y="43"/>
                  </a:lnTo>
                  <a:lnTo>
                    <a:pt x="18" y="43"/>
                  </a:lnTo>
                  <a:lnTo>
                    <a:pt x="18" y="43"/>
                  </a:lnTo>
                  <a:lnTo>
                    <a:pt x="16" y="39"/>
                  </a:lnTo>
                  <a:lnTo>
                    <a:pt x="11" y="34"/>
                  </a:lnTo>
                  <a:lnTo>
                    <a:pt x="0" y="29"/>
                  </a:lnTo>
                  <a:lnTo>
                    <a:pt x="0" y="29"/>
                  </a:lnTo>
                  <a:lnTo>
                    <a:pt x="11" y="23"/>
                  </a:lnTo>
                  <a:lnTo>
                    <a:pt x="19" y="18"/>
                  </a:lnTo>
                  <a:lnTo>
                    <a:pt x="30" y="14"/>
                  </a:lnTo>
                  <a:lnTo>
                    <a:pt x="30" y="14"/>
                  </a:lnTo>
                  <a:lnTo>
                    <a:pt x="42" y="11"/>
                  </a:lnTo>
                  <a:lnTo>
                    <a:pt x="55" y="6"/>
                  </a:lnTo>
                  <a:lnTo>
                    <a:pt x="69" y="2"/>
                  </a:lnTo>
                  <a:lnTo>
                    <a:pt x="83" y="0"/>
                  </a:lnTo>
                  <a:lnTo>
                    <a:pt x="83" y="0"/>
                  </a:lnTo>
                  <a:lnTo>
                    <a:pt x="123" y="4"/>
                  </a:lnTo>
                  <a:lnTo>
                    <a:pt x="144" y="4"/>
                  </a:lnTo>
                  <a:lnTo>
                    <a:pt x="162" y="4"/>
                  </a:lnTo>
                  <a:lnTo>
                    <a:pt x="181" y="6"/>
                  </a:lnTo>
                  <a:lnTo>
                    <a:pt x="181" y="6"/>
                  </a:lnTo>
                  <a:lnTo>
                    <a:pt x="181" y="7"/>
                  </a:lnTo>
                  <a:lnTo>
                    <a:pt x="181" y="9"/>
                  </a:lnTo>
                  <a:lnTo>
                    <a:pt x="180" y="14"/>
                  </a:lnTo>
                  <a:lnTo>
                    <a:pt x="169" y="23"/>
                  </a:lnTo>
                  <a:lnTo>
                    <a:pt x="169" y="23"/>
                  </a:lnTo>
                  <a:lnTo>
                    <a:pt x="160" y="30"/>
                  </a:lnTo>
                  <a:lnTo>
                    <a:pt x="157" y="36"/>
                  </a:lnTo>
                  <a:lnTo>
                    <a:pt x="153" y="43"/>
                  </a:lnTo>
                  <a:lnTo>
                    <a:pt x="144" y="51"/>
                  </a:lnTo>
                  <a:lnTo>
                    <a:pt x="144" y="51"/>
                  </a:lnTo>
                  <a:lnTo>
                    <a:pt x="139" y="58"/>
                  </a:lnTo>
                  <a:lnTo>
                    <a:pt x="132" y="62"/>
                  </a:lnTo>
                  <a:lnTo>
                    <a:pt x="116" y="69"/>
                  </a:lnTo>
                  <a:lnTo>
                    <a:pt x="102" y="73"/>
                  </a:lnTo>
                  <a:lnTo>
                    <a:pt x="95" y="76"/>
                  </a:lnTo>
                  <a:lnTo>
                    <a:pt x="90" y="80"/>
                  </a:lnTo>
                  <a:lnTo>
                    <a:pt x="90" y="80"/>
                  </a:lnTo>
                  <a:lnTo>
                    <a:pt x="86" y="85"/>
                  </a:lnTo>
                  <a:lnTo>
                    <a:pt x="83" y="92"/>
                  </a:lnTo>
                  <a:lnTo>
                    <a:pt x="78" y="104"/>
                  </a:lnTo>
                  <a:lnTo>
                    <a:pt x="74" y="110"/>
                  </a:lnTo>
                  <a:lnTo>
                    <a:pt x="71" y="113"/>
                  </a:lnTo>
                  <a:lnTo>
                    <a:pt x="67" y="113"/>
                  </a:lnTo>
                  <a:lnTo>
                    <a:pt x="62" y="110"/>
                  </a:lnTo>
                  <a:lnTo>
                    <a:pt x="62" y="1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8" name="Freeform 14">
              <a:extLst>
                <a:ext uri="{FF2B5EF4-FFF2-40B4-BE49-F238E27FC236}">
                  <a16:creationId xmlns:a16="http://schemas.microsoft.com/office/drawing/2014/main" id="{404E5275-4146-4879-AF68-8B0566D1024D}"/>
                </a:ext>
              </a:extLst>
            </p:cNvPr>
            <p:cNvSpPr>
              <a:spLocks/>
            </p:cNvSpPr>
            <p:nvPr/>
          </p:nvSpPr>
          <p:spPr bwMode="auto">
            <a:xfrm>
              <a:off x="2906956" y="3591415"/>
              <a:ext cx="185594" cy="194517"/>
            </a:xfrm>
            <a:custGeom>
              <a:avLst/>
              <a:gdLst/>
              <a:ahLst/>
              <a:cxnLst>
                <a:cxn ang="0">
                  <a:pos x="0" y="86"/>
                </a:cxn>
                <a:cxn ang="0">
                  <a:pos x="57" y="195"/>
                </a:cxn>
                <a:cxn ang="0">
                  <a:pos x="131" y="199"/>
                </a:cxn>
                <a:cxn ang="0">
                  <a:pos x="131" y="199"/>
                </a:cxn>
                <a:cxn ang="0">
                  <a:pos x="129" y="208"/>
                </a:cxn>
                <a:cxn ang="0">
                  <a:pos x="129" y="215"/>
                </a:cxn>
                <a:cxn ang="0">
                  <a:pos x="131" y="216"/>
                </a:cxn>
                <a:cxn ang="0">
                  <a:pos x="132" y="216"/>
                </a:cxn>
                <a:cxn ang="0">
                  <a:pos x="132" y="216"/>
                </a:cxn>
                <a:cxn ang="0">
                  <a:pos x="139" y="216"/>
                </a:cxn>
                <a:cxn ang="0">
                  <a:pos x="143" y="216"/>
                </a:cxn>
                <a:cxn ang="0">
                  <a:pos x="148" y="213"/>
                </a:cxn>
                <a:cxn ang="0">
                  <a:pos x="148" y="213"/>
                </a:cxn>
                <a:cxn ang="0">
                  <a:pos x="166" y="195"/>
                </a:cxn>
                <a:cxn ang="0">
                  <a:pos x="175" y="185"/>
                </a:cxn>
                <a:cxn ang="0">
                  <a:pos x="185" y="176"/>
                </a:cxn>
                <a:cxn ang="0">
                  <a:pos x="185" y="176"/>
                </a:cxn>
                <a:cxn ang="0">
                  <a:pos x="192" y="169"/>
                </a:cxn>
                <a:cxn ang="0">
                  <a:pos x="199" y="158"/>
                </a:cxn>
                <a:cxn ang="0">
                  <a:pos x="208" y="143"/>
                </a:cxn>
                <a:cxn ang="0">
                  <a:pos x="208" y="143"/>
                </a:cxn>
                <a:cxn ang="0">
                  <a:pos x="208" y="137"/>
                </a:cxn>
                <a:cxn ang="0">
                  <a:pos x="206" y="127"/>
                </a:cxn>
                <a:cxn ang="0">
                  <a:pos x="201" y="114"/>
                </a:cxn>
                <a:cxn ang="0">
                  <a:pos x="196" y="104"/>
                </a:cxn>
                <a:cxn ang="0">
                  <a:pos x="196" y="104"/>
                </a:cxn>
                <a:cxn ang="0">
                  <a:pos x="182" y="91"/>
                </a:cxn>
                <a:cxn ang="0">
                  <a:pos x="178" y="83"/>
                </a:cxn>
                <a:cxn ang="0">
                  <a:pos x="176" y="77"/>
                </a:cxn>
                <a:cxn ang="0">
                  <a:pos x="176" y="70"/>
                </a:cxn>
                <a:cxn ang="0">
                  <a:pos x="176" y="70"/>
                </a:cxn>
                <a:cxn ang="0">
                  <a:pos x="180" y="61"/>
                </a:cxn>
                <a:cxn ang="0">
                  <a:pos x="182" y="53"/>
                </a:cxn>
                <a:cxn ang="0">
                  <a:pos x="180" y="49"/>
                </a:cxn>
                <a:cxn ang="0">
                  <a:pos x="178" y="44"/>
                </a:cxn>
                <a:cxn ang="0">
                  <a:pos x="171" y="37"/>
                </a:cxn>
                <a:cxn ang="0">
                  <a:pos x="164" y="30"/>
                </a:cxn>
                <a:cxn ang="0">
                  <a:pos x="164" y="30"/>
                </a:cxn>
                <a:cxn ang="0">
                  <a:pos x="146" y="14"/>
                </a:cxn>
                <a:cxn ang="0">
                  <a:pos x="134" y="3"/>
                </a:cxn>
                <a:cxn ang="0">
                  <a:pos x="129" y="2"/>
                </a:cxn>
                <a:cxn ang="0">
                  <a:pos x="124" y="0"/>
                </a:cxn>
                <a:cxn ang="0">
                  <a:pos x="118" y="0"/>
                </a:cxn>
                <a:cxn ang="0">
                  <a:pos x="111" y="2"/>
                </a:cxn>
                <a:cxn ang="0">
                  <a:pos x="111" y="2"/>
                </a:cxn>
                <a:cxn ang="0">
                  <a:pos x="74" y="19"/>
                </a:cxn>
                <a:cxn ang="0">
                  <a:pos x="57" y="28"/>
                </a:cxn>
                <a:cxn ang="0">
                  <a:pos x="48" y="33"/>
                </a:cxn>
                <a:cxn ang="0">
                  <a:pos x="43" y="39"/>
                </a:cxn>
                <a:cxn ang="0">
                  <a:pos x="43" y="39"/>
                </a:cxn>
                <a:cxn ang="0">
                  <a:pos x="0" y="86"/>
                </a:cxn>
                <a:cxn ang="0">
                  <a:pos x="0" y="86"/>
                </a:cxn>
              </a:cxnLst>
              <a:rect l="0" t="0" r="r" b="b"/>
              <a:pathLst>
                <a:path w="208" h="216">
                  <a:moveTo>
                    <a:pt x="0" y="86"/>
                  </a:moveTo>
                  <a:lnTo>
                    <a:pt x="57" y="195"/>
                  </a:lnTo>
                  <a:lnTo>
                    <a:pt x="131" y="199"/>
                  </a:lnTo>
                  <a:lnTo>
                    <a:pt x="131" y="199"/>
                  </a:lnTo>
                  <a:lnTo>
                    <a:pt x="129" y="208"/>
                  </a:lnTo>
                  <a:lnTo>
                    <a:pt x="129" y="215"/>
                  </a:lnTo>
                  <a:lnTo>
                    <a:pt x="131" y="216"/>
                  </a:lnTo>
                  <a:lnTo>
                    <a:pt x="132" y="216"/>
                  </a:lnTo>
                  <a:lnTo>
                    <a:pt x="132" y="216"/>
                  </a:lnTo>
                  <a:lnTo>
                    <a:pt x="139" y="216"/>
                  </a:lnTo>
                  <a:lnTo>
                    <a:pt x="143" y="216"/>
                  </a:lnTo>
                  <a:lnTo>
                    <a:pt x="148" y="213"/>
                  </a:lnTo>
                  <a:lnTo>
                    <a:pt x="148" y="213"/>
                  </a:lnTo>
                  <a:lnTo>
                    <a:pt x="166" y="195"/>
                  </a:lnTo>
                  <a:lnTo>
                    <a:pt x="175" y="185"/>
                  </a:lnTo>
                  <a:lnTo>
                    <a:pt x="185" y="176"/>
                  </a:lnTo>
                  <a:lnTo>
                    <a:pt x="185" y="176"/>
                  </a:lnTo>
                  <a:lnTo>
                    <a:pt x="192" y="169"/>
                  </a:lnTo>
                  <a:lnTo>
                    <a:pt x="199" y="158"/>
                  </a:lnTo>
                  <a:lnTo>
                    <a:pt x="208" y="143"/>
                  </a:lnTo>
                  <a:lnTo>
                    <a:pt x="208" y="143"/>
                  </a:lnTo>
                  <a:lnTo>
                    <a:pt x="208" y="137"/>
                  </a:lnTo>
                  <a:lnTo>
                    <a:pt x="206" y="127"/>
                  </a:lnTo>
                  <a:lnTo>
                    <a:pt x="201" y="114"/>
                  </a:lnTo>
                  <a:lnTo>
                    <a:pt x="196" y="104"/>
                  </a:lnTo>
                  <a:lnTo>
                    <a:pt x="196" y="104"/>
                  </a:lnTo>
                  <a:lnTo>
                    <a:pt x="182" y="91"/>
                  </a:lnTo>
                  <a:lnTo>
                    <a:pt x="178" y="83"/>
                  </a:lnTo>
                  <a:lnTo>
                    <a:pt x="176" y="77"/>
                  </a:lnTo>
                  <a:lnTo>
                    <a:pt x="176" y="70"/>
                  </a:lnTo>
                  <a:lnTo>
                    <a:pt x="176" y="70"/>
                  </a:lnTo>
                  <a:lnTo>
                    <a:pt x="180" y="61"/>
                  </a:lnTo>
                  <a:lnTo>
                    <a:pt x="182" y="53"/>
                  </a:lnTo>
                  <a:lnTo>
                    <a:pt x="180" y="49"/>
                  </a:lnTo>
                  <a:lnTo>
                    <a:pt x="178" y="44"/>
                  </a:lnTo>
                  <a:lnTo>
                    <a:pt x="171" y="37"/>
                  </a:lnTo>
                  <a:lnTo>
                    <a:pt x="164" y="30"/>
                  </a:lnTo>
                  <a:lnTo>
                    <a:pt x="164" y="30"/>
                  </a:lnTo>
                  <a:lnTo>
                    <a:pt x="146" y="14"/>
                  </a:lnTo>
                  <a:lnTo>
                    <a:pt x="134" y="3"/>
                  </a:lnTo>
                  <a:lnTo>
                    <a:pt x="129" y="2"/>
                  </a:lnTo>
                  <a:lnTo>
                    <a:pt x="124" y="0"/>
                  </a:lnTo>
                  <a:lnTo>
                    <a:pt x="118" y="0"/>
                  </a:lnTo>
                  <a:lnTo>
                    <a:pt x="111" y="2"/>
                  </a:lnTo>
                  <a:lnTo>
                    <a:pt x="111" y="2"/>
                  </a:lnTo>
                  <a:lnTo>
                    <a:pt x="74" y="19"/>
                  </a:lnTo>
                  <a:lnTo>
                    <a:pt x="57" y="28"/>
                  </a:lnTo>
                  <a:lnTo>
                    <a:pt x="48" y="33"/>
                  </a:lnTo>
                  <a:lnTo>
                    <a:pt x="43" y="39"/>
                  </a:lnTo>
                  <a:lnTo>
                    <a:pt x="43" y="39"/>
                  </a:lnTo>
                  <a:lnTo>
                    <a:pt x="0" y="86"/>
                  </a:lnTo>
                  <a:lnTo>
                    <a:pt x="0" y="8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89" name="Freeform 15">
              <a:extLst>
                <a:ext uri="{FF2B5EF4-FFF2-40B4-BE49-F238E27FC236}">
                  <a16:creationId xmlns:a16="http://schemas.microsoft.com/office/drawing/2014/main" id="{2AB2D49C-108A-44BF-B4A7-0A4CFCA261A9}"/>
                </a:ext>
              </a:extLst>
            </p:cNvPr>
            <p:cNvSpPr>
              <a:spLocks/>
            </p:cNvSpPr>
            <p:nvPr/>
          </p:nvSpPr>
          <p:spPr bwMode="auto">
            <a:xfrm>
              <a:off x="2789176" y="3429021"/>
              <a:ext cx="451492" cy="321220"/>
            </a:xfrm>
            <a:custGeom>
              <a:avLst/>
              <a:gdLst/>
              <a:ahLst/>
              <a:cxnLst>
                <a:cxn ang="0">
                  <a:pos x="280" y="45"/>
                </a:cxn>
                <a:cxn ang="0">
                  <a:pos x="305" y="61"/>
                </a:cxn>
                <a:cxn ang="0">
                  <a:pos x="317" y="63"/>
                </a:cxn>
                <a:cxn ang="0">
                  <a:pos x="361" y="47"/>
                </a:cxn>
                <a:cxn ang="0">
                  <a:pos x="398" y="26"/>
                </a:cxn>
                <a:cxn ang="0">
                  <a:pos x="408" y="21"/>
                </a:cxn>
                <a:cxn ang="0">
                  <a:pos x="423" y="19"/>
                </a:cxn>
                <a:cxn ang="0">
                  <a:pos x="442" y="47"/>
                </a:cxn>
                <a:cxn ang="0">
                  <a:pos x="467" y="107"/>
                </a:cxn>
                <a:cxn ang="0">
                  <a:pos x="490" y="158"/>
                </a:cxn>
                <a:cxn ang="0">
                  <a:pos x="498" y="204"/>
                </a:cxn>
                <a:cxn ang="0">
                  <a:pos x="498" y="222"/>
                </a:cxn>
                <a:cxn ang="0">
                  <a:pos x="505" y="262"/>
                </a:cxn>
                <a:cxn ang="0">
                  <a:pos x="498" y="290"/>
                </a:cxn>
                <a:cxn ang="0">
                  <a:pos x="477" y="338"/>
                </a:cxn>
                <a:cxn ang="0">
                  <a:pos x="456" y="354"/>
                </a:cxn>
                <a:cxn ang="0">
                  <a:pos x="423" y="359"/>
                </a:cxn>
                <a:cxn ang="0">
                  <a:pos x="412" y="352"/>
                </a:cxn>
                <a:cxn ang="0">
                  <a:pos x="393" y="324"/>
                </a:cxn>
                <a:cxn ang="0">
                  <a:pos x="386" y="306"/>
                </a:cxn>
                <a:cxn ang="0">
                  <a:pos x="373" y="301"/>
                </a:cxn>
                <a:cxn ang="0">
                  <a:pos x="361" y="308"/>
                </a:cxn>
                <a:cxn ang="0">
                  <a:pos x="338" y="326"/>
                </a:cxn>
                <a:cxn ang="0">
                  <a:pos x="327" y="290"/>
                </a:cxn>
                <a:cxn ang="0">
                  <a:pos x="306" y="264"/>
                </a:cxn>
                <a:cxn ang="0">
                  <a:pos x="308" y="252"/>
                </a:cxn>
                <a:cxn ang="0">
                  <a:pos x="310" y="230"/>
                </a:cxn>
                <a:cxn ang="0">
                  <a:pos x="294" y="213"/>
                </a:cxn>
                <a:cxn ang="0">
                  <a:pos x="262" y="186"/>
                </a:cxn>
                <a:cxn ang="0">
                  <a:pos x="234" y="188"/>
                </a:cxn>
                <a:cxn ang="0">
                  <a:pos x="130" y="269"/>
                </a:cxn>
                <a:cxn ang="0">
                  <a:pos x="79" y="186"/>
                </a:cxn>
                <a:cxn ang="0">
                  <a:pos x="40" y="135"/>
                </a:cxn>
                <a:cxn ang="0">
                  <a:pos x="19" y="128"/>
                </a:cxn>
                <a:cxn ang="0">
                  <a:pos x="11" y="116"/>
                </a:cxn>
                <a:cxn ang="0">
                  <a:pos x="0" y="104"/>
                </a:cxn>
                <a:cxn ang="0">
                  <a:pos x="5" y="107"/>
                </a:cxn>
                <a:cxn ang="0">
                  <a:pos x="11" y="107"/>
                </a:cxn>
                <a:cxn ang="0">
                  <a:pos x="23" y="88"/>
                </a:cxn>
                <a:cxn ang="0">
                  <a:pos x="37" y="68"/>
                </a:cxn>
                <a:cxn ang="0">
                  <a:pos x="60" y="61"/>
                </a:cxn>
                <a:cxn ang="0">
                  <a:pos x="77" y="52"/>
                </a:cxn>
                <a:cxn ang="0">
                  <a:pos x="97" y="30"/>
                </a:cxn>
                <a:cxn ang="0">
                  <a:pos x="121" y="1"/>
                </a:cxn>
                <a:cxn ang="0">
                  <a:pos x="139" y="1"/>
                </a:cxn>
                <a:cxn ang="0">
                  <a:pos x="174" y="12"/>
                </a:cxn>
                <a:cxn ang="0">
                  <a:pos x="229" y="31"/>
                </a:cxn>
                <a:cxn ang="0">
                  <a:pos x="269" y="35"/>
                </a:cxn>
              </a:cxnLst>
              <a:rect l="0" t="0" r="r" b="b"/>
              <a:pathLst>
                <a:path w="505" h="361">
                  <a:moveTo>
                    <a:pt x="269" y="35"/>
                  </a:moveTo>
                  <a:lnTo>
                    <a:pt x="269" y="35"/>
                  </a:lnTo>
                  <a:lnTo>
                    <a:pt x="280" y="45"/>
                  </a:lnTo>
                  <a:lnTo>
                    <a:pt x="291" y="54"/>
                  </a:lnTo>
                  <a:lnTo>
                    <a:pt x="298" y="58"/>
                  </a:lnTo>
                  <a:lnTo>
                    <a:pt x="305" y="61"/>
                  </a:lnTo>
                  <a:lnTo>
                    <a:pt x="305" y="61"/>
                  </a:lnTo>
                  <a:lnTo>
                    <a:pt x="310" y="63"/>
                  </a:lnTo>
                  <a:lnTo>
                    <a:pt x="317" y="63"/>
                  </a:lnTo>
                  <a:lnTo>
                    <a:pt x="331" y="60"/>
                  </a:lnTo>
                  <a:lnTo>
                    <a:pt x="361" y="47"/>
                  </a:lnTo>
                  <a:lnTo>
                    <a:pt x="361" y="47"/>
                  </a:lnTo>
                  <a:lnTo>
                    <a:pt x="375" y="40"/>
                  </a:lnTo>
                  <a:lnTo>
                    <a:pt x="389" y="31"/>
                  </a:lnTo>
                  <a:lnTo>
                    <a:pt x="398" y="26"/>
                  </a:lnTo>
                  <a:lnTo>
                    <a:pt x="403" y="23"/>
                  </a:lnTo>
                  <a:lnTo>
                    <a:pt x="403" y="23"/>
                  </a:lnTo>
                  <a:lnTo>
                    <a:pt x="408" y="21"/>
                  </a:lnTo>
                  <a:lnTo>
                    <a:pt x="412" y="19"/>
                  </a:lnTo>
                  <a:lnTo>
                    <a:pt x="417" y="17"/>
                  </a:lnTo>
                  <a:lnTo>
                    <a:pt x="423" y="19"/>
                  </a:lnTo>
                  <a:lnTo>
                    <a:pt x="430" y="24"/>
                  </a:lnTo>
                  <a:lnTo>
                    <a:pt x="437" y="33"/>
                  </a:lnTo>
                  <a:lnTo>
                    <a:pt x="442" y="47"/>
                  </a:lnTo>
                  <a:lnTo>
                    <a:pt x="442" y="47"/>
                  </a:lnTo>
                  <a:lnTo>
                    <a:pt x="454" y="81"/>
                  </a:lnTo>
                  <a:lnTo>
                    <a:pt x="467" y="107"/>
                  </a:lnTo>
                  <a:lnTo>
                    <a:pt x="484" y="144"/>
                  </a:lnTo>
                  <a:lnTo>
                    <a:pt x="484" y="144"/>
                  </a:lnTo>
                  <a:lnTo>
                    <a:pt x="490" y="158"/>
                  </a:lnTo>
                  <a:lnTo>
                    <a:pt x="495" y="172"/>
                  </a:lnTo>
                  <a:lnTo>
                    <a:pt x="497" y="188"/>
                  </a:lnTo>
                  <a:lnTo>
                    <a:pt x="498" y="204"/>
                  </a:lnTo>
                  <a:lnTo>
                    <a:pt x="498" y="204"/>
                  </a:lnTo>
                  <a:lnTo>
                    <a:pt x="498" y="213"/>
                  </a:lnTo>
                  <a:lnTo>
                    <a:pt x="498" y="222"/>
                  </a:lnTo>
                  <a:lnTo>
                    <a:pt x="502" y="237"/>
                  </a:lnTo>
                  <a:lnTo>
                    <a:pt x="505" y="255"/>
                  </a:lnTo>
                  <a:lnTo>
                    <a:pt x="505" y="262"/>
                  </a:lnTo>
                  <a:lnTo>
                    <a:pt x="504" y="271"/>
                  </a:lnTo>
                  <a:lnTo>
                    <a:pt x="504" y="271"/>
                  </a:lnTo>
                  <a:lnTo>
                    <a:pt x="498" y="290"/>
                  </a:lnTo>
                  <a:lnTo>
                    <a:pt x="491" y="310"/>
                  </a:lnTo>
                  <a:lnTo>
                    <a:pt x="482" y="329"/>
                  </a:lnTo>
                  <a:lnTo>
                    <a:pt x="477" y="338"/>
                  </a:lnTo>
                  <a:lnTo>
                    <a:pt x="472" y="343"/>
                  </a:lnTo>
                  <a:lnTo>
                    <a:pt x="472" y="343"/>
                  </a:lnTo>
                  <a:lnTo>
                    <a:pt x="456" y="354"/>
                  </a:lnTo>
                  <a:lnTo>
                    <a:pt x="442" y="359"/>
                  </a:lnTo>
                  <a:lnTo>
                    <a:pt x="428" y="361"/>
                  </a:lnTo>
                  <a:lnTo>
                    <a:pt x="423" y="359"/>
                  </a:lnTo>
                  <a:lnTo>
                    <a:pt x="419" y="357"/>
                  </a:lnTo>
                  <a:lnTo>
                    <a:pt x="419" y="357"/>
                  </a:lnTo>
                  <a:lnTo>
                    <a:pt x="412" y="352"/>
                  </a:lnTo>
                  <a:lnTo>
                    <a:pt x="403" y="341"/>
                  </a:lnTo>
                  <a:lnTo>
                    <a:pt x="393" y="324"/>
                  </a:lnTo>
                  <a:lnTo>
                    <a:pt x="393" y="324"/>
                  </a:lnTo>
                  <a:lnTo>
                    <a:pt x="389" y="318"/>
                  </a:lnTo>
                  <a:lnTo>
                    <a:pt x="387" y="310"/>
                  </a:lnTo>
                  <a:lnTo>
                    <a:pt x="386" y="306"/>
                  </a:lnTo>
                  <a:lnTo>
                    <a:pt x="382" y="303"/>
                  </a:lnTo>
                  <a:lnTo>
                    <a:pt x="379" y="301"/>
                  </a:lnTo>
                  <a:lnTo>
                    <a:pt x="373" y="301"/>
                  </a:lnTo>
                  <a:lnTo>
                    <a:pt x="373" y="301"/>
                  </a:lnTo>
                  <a:lnTo>
                    <a:pt x="368" y="304"/>
                  </a:lnTo>
                  <a:lnTo>
                    <a:pt x="361" y="308"/>
                  </a:lnTo>
                  <a:lnTo>
                    <a:pt x="350" y="315"/>
                  </a:lnTo>
                  <a:lnTo>
                    <a:pt x="338" y="326"/>
                  </a:lnTo>
                  <a:lnTo>
                    <a:pt x="338" y="326"/>
                  </a:lnTo>
                  <a:lnTo>
                    <a:pt x="336" y="313"/>
                  </a:lnTo>
                  <a:lnTo>
                    <a:pt x="333" y="301"/>
                  </a:lnTo>
                  <a:lnTo>
                    <a:pt x="327" y="290"/>
                  </a:lnTo>
                  <a:lnTo>
                    <a:pt x="327" y="290"/>
                  </a:lnTo>
                  <a:lnTo>
                    <a:pt x="313" y="274"/>
                  </a:lnTo>
                  <a:lnTo>
                    <a:pt x="306" y="264"/>
                  </a:lnTo>
                  <a:lnTo>
                    <a:pt x="306" y="264"/>
                  </a:lnTo>
                  <a:lnTo>
                    <a:pt x="306" y="259"/>
                  </a:lnTo>
                  <a:lnTo>
                    <a:pt x="308" y="252"/>
                  </a:lnTo>
                  <a:lnTo>
                    <a:pt x="312" y="236"/>
                  </a:lnTo>
                  <a:lnTo>
                    <a:pt x="312" y="236"/>
                  </a:lnTo>
                  <a:lnTo>
                    <a:pt x="310" y="230"/>
                  </a:lnTo>
                  <a:lnTo>
                    <a:pt x="305" y="225"/>
                  </a:lnTo>
                  <a:lnTo>
                    <a:pt x="294" y="213"/>
                  </a:lnTo>
                  <a:lnTo>
                    <a:pt x="294" y="213"/>
                  </a:lnTo>
                  <a:lnTo>
                    <a:pt x="264" y="186"/>
                  </a:lnTo>
                  <a:lnTo>
                    <a:pt x="264" y="186"/>
                  </a:lnTo>
                  <a:lnTo>
                    <a:pt x="262" y="186"/>
                  </a:lnTo>
                  <a:lnTo>
                    <a:pt x="257" y="185"/>
                  </a:lnTo>
                  <a:lnTo>
                    <a:pt x="246" y="185"/>
                  </a:lnTo>
                  <a:lnTo>
                    <a:pt x="234" y="188"/>
                  </a:lnTo>
                  <a:lnTo>
                    <a:pt x="234" y="188"/>
                  </a:lnTo>
                  <a:lnTo>
                    <a:pt x="183" y="213"/>
                  </a:lnTo>
                  <a:lnTo>
                    <a:pt x="130" y="269"/>
                  </a:lnTo>
                  <a:lnTo>
                    <a:pt x="130" y="269"/>
                  </a:lnTo>
                  <a:lnTo>
                    <a:pt x="79" y="186"/>
                  </a:lnTo>
                  <a:lnTo>
                    <a:pt x="79" y="186"/>
                  </a:lnTo>
                  <a:lnTo>
                    <a:pt x="44" y="134"/>
                  </a:lnTo>
                  <a:lnTo>
                    <a:pt x="44" y="134"/>
                  </a:lnTo>
                  <a:lnTo>
                    <a:pt x="40" y="135"/>
                  </a:lnTo>
                  <a:lnTo>
                    <a:pt x="32" y="134"/>
                  </a:lnTo>
                  <a:lnTo>
                    <a:pt x="23" y="130"/>
                  </a:lnTo>
                  <a:lnTo>
                    <a:pt x="19" y="128"/>
                  </a:lnTo>
                  <a:lnTo>
                    <a:pt x="16" y="123"/>
                  </a:lnTo>
                  <a:lnTo>
                    <a:pt x="16" y="123"/>
                  </a:lnTo>
                  <a:lnTo>
                    <a:pt x="11" y="116"/>
                  </a:lnTo>
                  <a:lnTo>
                    <a:pt x="3" y="109"/>
                  </a:lnTo>
                  <a:lnTo>
                    <a:pt x="0" y="105"/>
                  </a:lnTo>
                  <a:lnTo>
                    <a:pt x="0" y="104"/>
                  </a:lnTo>
                  <a:lnTo>
                    <a:pt x="2" y="104"/>
                  </a:lnTo>
                  <a:lnTo>
                    <a:pt x="2" y="104"/>
                  </a:lnTo>
                  <a:lnTo>
                    <a:pt x="5" y="107"/>
                  </a:lnTo>
                  <a:lnTo>
                    <a:pt x="7" y="109"/>
                  </a:lnTo>
                  <a:lnTo>
                    <a:pt x="9" y="109"/>
                  </a:lnTo>
                  <a:lnTo>
                    <a:pt x="11" y="107"/>
                  </a:lnTo>
                  <a:lnTo>
                    <a:pt x="18" y="98"/>
                  </a:lnTo>
                  <a:lnTo>
                    <a:pt x="18" y="98"/>
                  </a:lnTo>
                  <a:lnTo>
                    <a:pt x="23" y="88"/>
                  </a:lnTo>
                  <a:lnTo>
                    <a:pt x="26" y="81"/>
                  </a:lnTo>
                  <a:lnTo>
                    <a:pt x="30" y="75"/>
                  </a:lnTo>
                  <a:lnTo>
                    <a:pt x="37" y="68"/>
                  </a:lnTo>
                  <a:lnTo>
                    <a:pt x="37" y="68"/>
                  </a:lnTo>
                  <a:lnTo>
                    <a:pt x="49" y="65"/>
                  </a:lnTo>
                  <a:lnTo>
                    <a:pt x="60" y="61"/>
                  </a:lnTo>
                  <a:lnTo>
                    <a:pt x="70" y="58"/>
                  </a:lnTo>
                  <a:lnTo>
                    <a:pt x="77" y="52"/>
                  </a:lnTo>
                  <a:lnTo>
                    <a:pt x="77" y="52"/>
                  </a:lnTo>
                  <a:lnTo>
                    <a:pt x="90" y="38"/>
                  </a:lnTo>
                  <a:lnTo>
                    <a:pt x="97" y="30"/>
                  </a:lnTo>
                  <a:lnTo>
                    <a:pt x="97" y="30"/>
                  </a:lnTo>
                  <a:lnTo>
                    <a:pt x="120" y="7"/>
                  </a:lnTo>
                  <a:lnTo>
                    <a:pt x="120" y="7"/>
                  </a:lnTo>
                  <a:lnTo>
                    <a:pt x="121" y="1"/>
                  </a:lnTo>
                  <a:lnTo>
                    <a:pt x="121" y="0"/>
                  </a:lnTo>
                  <a:lnTo>
                    <a:pt x="121" y="0"/>
                  </a:lnTo>
                  <a:lnTo>
                    <a:pt x="139" y="1"/>
                  </a:lnTo>
                  <a:lnTo>
                    <a:pt x="155" y="5"/>
                  </a:lnTo>
                  <a:lnTo>
                    <a:pt x="174" y="12"/>
                  </a:lnTo>
                  <a:lnTo>
                    <a:pt x="174" y="12"/>
                  </a:lnTo>
                  <a:lnTo>
                    <a:pt x="192" y="19"/>
                  </a:lnTo>
                  <a:lnTo>
                    <a:pt x="211" y="26"/>
                  </a:lnTo>
                  <a:lnTo>
                    <a:pt x="229" y="31"/>
                  </a:lnTo>
                  <a:lnTo>
                    <a:pt x="246" y="33"/>
                  </a:lnTo>
                  <a:lnTo>
                    <a:pt x="246" y="33"/>
                  </a:lnTo>
                  <a:lnTo>
                    <a:pt x="269" y="35"/>
                  </a:lnTo>
                  <a:lnTo>
                    <a:pt x="269"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0" name="Freeform 16">
              <a:extLst>
                <a:ext uri="{FF2B5EF4-FFF2-40B4-BE49-F238E27FC236}">
                  <a16:creationId xmlns:a16="http://schemas.microsoft.com/office/drawing/2014/main" id="{1CD8ECE3-C150-4064-A177-2955A9C5FED1}"/>
                </a:ext>
              </a:extLst>
            </p:cNvPr>
            <p:cNvSpPr>
              <a:spLocks/>
            </p:cNvSpPr>
            <p:nvPr/>
          </p:nvSpPr>
          <p:spPr bwMode="auto">
            <a:xfrm>
              <a:off x="2976554" y="2631324"/>
              <a:ext cx="1022551" cy="949384"/>
            </a:xfrm>
            <a:custGeom>
              <a:avLst/>
              <a:gdLst/>
              <a:ahLst/>
              <a:cxnLst>
                <a:cxn ang="0">
                  <a:pos x="440" y="1064"/>
                </a:cxn>
                <a:cxn ang="0">
                  <a:pos x="406" y="1060"/>
                </a:cxn>
                <a:cxn ang="0">
                  <a:pos x="343" y="1049"/>
                </a:cxn>
                <a:cxn ang="0">
                  <a:pos x="281" y="1055"/>
                </a:cxn>
                <a:cxn ang="0">
                  <a:pos x="230" y="937"/>
                </a:cxn>
                <a:cxn ang="0">
                  <a:pos x="221" y="921"/>
                </a:cxn>
                <a:cxn ang="0">
                  <a:pos x="202" y="912"/>
                </a:cxn>
                <a:cxn ang="0">
                  <a:pos x="172" y="928"/>
                </a:cxn>
                <a:cxn ang="0">
                  <a:pos x="133" y="947"/>
                </a:cxn>
                <a:cxn ang="0">
                  <a:pos x="98" y="954"/>
                </a:cxn>
                <a:cxn ang="0">
                  <a:pos x="84" y="949"/>
                </a:cxn>
                <a:cxn ang="0">
                  <a:pos x="59" y="928"/>
                </a:cxn>
                <a:cxn ang="0">
                  <a:pos x="65" y="914"/>
                </a:cxn>
                <a:cxn ang="0">
                  <a:pos x="58" y="887"/>
                </a:cxn>
                <a:cxn ang="0">
                  <a:pos x="56" y="866"/>
                </a:cxn>
                <a:cxn ang="0">
                  <a:pos x="17" y="819"/>
                </a:cxn>
                <a:cxn ang="0">
                  <a:pos x="1" y="773"/>
                </a:cxn>
                <a:cxn ang="0">
                  <a:pos x="1" y="759"/>
                </a:cxn>
                <a:cxn ang="0">
                  <a:pos x="8" y="704"/>
                </a:cxn>
                <a:cxn ang="0">
                  <a:pos x="59" y="699"/>
                </a:cxn>
                <a:cxn ang="0">
                  <a:pos x="105" y="704"/>
                </a:cxn>
                <a:cxn ang="0">
                  <a:pos x="195" y="697"/>
                </a:cxn>
                <a:cxn ang="0">
                  <a:pos x="412" y="690"/>
                </a:cxn>
                <a:cxn ang="0">
                  <a:pos x="449" y="685"/>
                </a:cxn>
                <a:cxn ang="0">
                  <a:pos x="459" y="674"/>
                </a:cxn>
                <a:cxn ang="0">
                  <a:pos x="468" y="655"/>
                </a:cxn>
                <a:cxn ang="0">
                  <a:pos x="466" y="637"/>
                </a:cxn>
                <a:cxn ang="0">
                  <a:pos x="434" y="419"/>
                </a:cxn>
                <a:cxn ang="0">
                  <a:pos x="942" y="296"/>
                </a:cxn>
                <a:cxn ang="0">
                  <a:pos x="947" y="322"/>
                </a:cxn>
                <a:cxn ang="0">
                  <a:pos x="952" y="327"/>
                </a:cxn>
                <a:cxn ang="0">
                  <a:pos x="1046" y="362"/>
                </a:cxn>
                <a:cxn ang="0">
                  <a:pos x="1056" y="378"/>
                </a:cxn>
                <a:cxn ang="0">
                  <a:pos x="1065" y="417"/>
                </a:cxn>
                <a:cxn ang="0">
                  <a:pos x="1067" y="424"/>
                </a:cxn>
                <a:cxn ang="0">
                  <a:pos x="1081" y="435"/>
                </a:cxn>
                <a:cxn ang="0">
                  <a:pos x="1146" y="428"/>
                </a:cxn>
                <a:cxn ang="0">
                  <a:pos x="1139" y="528"/>
                </a:cxn>
                <a:cxn ang="0">
                  <a:pos x="1134" y="565"/>
                </a:cxn>
                <a:cxn ang="0">
                  <a:pos x="1111" y="651"/>
                </a:cxn>
                <a:cxn ang="0">
                  <a:pos x="1107" y="672"/>
                </a:cxn>
                <a:cxn ang="0">
                  <a:pos x="1097" y="685"/>
                </a:cxn>
                <a:cxn ang="0">
                  <a:pos x="1061" y="688"/>
                </a:cxn>
                <a:cxn ang="0">
                  <a:pos x="966" y="699"/>
                </a:cxn>
                <a:cxn ang="0">
                  <a:pos x="936" y="704"/>
                </a:cxn>
                <a:cxn ang="0">
                  <a:pos x="912" y="717"/>
                </a:cxn>
                <a:cxn ang="0">
                  <a:pos x="862" y="732"/>
                </a:cxn>
                <a:cxn ang="0">
                  <a:pos x="829" y="722"/>
                </a:cxn>
                <a:cxn ang="0">
                  <a:pos x="797" y="722"/>
                </a:cxn>
                <a:cxn ang="0">
                  <a:pos x="707" y="755"/>
                </a:cxn>
                <a:cxn ang="0">
                  <a:pos x="685" y="768"/>
                </a:cxn>
                <a:cxn ang="0">
                  <a:pos x="623" y="808"/>
                </a:cxn>
                <a:cxn ang="0">
                  <a:pos x="611" y="822"/>
                </a:cxn>
                <a:cxn ang="0">
                  <a:pos x="598" y="849"/>
                </a:cxn>
                <a:cxn ang="0">
                  <a:pos x="572" y="859"/>
                </a:cxn>
                <a:cxn ang="0">
                  <a:pos x="544" y="875"/>
                </a:cxn>
                <a:cxn ang="0">
                  <a:pos x="528" y="893"/>
                </a:cxn>
                <a:cxn ang="0">
                  <a:pos x="494" y="951"/>
                </a:cxn>
                <a:cxn ang="0">
                  <a:pos x="464" y="1027"/>
                </a:cxn>
                <a:cxn ang="0">
                  <a:pos x="461" y="1064"/>
                </a:cxn>
              </a:cxnLst>
              <a:rect l="0" t="0" r="r" b="b"/>
              <a:pathLst>
                <a:path w="1146" h="1064">
                  <a:moveTo>
                    <a:pt x="461" y="1064"/>
                  </a:moveTo>
                  <a:lnTo>
                    <a:pt x="461" y="1064"/>
                  </a:lnTo>
                  <a:lnTo>
                    <a:pt x="440" y="1064"/>
                  </a:lnTo>
                  <a:lnTo>
                    <a:pt x="422" y="1064"/>
                  </a:lnTo>
                  <a:lnTo>
                    <a:pt x="406" y="1060"/>
                  </a:lnTo>
                  <a:lnTo>
                    <a:pt x="406" y="1060"/>
                  </a:lnTo>
                  <a:lnTo>
                    <a:pt x="375" y="1055"/>
                  </a:lnTo>
                  <a:lnTo>
                    <a:pt x="343" y="1049"/>
                  </a:lnTo>
                  <a:lnTo>
                    <a:pt x="343" y="1049"/>
                  </a:lnTo>
                  <a:lnTo>
                    <a:pt x="325" y="1051"/>
                  </a:lnTo>
                  <a:lnTo>
                    <a:pt x="306" y="1053"/>
                  </a:lnTo>
                  <a:lnTo>
                    <a:pt x="281" y="1055"/>
                  </a:lnTo>
                  <a:lnTo>
                    <a:pt x="253" y="995"/>
                  </a:lnTo>
                  <a:lnTo>
                    <a:pt x="230" y="937"/>
                  </a:lnTo>
                  <a:lnTo>
                    <a:pt x="230" y="937"/>
                  </a:lnTo>
                  <a:lnTo>
                    <a:pt x="228" y="931"/>
                  </a:lnTo>
                  <a:lnTo>
                    <a:pt x="225" y="926"/>
                  </a:lnTo>
                  <a:lnTo>
                    <a:pt x="221" y="921"/>
                  </a:lnTo>
                  <a:lnTo>
                    <a:pt x="216" y="916"/>
                  </a:lnTo>
                  <a:lnTo>
                    <a:pt x="211" y="912"/>
                  </a:lnTo>
                  <a:lnTo>
                    <a:pt x="202" y="912"/>
                  </a:lnTo>
                  <a:lnTo>
                    <a:pt x="193" y="916"/>
                  </a:lnTo>
                  <a:lnTo>
                    <a:pt x="193" y="916"/>
                  </a:lnTo>
                  <a:lnTo>
                    <a:pt x="172" y="928"/>
                  </a:lnTo>
                  <a:lnTo>
                    <a:pt x="153" y="938"/>
                  </a:lnTo>
                  <a:lnTo>
                    <a:pt x="133" y="947"/>
                  </a:lnTo>
                  <a:lnTo>
                    <a:pt x="133" y="947"/>
                  </a:lnTo>
                  <a:lnTo>
                    <a:pt x="117" y="953"/>
                  </a:lnTo>
                  <a:lnTo>
                    <a:pt x="103" y="954"/>
                  </a:lnTo>
                  <a:lnTo>
                    <a:pt x="98" y="954"/>
                  </a:lnTo>
                  <a:lnTo>
                    <a:pt x="95" y="954"/>
                  </a:lnTo>
                  <a:lnTo>
                    <a:pt x="95" y="954"/>
                  </a:lnTo>
                  <a:lnTo>
                    <a:pt x="84" y="949"/>
                  </a:lnTo>
                  <a:lnTo>
                    <a:pt x="72" y="940"/>
                  </a:lnTo>
                  <a:lnTo>
                    <a:pt x="59" y="928"/>
                  </a:lnTo>
                  <a:lnTo>
                    <a:pt x="59" y="928"/>
                  </a:lnTo>
                  <a:lnTo>
                    <a:pt x="63" y="924"/>
                  </a:lnTo>
                  <a:lnTo>
                    <a:pt x="65" y="919"/>
                  </a:lnTo>
                  <a:lnTo>
                    <a:pt x="65" y="914"/>
                  </a:lnTo>
                  <a:lnTo>
                    <a:pt x="65" y="914"/>
                  </a:lnTo>
                  <a:lnTo>
                    <a:pt x="61" y="901"/>
                  </a:lnTo>
                  <a:lnTo>
                    <a:pt x="58" y="887"/>
                  </a:lnTo>
                  <a:lnTo>
                    <a:pt x="58" y="887"/>
                  </a:lnTo>
                  <a:lnTo>
                    <a:pt x="56" y="875"/>
                  </a:lnTo>
                  <a:lnTo>
                    <a:pt x="56" y="866"/>
                  </a:lnTo>
                  <a:lnTo>
                    <a:pt x="56" y="866"/>
                  </a:lnTo>
                  <a:lnTo>
                    <a:pt x="17" y="819"/>
                  </a:lnTo>
                  <a:lnTo>
                    <a:pt x="17" y="819"/>
                  </a:lnTo>
                  <a:lnTo>
                    <a:pt x="12" y="808"/>
                  </a:lnTo>
                  <a:lnTo>
                    <a:pt x="5" y="790"/>
                  </a:lnTo>
                  <a:lnTo>
                    <a:pt x="1" y="773"/>
                  </a:lnTo>
                  <a:lnTo>
                    <a:pt x="0" y="764"/>
                  </a:lnTo>
                  <a:lnTo>
                    <a:pt x="1" y="759"/>
                  </a:lnTo>
                  <a:lnTo>
                    <a:pt x="1" y="759"/>
                  </a:lnTo>
                  <a:lnTo>
                    <a:pt x="5" y="727"/>
                  </a:lnTo>
                  <a:lnTo>
                    <a:pt x="8" y="704"/>
                  </a:lnTo>
                  <a:lnTo>
                    <a:pt x="8" y="704"/>
                  </a:lnTo>
                  <a:lnTo>
                    <a:pt x="28" y="701"/>
                  </a:lnTo>
                  <a:lnTo>
                    <a:pt x="44" y="699"/>
                  </a:lnTo>
                  <a:lnTo>
                    <a:pt x="59" y="699"/>
                  </a:lnTo>
                  <a:lnTo>
                    <a:pt x="59" y="699"/>
                  </a:lnTo>
                  <a:lnTo>
                    <a:pt x="88" y="704"/>
                  </a:lnTo>
                  <a:lnTo>
                    <a:pt x="105" y="704"/>
                  </a:lnTo>
                  <a:lnTo>
                    <a:pt x="125" y="702"/>
                  </a:lnTo>
                  <a:lnTo>
                    <a:pt x="125" y="702"/>
                  </a:lnTo>
                  <a:lnTo>
                    <a:pt x="195" y="697"/>
                  </a:lnTo>
                  <a:lnTo>
                    <a:pt x="248" y="694"/>
                  </a:lnTo>
                  <a:lnTo>
                    <a:pt x="412" y="690"/>
                  </a:lnTo>
                  <a:lnTo>
                    <a:pt x="412" y="690"/>
                  </a:lnTo>
                  <a:lnTo>
                    <a:pt x="429" y="688"/>
                  </a:lnTo>
                  <a:lnTo>
                    <a:pt x="443" y="687"/>
                  </a:lnTo>
                  <a:lnTo>
                    <a:pt x="449" y="685"/>
                  </a:lnTo>
                  <a:lnTo>
                    <a:pt x="454" y="681"/>
                  </a:lnTo>
                  <a:lnTo>
                    <a:pt x="454" y="681"/>
                  </a:lnTo>
                  <a:lnTo>
                    <a:pt x="459" y="674"/>
                  </a:lnTo>
                  <a:lnTo>
                    <a:pt x="464" y="667"/>
                  </a:lnTo>
                  <a:lnTo>
                    <a:pt x="466" y="662"/>
                  </a:lnTo>
                  <a:lnTo>
                    <a:pt x="468" y="655"/>
                  </a:lnTo>
                  <a:lnTo>
                    <a:pt x="468" y="646"/>
                  </a:lnTo>
                  <a:lnTo>
                    <a:pt x="466" y="637"/>
                  </a:lnTo>
                  <a:lnTo>
                    <a:pt x="466" y="637"/>
                  </a:lnTo>
                  <a:lnTo>
                    <a:pt x="459" y="591"/>
                  </a:lnTo>
                  <a:lnTo>
                    <a:pt x="447" y="517"/>
                  </a:lnTo>
                  <a:lnTo>
                    <a:pt x="434" y="419"/>
                  </a:lnTo>
                  <a:lnTo>
                    <a:pt x="382" y="15"/>
                  </a:lnTo>
                  <a:lnTo>
                    <a:pt x="523" y="0"/>
                  </a:lnTo>
                  <a:lnTo>
                    <a:pt x="942" y="296"/>
                  </a:lnTo>
                  <a:lnTo>
                    <a:pt x="942" y="296"/>
                  </a:lnTo>
                  <a:lnTo>
                    <a:pt x="943" y="311"/>
                  </a:lnTo>
                  <a:lnTo>
                    <a:pt x="947" y="322"/>
                  </a:lnTo>
                  <a:lnTo>
                    <a:pt x="949" y="325"/>
                  </a:lnTo>
                  <a:lnTo>
                    <a:pt x="952" y="327"/>
                  </a:lnTo>
                  <a:lnTo>
                    <a:pt x="952" y="327"/>
                  </a:lnTo>
                  <a:lnTo>
                    <a:pt x="972" y="333"/>
                  </a:lnTo>
                  <a:lnTo>
                    <a:pt x="1003" y="345"/>
                  </a:lnTo>
                  <a:lnTo>
                    <a:pt x="1046" y="362"/>
                  </a:lnTo>
                  <a:lnTo>
                    <a:pt x="1046" y="362"/>
                  </a:lnTo>
                  <a:lnTo>
                    <a:pt x="1049" y="366"/>
                  </a:lnTo>
                  <a:lnTo>
                    <a:pt x="1056" y="378"/>
                  </a:lnTo>
                  <a:lnTo>
                    <a:pt x="1061" y="396"/>
                  </a:lnTo>
                  <a:lnTo>
                    <a:pt x="1065" y="407"/>
                  </a:lnTo>
                  <a:lnTo>
                    <a:pt x="1065" y="417"/>
                  </a:lnTo>
                  <a:lnTo>
                    <a:pt x="1065" y="417"/>
                  </a:lnTo>
                  <a:lnTo>
                    <a:pt x="1067" y="421"/>
                  </a:lnTo>
                  <a:lnTo>
                    <a:pt x="1067" y="424"/>
                  </a:lnTo>
                  <a:lnTo>
                    <a:pt x="1070" y="428"/>
                  </a:lnTo>
                  <a:lnTo>
                    <a:pt x="1074" y="431"/>
                  </a:lnTo>
                  <a:lnTo>
                    <a:pt x="1081" y="435"/>
                  </a:lnTo>
                  <a:lnTo>
                    <a:pt x="1091" y="436"/>
                  </a:lnTo>
                  <a:lnTo>
                    <a:pt x="1105" y="435"/>
                  </a:lnTo>
                  <a:lnTo>
                    <a:pt x="1146" y="428"/>
                  </a:lnTo>
                  <a:lnTo>
                    <a:pt x="1146" y="428"/>
                  </a:lnTo>
                  <a:lnTo>
                    <a:pt x="1142" y="482"/>
                  </a:lnTo>
                  <a:lnTo>
                    <a:pt x="1139" y="528"/>
                  </a:lnTo>
                  <a:lnTo>
                    <a:pt x="1135" y="547"/>
                  </a:lnTo>
                  <a:lnTo>
                    <a:pt x="1134" y="565"/>
                  </a:lnTo>
                  <a:lnTo>
                    <a:pt x="1134" y="565"/>
                  </a:lnTo>
                  <a:lnTo>
                    <a:pt x="1120" y="618"/>
                  </a:lnTo>
                  <a:lnTo>
                    <a:pt x="1114" y="637"/>
                  </a:lnTo>
                  <a:lnTo>
                    <a:pt x="1111" y="651"/>
                  </a:lnTo>
                  <a:lnTo>
                    <a:pt x="1111" y="651"/>
                  </a:lnTo>
                  <a:lnTo>
                    <a:pt x="1107" y="662"/>
                  </a:lnTo>
                  <a:lnTo>
                    <a:pt x="1107" y="672"/>
                  </a:lnTo>
                  <a:lnTo>
                    <a:pt x="1105" y="678"/>
                  </a:lnTo>
                  <a:lnTo>
                    <a:pt x="1102" y="681"/>
                  </a:lnTo>
                  <a:lnTo>
                    <a:pt x="1097" y="685"/>
                  </a:lnTo>
                  <a:lnTo>
                    <a:pt x="1088" y="685"/>
                  </a:lnTo>
                  <a:lnTo>
                    <a:pt x="1088" y="685"/>
                  </a:lnTo>
                  <a:lnTo>
                    <a:pt x="1061" y="688"/>
                  </a:lnTo>
                  <a:lnTo>
                    <a:pt x="1026" y="692"/>
                  </a:lnTo>
                  <a:lnTo>
                    <a:pt x="993" y="697"/>
                  </a:lnTo>
                  <a:lnTo>
                    <a:pt x="966" y="699"/>
                  </a:lnTo>
                  <a:lnTo>
                    <a:pt x="966" y="699"/>
                  </a:lnTo>
                  <a:lnTo>
                    <a:pt x="949" y="701"/>
                  </a:lnTo>
                  <a:lnTo>
                    <a:pt x="936" y="704"/>
                  </a:lnTo>
                  <a:lnTo>
                    <a:pt x="926" y="711"/>
                  </a:lnTo>
                  <a:lnTo>
                    <a:pt x="912" y="717"/>
                  </a:lnTo>
                  <a:lnTo>
                    <a:pt x="912" y="717"/>
                  </a:lnTo>
                  <a:lnTo>
                    <a:pt x="880" y="727"/>
                  </a:lnTo>
                  <a:lnTo>
                    <a:pt x="862" y="732"/>
                  </a:lnTo>
                  <a:lnTo>
                    <a:pt x="862" y="732"/>
                  </a:lnTo>
                  <a:lnTo>
                    <a:pt x="854" y="731"/>
                  </a:lnTo>
                  <a:lnTo>
                    <a:pt x="838" y="725"/>
                  </a:lnTo>
                  <a:lnTo>
                    <a:pt x="829" y="722"/>
                  </a:lnTo>
                  <a:lnTo>
                    <a:pt x="818" y="720"/>
                  </a:lnTo>
                  <a:lnTo>
                    <a:pt x="808" y="720"/>
                  </a:lnTo>
                  <a:lnTo>
                    <a:pt x="797" y="722"/>
                  </a:lnTo>
                  <a:lnTo>
                    <a:pt x="797" y="722"/>
                  </a:lnTo>
                  <a:lnTo>
                    <a:pt x="739" y="741"/>
                  </a:lnTo>
                  <a:lnTo>
                    <a:pt x="707" y="755"/>
                  </a:lnTo>
                  <a:lnTo>
                    <a:pt x="693" y="761"/>
                  </a:lnTo>
                  <a:lnTo>
                    <a:pt x="685" y="768"/>
                  </a:lnTo>
                  <a:lnTo>
                    <a:pt x="685" y="768"/>
                  </a:lnTo>
                  <a:lnTo>
                    <a:pt x="663" y="782"/>
                  </a:lnTo>
                  <a:lnTo>
                    <a:pt x="642" y="796"/>
                  </a:lnTo>
                  <a:lnTo>
                    <a:pt x="623" y="808"/>
                  </a:lnTo>
                  <a:lnTo>
                    <a:pt x="616" y="815"/>
                  </a:lnTo>
                  <a:lnTo>
                    <a:pt x="611" y="822"/>
                  </a:lnTo>
                  <a:lnTo>
                    <a:pt x="611" y="822"/>
                  </a:lnTo>
                  <a:lnTo>
                    <a:pt x="605" y="835"/>
                  </a:lnTo>
                  <a:lnTo>
                    <a:pt x="602" y="843"/>
                  </a:lnTo>
                  <a:lnTo>
                    <a:pt x="598" y="849"/>
                  </a:lnTo>
                  <a:lnTo>
                    <a:pt x="588" y="854"/>
                  </a:lnTo>
                  <a:lnTo>
                    <a:pt x="588" y="854"/>
                  </a:lnTo>
                  <a:lnTo>
                    <a:pt x="572" y="859"/>
                  </a:lnTo>
                  <a:lnTo>
                    <a:pt x="558" y="866"/>
                  </a:lnTo>
                  <a:lnTo>
                    <a:pt x="551" y="870"/>
                  </a:lnTo>
                  <a:lnTo>
                    <a:pt x="544" y="875"/>
                  </a:lnTo>
                  <a:lnTo>
                    <a:pt x="537" y="884"/>
                  </a:lnTo>
                  <a:lnTo>
                    <a:pt x="528" y="893"/>
                  </a:lnTo>
                  <a:lnTo>
                    <a:pt x="528" y="893"/>
                  </a:lnTo>
                  <a:lnTo>
                    <a:pt x="519" y="909"/>
                  </a:lnTo>
                  <a:lnTo>
                    <a:pt x="507" y="928"/>
                  </a:lnTo>
                  <a:lnTo>
                    <a:pt x="494" y="951"/>
                  </a:lnTo>
                  <a:lnTo>
                    <a:pt x="482" y="977"/>
                  </a:lnTo>
                  <a:lnTo>
                    <a:pt x="471" y="1002"/>
                  </a:lnTo>
                  <a:lnTo>
                    <a:pt x="464" y="1027"/>
                  </a:lnTo>
                  <a:lnTo>
                    <a:pt x="461" y="1048"/>
                  </a:lnTo>
                  <a:lnTo>
                    <a:pt x="459" y="1056"/>
                  </a:lnTo>
                  <a:lnTo>
                    <a:pt x="461" y="1064"/>
                  </a:lnTo>
                  <a:lnTo>
                    <a:pt x="461" y="10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1" name="Freeform 17">
              <a:extLst>
                <a:ext uri="{FF2B5EF4-FFF2-40B4-BE49-F238E27FC236}">
                  <a16:creationId xmlns:a16="http://schemas.microsoft.com/office/drawing/2014/main" id="{402FBA34-530F-4CDC-A53E-32669694D13F}"/>
                </a:ext>
              </a:extLst>
            </p:cNvPr>
            <p:cNvSpPr>
              <a:spLocks/>
            </p:cNvSpPr>
            <p:nvPr/>
          </p:nvSpPr>
          <p:spPr bwMode="auto">
            <a:xfrm>
              <a:off x="3022952" y="3698489"/>
              <a:ext cx="248053" cy="265900"/>
            </a:xfrm>
            <a:custGeom>
              <a:avLst/>
              <a:gdLst/>
              <a:ahLst/>
              <a:cxnLst>
                <a:cxn ang="0">
                  <a:pos x="267" y="294"/>
                </a:cxn>
                <a:cxn ang="0">
                  <a:pos x="269" y="259"/>
                </a:cxn>
                <a:cxn ang="0">
                  <a:pos x="271" y="251"/>
                </a:cxn>
                <a:cxn ang="0">
                  <a:pos x="273" y="236"/>
                </a:cxn>
                <a:cxn ang="0">
                  <a:pos x="276" y="218"/>
                </a:cxn>
                <a:cxn ang="0">
                  <a:pos x="276" y="199"/>
                </a:cxn>
                <a:cxn ang="0">
                  <a:pos x="274" y="193"/>
                </a:cxn>
                <a:cxn ang="0">
                  <a:pos x="269" y="179"/>
                </a:cxn>
                <a:cxn ang="0">
                  <a:pos x="258" y="170"/>
                </a:cxn>
                <a:cxn ang="0">
                  <a:pos x="209" y="133"/>
                </a:cxn>
                <a:cxn ang="0">
                  <a:pos x="199" y="114"/>
                </a:cxn>
                <a:cxn ang="0">
                  <a:pos x="195" y="104"/>
                </a:cxn>
                <a:cxn ang="0">
                  <a:pos x="197" y="70"/>
                </a:cxn>
                <a:cxn ang="0">
                  <a:pos x="199" y="49"/>
                </a:cxn>
                <a:cxn ang="0">
                  <a:pos x="174" y="58"/>
                </a:cxn>
                <a:cxn ang="0">
                  <a:pos x="167" y="58"/>
                </a:cxn>
                <a:cxn ang="0">
                  <a:pos x="151" y="47"/>
                </a:cxn>
                <a:cxn ang="0">
                  <a:pos x="135" y="31"/>
                </a:cxn>
                <a:cxn ang="0">
                  <a:pos x="128" y="14"/>
                </a:cxn>
                <a:cxn ang="0">
                  <a:pos x="123" y="1"/>
                </a:cxn>
                <a:cxn ang="0">
                  <a:pos x="116" y="0"/>
                </a:cxn>
                <a:cxn ang="0">
                  <a:pos x="103" y="1"/>
                </a:cxn>
                <a:cxn ang="0">
                  <a:pos x="77" y="23"/>
                </a:cxn>
                <a:cxn ang="0">
                  <a:pos x="68" y="38"/>
                </a:cxn>
                <a:cxn ang="0">
                  <a:pos x="54" y="56"/>
                </a:cxn>
                <a:cxn ang="0">
                  <a:pos x="47" y="63"/>
                </a:cxn>
                <a:cxn ang="0">
                  <a:pos x="31" y="79"/>
                </a:cxn>
                <a:cxn ang="0">
                  <a:pos x="24" y="84"/>
                </a:cxn>
                <a:cxn ang="0">
                  <a:pos x="15" y="93"/>
                </a:cxn>
                <a:cxn ang="0">
                  <a:pos x="5" y="96"/>
                </a:cxn>
                <a:cxn ang="0">
                  <a:pos x="0" y="98"/>
                </a:cxn>
                <a:cxn ang="0">
                  <a:pos x="0" y="100"/>
                </a:cxn>
                <a:cxn ang="0">
                  <a:pos x="12" y="105"/>
                </a:cxn>
                <a:cxn ang="0">
                  <a:pos x="22" y="109"/>
                </a:cxn>
                <a:cxn ang="0">
                  <a:pos x="35" y="111"/>
                </a:cxn>
                <a:cxn ang="0">
                  <a:pos x="51" y="114"/>
                </a:cxn>
                <a:cxn ang="0">
                  <a:pos x="56" y="128"/>
                </a:cxn>
                <a:cxn ang="0">
                  <a:pos x="58" y="135"/>
                </a:cxn>
                <a:cxn ang="0">
                  <a:pos x="66" y="148"/>
                </a:cxn>
                <a:cxn ang="0">
                  <a:pos x="81" y="162"/>
                </a:cxn>
                <a:cxn ang="0">
                  <a:pos x="112" y="186"/>
                </a:cxn>
                <a:cxn ang="0">
                  <a:pos x="123" y="197"/>
                </a:cxn>
                <a:cxn ang="0">
                  <a:pos x="156" y="230"/>
                </a:cxn>
                <a:cxn ang="0">
                  <a:pos x="193" y="262"/>
                </a:cxn>
                <a:cxn ang="0">
                  <a:pos x="230" y="290"/>
                </a:cxn>
                <a:cxn ang="0">
                  <a:pos x="237" y="296"/>
                </a:cxn>
                <a:cxn ang="0">
                  <a:pos x="262" y="297"/>
                </a:cxn>
                <a:cxn ang="0">
                  <a:pos x="267" y="294"/>
                </a:cxn>
              </a:cxnLst>
              <a:rect l="0" t="0" r="r" b="b"/>
              <a:pathLst>
                <a:path w="278" h="297">
                  <a:moveTo>
                    <a:pt x="267" y="294"/>
                  </a:moveTo>
                  <a:lnTo>
                    <a:pt x="267" y="294"/>
                  </a:lnTo>
                  <a:lnTo>
                    <a:pt x="269" y="280"/>
                  </a:lnTo>
                  <a:lnTo>
                    <a:pt x="269" y="259"/>
                  </a:lnTo>
                  <a:lnTo>
                    <a:pt x="269" y="259"/>
                  </a:lnTo>
                  <a:lnTo>
                    <a:pt x="271" y="251"/>
                  </a:lnTo>
                  <a:lnTo>
                    <a:pt x="271" y="246"/>
                  </a:lnTo>
                  <a:lnTo>
                    <a:pt x="273" y="236"/>
                  </a:lnTo>
                  <a:lnTo>
                    <a:pt x="273" y="236"/>
                  </a:lnTo>
                  <a:lnTo>
                    <a:pt x="276" y="218"/>
                  </a:lnTo>
                  <a:lnTo>
                    <a:pt x="278" y="207"/>
                  </a:lnTo>
                  <a:lnTo>
                    <a:pt x="276" y="199"/>
                  </a:lnTo>
                  <a:lnTo>
                    <a:pt x="276" y="199"/>
                  </a:lnTo>
                  <a:lnTo>
                    <a:pt x="274" y="193"/>
                  </a:lnTo>
                  <a:lnTo>
                    <a:pt x="274" y="186"/>
                  </a:lnTo>
                  <a:lnTo>
                    <a:pt x="269" y="179"/>
                  </a:lnTo>
                  <a:lnTo>
                    <a:pt x="258" y="170"/>
                  </a:lnTo>
                  <a:lnTo>
                    <a:pt x="258" y="170"/>
                  </a:lnTo>
                  <a:lnTo>
                    <a:pt x="209" y="133"/>
                  </a:lnTo>
                  <a:lnTo>
                    <a:pt x="209" y="133"/>
                  </a:lnTo>
                  <a:lnTo>
                    <a:pt x="204" y="125"/>
                  </a:lnTo>
                  <a:lnTo>
                    <a:pt x="199" y="114"/>
                  </a:lnTo>
                  <a:lnTo>
                    <a:pt x="195" y="104"/>
                  </a:lnTo>
                  <a:lnTo>
                    <a:pt x="195" y="104"/>
                  </a:lnTo>
                  <a:lnTo>
                    <a:pt x="195" y="88"/>
                  </a:lnTo>
                  <a:lnTo>
                    <a:pt x="197" y="70"/>
                  </a:lnTo>
                  <a:lnTo>
                    <a:pt x="199" y="49"/>
                  </a:lnTo>
                  <a:lnTo>
                    <a:pt x="199" y="49"/>
                  </a:lnTo>
                  <a:lnTo>
                    <a:pt x="184" y="54"/>
                  </a:lnTo>
                  <a:lnTo>
                    <a:pt x="174" y="58"/>
                  </a:lnTo>
                  <a:lnTo>
                    <a:pt x="167" y="58"/>
                  </a:lnTo>
                  <a:lnTo>
                    <a:pt x="167" y="58"/>
                  </a:lnTo>
                  <a:lnTo>
                    <a:pt x="160" y="54"/>
                  </a:lnTo>
                  <a:lnTo>
                    <a:pt x="151" y="47"/>
                  </a:lnTo>
                  <a:lnTo>
                    <a:pt x="142" y="38"/>
                  </a:lnTo>
                  <a:lnTo>
                    <a:pt x="135" y="31"/>
                  </a:lnTo>
                  <a:lnTo>
                    <a:pt x="135" y="31"/>
                  </a:lnTo>
                  <a:lnTo>
                    <a:pt x="128" y="14"/>
                  </a:lnTo>
                  <a:lnTo>
                    <a:pt x="123" y="1"/>
                  </a:lnTo>
                  <a:lnTo>
                    <a:pt x="123" y="1"/>
                  </a:lnTo>
                  <a:lnTo>
                    <a:pt x="121" y="0"/>
                  </a:lnTo>
                  <a:lnTo>
                    <a:pt x="116" y="0"/>
                  </a:lnTo>
                  <a:lnTo>
                    <a:pt x="109" y="0"/>
                  </a:lnTo>
                  <a:lnTo>
                    <a:pt x="103" y="1"/>
                  </a:lnTo>
                  <a:lnTo>
                    <a:pt x="103" y="1"/>
                  </a:lnTo>
                  <a:lnTo>
                    <a:pt x="77" y="23"/>
                  </a:lnTo>
                  <a:lnTo>
                    <a:pt x="77" y="23"/>
                  </a:lnTo>
                  <a:lnTo>
                    <a:pt x="68" y="38"/>
                  </a:lnTo>
                  <a:lnTo>
                    <a:pt x="61" y="49"/>
                  </a:lnTo>
                  <a:lnTo>
                    <a:pt x="54" y="56"/>
                  </a:lnTo>
                  <a:lnTo>
                    <a:pt x="54" y="56"/>
                  </a:lnTo>
                  <a:lnTo>
                    <a:pt x="47" y="63"/>
                  </a:lnTo>
                  <a:lnTo>
                    <a:pt x="38" y="70"/>
                  </a:lnTo>
                  <a:lnTo>
                    <a:pt x="31" y="79"/>
                  </a:lnTo>
                  <a:lnTo>
                    <a:pt x="24" y="84"/>
                  </a:lnTo>
                  <a:lnTo>
                    <a:pt x="24" y="84"/>
                  </a:lnTo>
                  <a:lnTo>
                    <a:pt x="21" y="88"/>
                  </a:lnTo>
                  <a:lnTo>
                    <a:pt x="15" y="93"/>
                  </a:lnTo>
                  <a:lnTo>
                    <a:pt x="12" y="96"/>
                  </a:lnTo>
                  <a:lnTo>
                    <a:pt x="5" y="96"/>
                  </a:lnTo>
                  <a:lnTo>
                    <a:pt x="5" y="96"/>
                  </a:lnTo>
                  <a:lnTo>
                    <a:pt x="0" y="98"/>
                  </a:lnTo>
                  <a:lnTo>
                    <a:pt x="0" y="98"/>
                  </a:lnTo>
                  <a:lnTo>
                    <a:pt x="0" y="100"/>
                  </a:lnTo>
                  <a:lnTo>
                    <a:pt x="12" y="105"/>
                  </a:lnTo>
                  <a:lnTo>
                    <a:pt x="12" y="105"/>
                  </a:lnTo>
                  <a:lnTo>
                    <a:pt x="17" y="109"/>
                  </a:lnTo>
                  <a:lnTo>
                    <a:pt x="22" y="109"/>
                  </a:lnTo>
                  <a:lnTo>
                    <a:pt x="35" y="111"/>
                  </a:lnTo>
                  <a:lnTo>
                    <a:pt x="35" y="111"/>
                  </a:lnTo>
                  <a:lnTo>
                    <a:pt x="44" y="111"/>
                  </a:lnTo>
                  <a:lnTo>
                    <a:pt x="51" y="114"/>
                  </a:lnTo>
                  <a:lnTo>
                    <a:pt x="54" y="119"/>
                  </a:lnTo>
                  <a:lnTo>
                    <a:pt x="56" y="128"/>
                  </a:lnTo>
                  <a:lnTo>
                    <a:pt x="56" y="128"/>
                  </a:lnTo>
                  <a:lnTo>
                    <a:pt x="58" y="135"/>
                  </a:lnTo>
                  <a:lnTo>
                    <a:pt x="59" y="141"/>
                  </a:lnTo>
                  <a:lnTo>
                    <a:pt x="66" y="148"/>
                  </a:lnTo>
                  <a:lnTo>
                    <a:pt x="81" y="162"/>
                  </a:lnTo>
                  <a:lnTo>
                    <a:pt x="81" y="162"/>
                  </a:lnTo>
                  <a:lnTo>
                    <a:pt x="102" y="178"/>
                  </a:lnTo>
                  <a:lnTo>
                    <a:pt x="112" y="186"/>
                  </a:lnTo>
                  <a:lnTo>
                    <a:pt x="123" y="197"/>
                  </a:lnTo>
                  <a:lnTo>
                    <a:pt x="123" y="197"/>
                  </a:lnTo>
                  <a:lnTo>
                    <a:pt x="137" y="211"/>
                  </a:lnTo>
                  <a:lnTo>
                    <a:pt x="156" y="230"/>
                  </a:lnTo>
                  <a:lnTo>
                    <a:pt x="193" y="262"/>
                  </a:lnTo>
                  <a:lnTo>
                    <a:pt x="193" y="262"/>
                  </a:lnTo>
                  <a:lnTo>
                    <a:pt x="218" y="281"/>
                  </a:lnTo>
                  <a:lnTo>
                    <a:pt x="230" y="290"/>
                  </a:lnTo>
                  <a:lnTo>
                    <a:pt x="237" y="296"/>
                  </a:lnTo>
                  <a:lnTo>
                    <a:pt x="237" y="296"/>
                  </a:lnTo>
                  <a:lnTo>
                    <a:pt x="253" y="297"/>
                  </a:lnTo>
                  <a:lnTo>
                    <a:pt x="262" y="297"/>
                  </a:lnTo>
                  <a:lnTo>
                    <a:pt x="265" y="296"/>
                  </a:lnTo>
                  <a:lnTo>
                    <a:pt x="267" y="294"/>
                  </a:lnTo>
                  <a:lnTo>
                    <a:pt x="267" y="29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2" name="Freeform 18">
              <a:extLst>
                <a:ext uri="{FF2B5EF4-FFF2-40B4-BE49-F238E27FC236}">
                  <a16:creationId xmlns:a16="http://schemas.microsoft.com/office/drawing/2014/main" id="{18DAFCB5-FF87-4107-9B46-8F74A3D19595}"/>
                </a:ext>
              </a:extLst>
            </p:cNvPr>
            <p:cNvSpPr>
              <a:spLocks/>
            </p:cNvSpPr>
            <p:nvPr/>
          </p:nvSpPr>
          <p:spPr bwMode="auto">
            <a:xfrm>
              <a:off x="3197839" y="3568217"/>
              <a:ext cx="378326" cy="392602"/>
            </a:xfrm>
            <a:custGeom>
              <a:avLst/>
              <a:gdLst/>
              <a:ahLst/>
              <a:cxnLst>
                <a:cxn ang="0">
                  <a:pos x="211" y="7"/>
                </a:cxn>
                <a:cxn ang="0">
                  <a:pos x="213" y="0"/>
                </a:cxn>
                <a:cxn ang="0">
                  <a:pos x="218" y="0"/>
                </a:cxn>
                <a:cxn ang="0">
                  <a:pos x="231" y="2"/>
                </a:cxn>
                <a:cxn ang="0">
                  <a:pos x="255" y="30"/>
                </a:cxn>
                <a:cxn ang="0">
                  <a:pos x="273" y="44"/>
                </a:cxn>
                <a:cxn ang="0">
                  <a:pos x="296" y="48"/>
                </a:cxn>
                <a:cxn ang="0">
                  <a:pos x="324" y="43"/>
                </a:cxn>
                <a:cxn ang="0">
                  <a:pos x="384" y="37"/>
                </a:cxn>
                <a:cxn ang="0">
                  <a:pos x="393" y="44"/>
                </a:cxn>
                <a:cxn ang="0">
                  <a:pos x="403" y="67"/>
                </a:cxn>
                <a:cxn ang="0">
                  <a:pos x="421" y="103"/>
                </a:cxn>
                <a:cxn ang="0">
                  <a:pos x="422" y="111"/>
                </a:cxn>
                <a:cxn ang="0">
                  <a:pos x="415" y="136"/>
                </a:cxn>
                <a:cxn ang="0">
                  <a:pos x="377" y="215"/>
                </a:cxn>
                <a:cxn ang="0">
                  <a:pos x="370" y="229"/>
                </a:cxn>
                <a:cxn ang="0">
                  <a:pos x="378" y="259"/>
                </a:cxn>
                <a:cxn ang="0">
                  <a:pos x="393" y="300"/>
                </a:cxn>
                <a:cxn ang="0">
                  <a:pos x="403" y="351"/>
                </a:cxn>
                <a:cxn ang="0">
                  <a:pos x="405" y="376"/>
                </a:cxn>
                <a:cxn ang="0">
                  <a:pos x="343" y="363"/>
                </a:cxn>
                <a:cxn ang="0">
                  <a:pos x="312" y="365"/>
                </a:cxn>
                <a:cxn ang="0">
                  <a:pos x="273" y="374"/>
                </a:cxn>
                <a:cxn ang="0">
                  <a:pos x="160" y="407"/>
                </a:cxn>
                <a:cxn ang="0">
                  <a:pos x="70" y="441"/>
                </a:cxn>
                <a:cxn ang="0">
                  <a:pos x="77" y="379"/>
                </a:cxn>
                <a:cxn ang="0">
                  <a:pos x="81" y="349"/>
                </a:cxn>
                <a:cxn ang="0">
                  <a:pos x="76" y="332"/>
                </a:cxn>
                <a:cxn ang="0">
                  <a:pos x="53" y="310"/>
                </a:cxn>
                <a:cxn ang="0">
                  <a:pos x="16" y="280"/>
                </a:cxn>
                <a:cxn ang="0">
                  <a:pos x="2" y="266"/>
                </a:cxn>
                <a:cxn ang="0">
                  <a:pos x="0" y="228"/>
                </a:cxn>
                <a:cxn ang="0">
                  <a:pos x="5" y="194"/>
                </a:cxn>
                <a:cxn ang="0">
                  <a:pos x="23" y="175"/>
                </a:cxn>
                <a:cxn ang="0">
                  <a:pos x="33" y="154"/>
                </a:cxn>
                <a:cxn ang="0">
                  <a:pos x="47" y="108"/>
                </a:cxn>
                <a:cxn ang="0">
                  <a:pos x="42" y="76"/>
                </a:cxn>
                <a:cxn ang="0">
                  <a:pos x="40" y="43"/>
                </a:cxn>
                <a:cxn ang="0">
                  <a:pos x="33" y="6"/>
                </a:cxn>
                <a:cxn ang="0">
                  <a:pos x="79" y="2"/>
                </a:cxn>
                <a:cxn ang="0">
                  <a:pos x="130" y="7"/>
                </a:cxn>
                <a:cxn ang="0">
                  <a:pos x="169" y="13"/>
                </a:cxn>
              </a:cxnLst>
              <a:rect l="0" t="0" r="r" b="b"/>
              <a:pathLst>
                <a:path w="422" h="441">
                  <a:moveTo>
                    <a:pt x="213" y="15"/>
                  </a:moveTo>
                  <a:lnTo>
                    <a:pt x="213" y="15"/>
                  </a:lnTo>
                  <a:lnTo>
                    <a:pt x="211" y="7"/>
                  </a:lnTo>
                  <a:lnTo>
                    <a:pt x="211" y="2"/>
                  </a:lnTo>
                  <a:lnTo>
                    <a:pt x="211" y="2"/>
                  </a:lnTo>
                  <a:lnTo>
                    <a:pt x="213" y="0"/>
                  </a:lnTo>
                  <a:lnTo>
                    <a:pt x="213" y="0"/>
                  </a:lnTo>
                  <a:lnTo>
                    <a:pt x="215" y="0"/>
                  </a:lnTo>
                  <a:lnTo>
                    <a:pt x="218" y="0"/>
                  </a:lnTo>
                  <a:lnTo>
                    <a:pt x="223" y="0"/>
                  </a:lnTo>
                  <a:lnTo>
                    <a:pt x="231" y="2"/>
                  </a:lnTo>
                  <a:lnTo>
                    <a:pt x="231" y="2"/>
                  </a:lnTo>
                  <a:lnTo>
                    <a:pt x="239" y="9"/>
                  </a:lnTo>
                  <a:lnTo>
                    <a:pt x="246" y="16"/>
                  </a:lnTo>
                  <a:lnTo>
                    <a:pt x="255" y="30"/>
                  </a:lnTo>
                  <a:lnTo>
                    <a:pt x="255" y="30"/>
                  </a:lnTo>
                  <a:lnTo>
                    <a:pt x="260" y="37"/>
                  </a:lnTo>
                  <a:lnTo>
                    <a:pt x="273" y="44"/>
                  </a:lnTo>
                  <a:lnTo>
                    <a:pt x="280" y="46"/>
                  </a:lnTo>
                  <a:lnTo>
                    <a:pt x="287" y="48"/>
                  </a:lnTo>
                  <a:lnTo>
                    <a:pt x="296" y="48"/>
                  </a:lnTo>
                  <a:lnTo>
                    <a:pt x="304" y="48"/>
                  </a:lnTo>
                  <a:lnTo>
                    <a:pt x="304" y="48"/>
                  </a:lnTo>
                  <a:lnTo>
                    <a:pt x="324" y="43"/>
                  </a:lnTo>
                  <a:lnTo>
                    <a:pt x="348" y="41"/>
                  </a:lnTo>
                  <a:lnTo>
                    <a:pt x="384" y="37"/>
                  </a:lnTo>
                  <a:lnTo>
                    <a:pt x="384" y="37"/>
                  </a:lnTo>
                  <a:lnTo>
                    <a:pt x="385" y="37"/>
                  </a:lnTo>
                  <a:lnTo>
                    <a:pt x="389" y="39"/>
                  </a:lnTo>
                  <a:lnTo>
                    <a:pt x="393" y="44"/>
                  </a:lnTo>
                  <a:lnTo>
                    <a:pt x="398" y="53"/>
                  </a:lnTo>
                  <a:lnTo>
                    <a:pt x="403" y="67"/>
                  </a:lnTo>
                  <a:lnTo>
                    <a:pt x="403" y="67"/>
                  </a:lnTo>
                  <a:lnTo>
                    <a:pt x="408" y="80"/>
                  </a:lnTo>
                  <a:lnTo>
                    <a:pt x="415" y="92"/>
                  </a:lnTo>
                  <a:lnTo>
                    <a:pt x="421" y="103"/>
                  </a:lnTo>
                  <a:lnTo>
                    <a:pt x="422" y="106"/>
                  </a:lnTo>
                  <a:lnTo>
                    <a:pt x="422" y="111"/>
                  </a:lnTo>
                  <a:lnTo>
                    <a:pt x="422" y="111"/>
                  </a:lnTo>
                  <a:lnTo>
                    <a:pt x="422" y="115"/>
                  </a:lnTo>
                  <a:lnTo>
                    <a:pt x="422" y="117"/>
                  </a:lnTo>
                  <a:lnTo>
                    <a:pt x="415" y="136"/>
                  </a:lnTo>
                  <a:lnTo>
                    <a:pt x="415" y="136"/>
                  </a:lnTo>
                  <a:lnTo>
                    <a:pt x="394" y="182"/>
                  </a:lnTo>
                  <a:lnTo>
                    <a:pt x="377" y="215"/>
                  </a:lnTo>
                  <a:lnTo>
                    <a:pt x="377" y="215"/>
                  </a:lnTo>
                  <a:lnTo>
                    <a:pt x="373" y="222"/>
                  </a:lnTo>
                  <a:lnTo>
                    <a:pt x="370" y="229"/>
                  </a:lnTo>
                  <a:lnTo>
                    <a:pt x="370" y="235"/>
                  </a:lnTo>
                  <a:lnTo>
                    <a:pt x="371" y="240"/>
                  </a:lnTo>
                  <a:lnTo>
                    <a:pt x="378" y="259"/>
                  </a:lnTo>
                  <a:lnTo>
                    <a:pt x="378" y="259"/>
                  </a:lnTo>
                  <a:lnTo>
                    <a:pt x="387" y="282"/>
                  </a:lnTo>
                  <a:lnTo>
                    <a:pt x="393" y="300"/>
                  </a:lnTo>
                  <a:lnTo>
                    <a:pt x="401" y="333"/>
                  </a:lnTo>
                  <a:lnTo>
                    <a:pt x="401" y="333"/>
                  </a:lnTo>
                  <a:lnTo>
                    <a:pt x="403" y="351"/>
                  </a:lnTo>
                  <a:lnTo>
                    <a:pt x="405" y="363"/>
                  </a:lnTo>
                  <a:lnTo>
                    <a:pt x="405" y="376"/>
                  </a:lnTo>
                  <a:lnTo>
                    <a:pt x="405" y="376"/>
                  </a:lnTo>
                  <a:lnTo>
                    <a:pt x="380" y="369"/>
                  </a:lnTo>
                  <a:lnTo>
                    <a:pt x="359" y="365"/>
                  </a:lnTo>
                  <a:lnTo>
                    <a:pt x="343" y="363"/>
                  </a:lnTo>
                  <a:lnTo>
                    <a:pt x="343" y="363"/>
                  </a:lnTo>
                  <a:lnTo>
                    <a:pt x="329" y="363"/>
                  </a:lnTo>
                  <a:lnTo>
                    <a:pt x="312" y="365"/>
                  </a:lnTo>
                  <a:lnTo>
                    <a:pt x="292" y="369"/>
                  </a:lnTo>
                  <a:lnTo>
                    <a:pt x="273" y="374"/>
                  </a:lnTo>
                  <a:lnTo>
                    <a:pt x="273" y="374"/>
                  </a:lnTo>
                  <a:lnTo>
                    <a:pt x="213" y="390"/>
                  </a:lnTo>
                  <a:lnTo>
                    <a:pt x="179" y="400"/>
                  </a:lnTo>
                  <a:lnTo>
                    <a:pt x="160" y="407"/>
                  </a:lnTo>
                  <a:lnTo>
                    <a:pt x="160" y="407"/>
                  </a:lnTo>
                  <a:lnTo>
                    <a:pt x="113" y="427"/>
                  </a:lnTo>
                  <a:lnTo>
                    <a:pt x="70" y="441"/>
                  </a:lnTo>
                  <a:lnTo>
                    <a:pt x="72" y="398"/>
                  </a:lnTo>
                  <a:lnTo>
                    <a:pt x="72" y="398"/>
                  </a:lnTo>
                  <a:lnTo>
                    <a:pt x="77" y="379"/>
                  </a:lnTo>
                  <a:lnTo>
                    <a:pt x="77" y="379"/>
                  </a:lnTo>
                  <a:lnTo>
                    <a:pt x="79" y="365"/>
                  </a:lnTo>
                  <a:lnTo>
                    <a:pt x="81" y="349"/>
                  </a:lnTo>
                  <a:lnTo>
                    <a:pt x="81" y="349"/>
                  </a:lnTo>
                  <a:lnTo>
                    <a:pt x="79" y="342"/>
                  </a:lnTo>
                  <a:lnTo>
                    <a:pt x="76" y="332"/>
                  </a:lnTo>
                  <a:lnTo>
                    <a:pt x="76" y="332"/>
                  </a:lnTo>
                  <a:lnTo>
                    <a:pt x="68" y="325"/>
                  </a:lnTo>
                  <a:lnTo>
                    <a:pt x="53" y="310"/>
                  </a:lnTo>
                  <a:lnTo>
                    <a:pt x="28" y="291"/>
                  </a:lnTo>
                  <a:lnTo>
                    <a:pt x="28" y="291"/>
                  </a:lnTo>
                  <a:lnTo>
                    <a:pt x="16" y="280"/>
                  </a:lnTo>
                  <a:lnTo>
                    <a:pt x="7" y="273"/>
                  </a:lnTo>
                  <a:lnTo>
                    <a:pt x="2" y="266"/>
                  </a:lnTo>
                  <a:lnTo>
                    <a:pt x="2" y="266"/>
                  </a:lnTo>
                  <a:lnTo>
                    <a:pt x="0" y="259"/>
                  </a:lnTo>
                  <a:lnTo>
                    <a:pt x="0" y="251"/>
                  </a:lnTo>
                  <a:lnTo>
                    <a:pt x="0" y="228"/>
                  </a:lnTo>
                  <a:lnTo>
                    <a:pt x="2" y="196"/>
                  </a:lnTo>
                  <a:lnTo>
                    <a:pt x="2" y="196"/>
                  </a:lnTo>
                  <a:lnTo>
                    <a:pt x="5" y="194"/>
                  </a:lnTo>
                  <a:lnTo>
                    <a:pt x="12" y="187"/>
                  </a:lnTo>
                  <a:lnTo>
                    <a:pt x="17" y="182"/>
                  </a:lnTo>
                  <a:lnTo>
                    <a:pt x="23" y="175"/>
                  </a:lnTo>
                  <a:lnTo>
                    <a:pt x="28" y="166"/>
                  </a:lnTo>
                  <a:lnTo>
                    <a:pt x="33" y="154"/>
                  </a:lnTo>
                  <a:lnTo>
                    <a:pt x="33" y="154"/>
                  </a:lnTo>
                  <a:lnTo>
                    <a:pt x="40" y="133"/>
                  </a:lnTo>
                  <a:lnTo>
                    <a:pt x="47" y="108"/>
                  </a:lnTo>
                  <a:lnTo>
                    <a:pt x="47" y="108"/>
                  </a:lnTo>
                  <a:lnTo>
                    <a:pt x="46" y="96"/>
                  </a:lnTo>
                  <a:lnTo>
                    <a:pt x="42" y="76"/>
                  </a:lnTo>
                  <a:lnTo>
                    <a:pt x="42" y="76"/>
                  </a:lnTo>
                  <a:lnTo>
                    <a:pt x="40" y="59"/>
                  </a:lnTo>
                  <a:lnTo>
                    <a:pt x="40" y="43"/>
                  </a:lnTo>
                  <a:lnTo>
                    <a:pt x="40" y="43"/>
                  </a:lnTo>
                  <a:lnTo>
                    <a:pt x="39" y="34"/>
                  </a:lnTo>
                  <a:lnTo>
                    <a:pt x="37" y="22"/>
                  </a:lnTo>
                  <a:lnTo>
                    <a:pt x="33" y="6"/>
                  </a:lnTo>
                  <a:lnTo>
                    <a:pt x="33" y="6"/>
                  </a:lnTo>
                  <a:lnTo>
                    <a:pt x="60" y="4"/>
                  </a:lnTo>
                  <a:lnTo>
                    <a:pt x="79" y="2"/>
                  </a:lnTo>
                  <a:lnTo>
                    <a:pt x="95" y="0"/>
                  </a:lnTo>
                  <a:lnTo>
                    <a:pt x="95" y="0"/>
                  </a:lnTo>
                  <a:lnTo>
                    <a:pt x="130" y="7"/>
                  </a:lnTo>
                  <a:lnTo>
                    <a:pt x="151" y="11"/>
                  </a:lnTo>
                  <a:lnTo>
                    <a:pt x="169" y="13"/>
                  </a:lnTo>
                  <a:lnTo>
                    <a:pt x="169" y="13"/>
                  </a:lnTo>
                  <a:lnTo>
                    <a:pt x="213" y="15"/>
                  </a:lnTo>
                  <a:lnTo>
                    <a:pt x="213" y="1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3" name="Freeform 19">
              <a:extLst>
                <a:ext uri="{FF2B5EF4-FFF2-40B4-BE49-F238E27FC236}">
                  <a16:creationId xmlns:a16="http://schemas.microsoft.com/office/drawing/2014/main" id="{E527D29E-6D4A-4DD4-A278-DC4A8ED50CE7}"/>
                </a:ext>
              </a:extLst>
            </p:cNvPr>
            <p:cNvSpPr>
              <a:spLocks/>
            </p:cNvSpPr>
            <p:nvPr/>
          </p:nvSpPr>
          <p:spPr bwMode="auto">
            <a:xfrm>
              <a:off x="3388787" y="3275549"/>
              <a:ext cx="505029" cy="335497"/>
            </a:xfrm>
            <a:custGeom>
              <a:avLst/>
              <a:gdLst/>
              <a:ahLst/>
              <a:cxnLst>
                <a:cxn ang="0">
                  <a:pos x="567" y="211"/>
                </a:cxn>
                <a:cxn ang="0">
                  <a:pos x="560" y="246"/>
                </a:cxn>
                <a:cxn ang="0">
                  <a:pos x="551" y="253"/>
                </a:cxn>
                <a:cxn ang="0">
                  <a:pos x="505" y="253"/>
                </a:cxn>
                <a:cxn ang="0">
                  <a:pos x="479" y="260"/>
                </a:cxn>
                <a:cxn ang="0">
                  <a:pos x="449" y="280"/>
                </a:cxn>
                <a:cxn ang="0">
                  <a:pos x="442" y="287"/>
                </a:cxn>
                <a:cxn ang="0">
                  <a:pos x="428" y="292"/>
                </a:cxn>
                <a:cxn ang="0">
                  <a:pos x="359" y="278"/>
                </a:cxn>
                <a:cxn ang="0">
                  <a:pos x="303" y="271"/>
                </a:cxn>
                <a:cxn ang="0">
                  <a:pos x="215" y="276"/>
                </a:cxn>
                <a:cxn ang="0">
                  <a:pos x="201" y="283"/>
                </a:cxn>
                <a:cxn ang="0">
                  <a:pos x="180" y="315"/>
                </a:cxn>
                <a:cxn ang="0">
                  <a:pos x="178" y="356"/>
                </a:cxn>
                <a:cxn ang="0">
                  <a:pos x="172" y="366"/>
                </a:cxn>
                <a:cxn ang="0">
                  <a:pos x="153" y="364"/>
                </a:cxn>
                <a:cxn ang="0">
                  <a:pos x="100" y="371"/>
                </a:cxn>
                <a:cxn ang="0">
                  <a:pos x="77" y="375"/>
                </a:cxn>
                <a:cxn ang="0">
                  <a:pos x="62" y="371"/>
                </a:cxn>
                <a:cxn ang="0">
                  <a:pos x="40" y="354"/>
                </a:cxn>
                <a:cxn ang="0">
                  <a:pos x="23" y="334"/>
                </a:cxn>
                <a:cxn ang="0">
                  <a:pos x="7" y="327"/>
                </a:cxn>
                <a:cxn ang="0">
                  <a:pos x="2" y="317"/>
                </a:cxn>
                <a:cxn ang="0">
                  <a:pos x="23" y="248"/>
                </a:cxn>
                <a:cxn ang="0">
                  <a:pos x="44" y="209"/>
                </a:cxn>
                <a:cxn ang="0">
                  <a:pos x="83" y="153"/>
                </a:cxn>
                <a:cxn ang="0">
                  <a:pos x="114" y="134"/>
                </a:cxn>
                <a:cxn ang="0">
                  <a:pos x="141" y="120"/>
                </a:cxn>
                <a:cxn ang="0">
                  <a:pos x="150" y="100"/>
                </a:cxn>
                <a:cxn ang="0">
                  <a:pos x="178" y="76"/>
                </a:cxn>
                <a:cxn ang="0">
                  <a:pos x="225" y="46"/>
                </a:cxn>
                <a:cxn ang="0">
                  <a:pos x="250" y="30"/>
                </a:cxn>
                <a:cxn ang="0">
                  <a:pos x="336" y="0"/>
                </a:cxn>
                <a:cxn ang="0">
                  <a:pos x="377" y="2"/>
                </a:cxn>
                <a:cxn ang="0">
                  <a:pos x="401" y="10"/>
                </a:cxn>
                <a:cxn ang="0">
                  <a:pos x="398" y="14"/>
                </a:cxn>
                <a:cxn ang="0">
                  <a:pos x="398" y="30"/>
                </a:cxn>
                <a:cxn ang="0">
                  <a:pos x="412" y="60"/>
                </a:cxn>
                <a:cxn ang="0">
                  <a:pos x="444" y="100"/>
                </a:cxn>
                <a:cxn ang="0">
                  <a:pos x="456" y="113"/>
                </a:cxn>
                <a:cxn ang="0">
                  <a:pos x="465" y="128"/>
                </a:cxn>
                <a:cxn ang="0">
                  <a:pos x="495" y="158"/>
                </a:cxn>
                <a:cxn ang="0">
                  <a:pos x="528" y="172"/>
                </a:cxn>
                <a:cxn ang="0">
                  <a:pos x="565" y="201"/>
                </a:cxn>
              </a:cxnLst>
              <a:rect l="0" t="0" r="r" b="b"/>
              <a:pathLst>
                <a:path w="567" h="375">
                  <a:moveTo>
                    <a:pt x="567" y="204"/>
                  </a:moveTo>
                  <a:lnTo>
                    <a:pt x="567" y="204"/>
                  </a:lnTo>
                  <a:lnTo>
                    <a:pt x="567" y="211"/>
                  </a:lnTo>
                  <a:lnTo>
                    <a:pt x="565" y="229"/>
                  </a:lnTo>
                  <a:lnTo>
                    <a:pt x="563" y="238"/>
                  </a:lnTo>
                  <a:lnTo>
                    <a:pt x="560" y="246"/>
                  </a:lnTo>
                  <a:lnTo>
                    <a:pt x="556" y="252"/>
                  </a:lnTo>
                  <a:lnTo>
                    <a:pt x="553" y="253"/>
                  </a:lnTo>
                  <a:lnTo>
                    <a:pt x="551" y="253"/>
                  </a:lnTo>
                  <a:lnTo>
                    <a:pt x="551" y="253"/>
                  </a:lnTo>
                  <a:lnTo>
                    <a:pt x="519" y="253"/>
                  </a:lnTo>
                  <a:lnTo>
                    <a:pt x="505" y="253"/>
                  </a:lnTo>
                  <a:lnTo>
                    <a:pt x="491" y="255"/>
                  </a:lnTo>
                  <a:lnTo>
                    <a:pt x="491" y="255"/>
                  </a:lnTo>
                  <a:lnTo>
                    <a:pt x="479" y="260"/>
                  </a:lnTo>
                  <a:lnTo>
                    <a:pt x="468" y="266"/>
                  </a:lnTo>
                  <a:lnTo>
                    <a:pt x="458" y="275"/>
                  </a:lnTo>
                  <a:lnTo>
                    <a:pt x="449" y="280"/>
                  </a:lnTo>
                  <a:lnTo>
                    <a:pt x="449" y="280"/>
                  </a:lnTo>
                  <a:lnTo>
                    <a:pt x="444" y="283"/>
                  </a:lnTo>
                  <a:lnTo>
                    <a:pt x="442" y="287"/>
                  </a:lnTo>
                  <a:lnTo>
                    <a:pt x="437" y="290"/>
                  </a:lnTo>
                  <a:lnTo>
                    <a:pt x="433" y="292"/>
                  </a:lnTo>
                  <a:lnTo>
                    <a:pt x="428" y="292"/>
                  </a:lnTo>
                  <a:lnTo>
                    <a:pt x="410" y="289"/>
                  </a:lnTo>
                  <a:lnTo>
                    <a:pt x="410" y="289"/>
                  </a:lnTo>
                  <a:lnTo>
                    <a:pt x="359" y="278"/>
                  </a:lnTo>
                  <a:lnTo>
                    <a:pt x="333" y="275"/>
                  </a:lnTo>
                  <a:lnTo>
                    <a:pt x="303" y="271"/>
                  </a:lnTo>
                  <a:lnTo>
                    <a:pt x="303" y="271"/>
                  </a:lnTo>
                  <a:lnTo>
                    <a:pt x="269" y="271"/>
                  </a:lnTo>
                  <a:lnTo>
                    <a:pt x="239" y="273"/>
                  </a:lnTo>
                  <a:lnTo>
                    <a:pt x="215" y="276"/>
                  </a:lnTo>
                  <a:lnTo>
                    <a:pt x="206" y="280"/>
                  </a:lnTo>
                  <a:lnTo>
                    <a:pt x="201" y="283"/>
                  </a:lnTo>
                  <a:lnTo>
                    <a:pt x="201" y="283"/>
                  </a:lnTo>
                  <a:lnTo>
                    <a:pt x="190" y="294"/>
                  </a:lnTo>
                  <a:lnTo>
                    <a:pt x="183" y="305"/>
                  </a:lnTo>
                  <a:lnTo>
                    <a:pt x="180" y="315"/>
                  </a:lnTo>
                  <a:lnTo>
                    <a:pt x="178" y="327"/>
                  </a:lnTo>
                  <a:lnTo>
                    <a:pt x="178" y="327"/>
                  </a:lnTo>
                  <a:lnTo>
                    <a:pt x="178" y="356"/>
                  </a:lnTo>
                  <a:lnTo>
                    <a:pt x="180" y="368"/>
                  </a:lnTo>
                  <a:lnTo>
                    <a:pt x="180" y="368"/>
                  </a:lnTo>
                  <a:lnTo>
                    <a:pt x="172" y="366"/>
                  </a:lnTo>
                  <a:lnTo>
                    <a:pt x="165" y="364"/>
                  </a:lnTo>
                  <a:lnTo>
                    <a:pt x="153" y="364"/>
                  </a:lnTo>
                  <a:lnTo>
                    <a:pt x="153" y="364"/>
                  </a:lnTo>
                  <a:lnTo>
                    <a:pt x="123" y="368"/>
                  </a:lnTo>
                  <a:lnTo>
                    <a:pt x="109" y="370"/>
                  </a:lnTo>
                  <a:lnTo>
                    <a:pt x="100" y="371"/>
                  </a:lnTo>
                  <a:lnTo>
                    <a:pt x="100" y="371"/>
                  </a:lnTo>
                  <a:lnTo>
                    <a:pt x="86" y="375"/>
                  </a:lnTo>
                  <a:lnTo>
                    <a:pt x="77" y="375"/>
                  </a:lnTo>
                  <a:lnTo>
                    <a:pt x="70" y="373"/>
                  </a:lnTo>
                  <a:lnTo>
                    <a:pt x="70" y="373"/>
                  </a:lnTo>
                  <a:lnTo>
                    <a:pt x="62" y="371"/>
                  </a:lnTo>
                  <a:lnTo>
                    <a:pt x="54" y="366"/>
                  </a:lnTo>
                  <a:lnTo>
                    <a:pt x="46" y="361"/>
                  </a:lnTo>
                  <a:lnTo>
                    <a:pt x="40" y="354"/>
                  </a:lnTo>
                  <a:lnTo>
                    <a:pt x="40" y="354"/>
                  </a:lnTo>
                  <a:lnTo>
                    <a:pt x="32" y="345"/>
                  </a:lnTo>
                  <a:lnTo>
                    <a:pt x="23" y="334"/>
                  </a:lnTo>
                  <a:lnTo>
                    <a:pt x="18" y="331"/>
                  </a:lnTo>
                  <a:lnTo>
                    <a:pt x="12" y="327"/>
                  </a:lnTo>
                  <a:lnTo>
                    <a:pt x="7" y="327"/>
                  </a:lnTo>
                  <a:lnTo>
                    <a:pt x="0" y="327"/>
                  </a:lnTo>
                  <a:lnTo>
                    <a:pt x="0" y="327"/>
                  </a:lnTo>
                  <a:lnTo>
                    <a:pt x="2" y="317"/>
                  </a:lnTo>
                  <a:lnTo>
                    <a:pt x="10" y="287"/>
                  </a:lnTo>
                  <a:lnTo>
                    <a:pt x="16" y="268"/>
                  </a:lnTo>
                  <a:lnTo>
                    <a:pt x="23" y="248"/>
                  </a:lnTo>
                  <a:lnTo>
                    <a:pt x="32" y="229"/>
                  </a:lnTo>
                  <a:lnTo>
                    <a:pt x="44" y="209"/>
                  </a:lnTo>
                  <a:lnTo>
                    <a:pt x="44" y="209"/>
                  </a:lnTo>
                  <a:lnTo>
                    <a:pt x="62" y="181"/>
                  </a:lnTo>
                  <a:lnTo>
                    <a:pt x="76" y="160"/>
                  </a:lnTo>
                  <a:lnTo>
                    <a:pt x="83" y="153"/>
                  </a:lnTo>
                  <a:lnTo>
                    <a:pt x="91" y="146"/>
                  </a:lnTo>
                  <a:lnTo>
                    <a:pt x="102" y="141"/>
                  </a:lnTo>
                  <a:lnTo>
                    <a:pt x="114" y="134"/>
                  </a:lnTo>
                  <a:lnTo>
                    <a:pt x="114" y="134"/>
                  </a:lnTo>
                  <a:lnTo>
                    <a:pt x="134" y="125"/>
                  </a:lnTo>
                  <a:lnTo>
                    <a:pt x="141" y="120"/>
                  </a:lnTo>
                  <a:lnTo>
                    <a:pt x="144" y="114"/>
                  </a:lnTo>
                  <a:lnTo>
                    <a:pt x="150" y="100"/>
                  </a:lnTo>
                  <a:lnTo>
                    <a:pt x="150" y="100"/>
                  </a:lnTo>
                  <a:lnTo>
                    <a:pt x="151" y="98"/>
                  </a:lnTo>
                  <a:lnTo>
                    <a:pt x="160" y="90"/>
                  </a:lnTo>
                  <a:lnTo>
                    <a:pt x="178" y="76"/>
                  </a:lnTo>
                  <a:lnTo>
                    <a:pt x="208" y="56"/>
                  </a:lnTo>
                  <a:lnTo>
                    <a:pt x="208" y="56"/>
                  </a:lnTo>
                  <a:lnTo>
                    <a:pt x="225" y="46"/>
                  </a:lnTo>
                  <a:lnTo>
                    <a:pt x="239" y="37"/>
                  </a:lnTo>
                  <a:lnTo>
                    <a:pt x="250" y="30"/>
                  </a:lnTo>
                  <a:lnTo>
                    <a:pt x="250" y="30"/>
                  </a:lnTo>
                  <a:lnTo>
                    <a:pt x="294" y="16"/>
                  </a:lnTo>
                  <a:lnTo>
                    <a:pt x="336" y="0"/>
                  </a:lnTo>
                  <a:lnTo>
                    <a:pt x="336" y="0"/>
                  </a:lnTo>
                  <a:lnTo>
                    <a:pt x="345" y="0"/>
                  </a:lnTo>
                  <a:lnTo>
                    <a:pt x="361" y="0"/>
                  </a:lnTo>
                  <a:lnTo>
                    <a:pt x="377" y="2"/>
                  </a:lnTo>
                  <a:lnTo>
                    <a:pt x="389" y="5"/>
                  </a:lnTo>
                  <a:lnTo>
                    <a:pt x="389" y="5"/>
                  </a:lnTo>
                  <a:lnTo>
                    <a:pt x="401" y="10"/>
                  </a:lnTo>
                  <a:lnTo>
                    <a:pt x="401" y="10"/>
                  </a:lnTo>
                  <a:lnTo>
                    <a:pt x="400" y="12"/>
                  </a:lnTo>
                  <a:lnTo>
                    <a:pt x="398" y="14"/>
                  </a:lnTo>
                  <a:lnTo>
                    <a:pt x="396" y="17"/>
                  </a:lnTo>
                  <a:lnTo>
                    <a:pt x="396" y="23"/>
                  </a:lnTo>
                  <a:lnTo>
                    <a:pt x="398" y="30"/>
                  </a:lnTo>
                  <a:lnTo>
                    <a:pt x="403" y="39"/>
                  </a:lnTo>
                  <a:lnTo>
                    <a:pt x="403" y="39"/>
                  </a:lnTo>
                  <a:lnTo>
                    <a:pt x="412" y="60"/>
                  </a:lnTo>
                  <a:lnTo>
                    <a:pt x="424" y="79"/>
                  </a:lnTo>
                  <a:lnTo>
                    <a:pt x="435" y="93"/>
                  </a:lnTo>
                  <a:lnTo>
                    <a:pt x="444" y="100"/>
                  </a:lnTo>
                  <a:lnTo>
                    <a:pt x="444" y="100"/>
                  </a:lnTo>
                  <a:lnTo>
                    <a:pt x="449" y="105"/>
                  </a:lnTo>
                  <a:lnTo>
                    <a:pt x="456" y="113"/>
                  </a:lnTo>
                  <a:lnTo>
                    <a:pt x="460" y="120"/>
                  </a:lnTo>
                  <a:lnTo>
                    <a:pt x="465" y="128"/>
                  </a:lnTo>
                  <a:lnTo>
                    <a:pt x="465" y="128"/>
                  </a:lnTo>
                  <a:lnTo>
                    <a:pt x="470" y="137"/>
                  </a:lnTo>
                  <a:lnTo>
                    <a:pt x="481" y="148"/>
                  </a:lnTo>
                  <a:lnTo>
                    <a:pt x="495" y="158"/>
                  </a:lnTo>
                  <a:lnTo>
                    <a:pt x="511" y="164"/>
                  </a:lnTo>
                  <a:lnTo>
                    <a:pt x="511" y="164"/>
                  </a:lnTo>
                  <a:lnTo>
                    <a:pt x="528" y="172"/>
                  </a:lnTo>
                  <a:lnTo>
                    <a:pt x="548" y="185"/>
                  </a:lnTo>
                  <a:lnTo>
                    <a:pt x="562" y="195"/>
                  </a:lnTo>
                  <a:lnTo>
                    <a:pt x="565" y="201"/>
                  </a:lnTo>
                  <a:lnTo>
                    <a:pt x="567" y="204"/>
                  </a:lnTo>
                  <a:lnTo>
                    <a:pt x="567" y="2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4" name="Freeform 20">
              <a:extLst>
                <a:ext uri="{FF2B5EF4-FFF2-40B4-BE49-F238E27FC236}">
                  <a16:creationId xmlns:a16="http://schemas.microsoft.com/office/drawing/2014/main" id="{F9A55C60-D741-4741-983B-AE014CF0C7F9}"/>
                </a:ext>
              </a:extLst>
            </p:cNvPr>
            <p:cNvSpPr>
              <a:spLocks/>
            </p:cNvSpPr>
            <p:nvPr/>
          </p:nvSpPr>
          <p:spPr bwMode="auto">
            <a:xfrm>
              <a:off x="3756405" y="3525387"/>
              <a:ext cx="73166" cy="328358"/>
            </a:xfrm>
            <a:custGeom>
              <a:avLst/>
              <a:gdLst/>
              <a:ahLst/>
              <a:cxnLst>
                <a:cxn ang="0">
                  <a:pos x="83" y="352"/>
                </a:cxn>
                <a:cxn ang="0">
                  <a:pos x="83" y="352"/>
                </a:cxn>
                <a:cxn ang="0">
                  <a:pos x="62" y="359"/>
                </a:cxn>
                <a:cxn ang="0">
                  <a:pos x="44" y="363"/>
                </a:cxn>
                <a:cxn ang="0">
                  <a:pos x="30" y="366"/>
                </a:cxn>
                <a:cxn ang="0">
                  <a:pos x="30" y="366"/>
                </a:cxn>
                <a:cxn ang="0">
                  <a:pos x="23" y="350"/>
                </a:cxn>
                <a:cxn ang="0">
                  <a:pos x="18" y="335"/>
                </a:cxn>
                <a:cxn ang="0">
                  <a:pos x="16" y="327"/>
                </a:cxn>
                <a:cxn ang="0">
                  <a:pos x="16" y="317"/>
                </a:cxn>
                <a:cxn ang="0">
                  <a:pos x="16" y="317"/>
                </a:cxn>
                <a:cxn ang="0">
                  <a:pos x="18" y="243"/>
                </a:cxn>
                <a:cxn ang="0">
                  <a:pos x="18" y="243"/>
                </a:cxn>
                <a:cxn ang="0">
                  <a:pos x="18" y="217"/>
                </a:cxn>
                <a:cxn ang="0">
                  <a:pos x="19" y="201"/>
                </a:cxn>
                <a:cxn ang="0">
                  <a:pos x="19" y="181"/>
                </a:cxn>
                <a:cxn ang="0">
                  <a:pos x="19" y="181"/>
                </a:cxn>
                <a:cxn ang="0">
                  <a:pos x="16" y="162"/>
                </a:cxn>
                <a:cxn ang="0">
                  <a:pos x="12" y="141"/>
                </a:cxn>
                <a:cxn ang="0">
                  <a:pos x="7" y="121"/>
                </a:cxn>
                <a:cxn ang="0">
                  <a:pos x="5" y="102"/>
                </a:cxn>
                <a:cxn ang="0">
                  <a:pos x="5" y="102"/>
                </a:cxn>
                <a:cxn ang="0">
                  <a:pos x="0" y="28"/>
                </a:cxn>
                <a:cxn ang="0">
                  <a:pos x="0" y="28"/>
                </a:cxn>
                <a:cxn ang="0">
                  <a:pos x="2" y="10"/>
                </a:cxn>
                <a:cxn ang="0">
                  <a:pos x="2" y="10"/>
                </a:cxn>
                <a:cxn ang="0">
                  <a:pos x="19" y="12"/>
                </a:cxn>
                <a:cxn ang="0">
                  <a:pos x="19" y="12"/>
                </a:cxn>
                <a:cxn ang="0">
                  <a:pos x="26" y="12"/>
                </a:cxn>
                <a:cxn ang="0">
                  <a:pos x="32" y="3"/>
                </a:cxn>
                <a:cxn ang="0">
                  <a:pos x="37" y="0"/>
                </a:cxn>
                <a:cxn ang="0">
                  <a:pos x="37" y="0"/>
                </a:cxn>
                <a:cxn ang="0">
                  <a:pos x="46" y="12"/>
                </a:cxn>
                <a:cxn ang="0">
                  <a:pos x="51" y="23"/>
                </a:cxn>
                <a:cxn ang="0">
                  <a:pos x="53" y="28"/>
                </a:cxn>
                <a:cxn ang="0">
                  <a:pos x="55" y="32"/>
                </a:cxn>
                <a:cxn ang="0">
                  <a:pos x="55" y="32"/>
                </a:cxn>
                <a:cxn ang="0">
                  <a:pos x="55" y="49"/>
                </a:cxn>
                <a:cxn ang="0">
                  <a:pos x="56" y="60"/>
                </a:cxn>
                <a:cxn ang="0">
                  <a:pos x="60" y="65"/>
                </a:cxn>
                <a:cxn ang="0">
                  <a:pos x="60" y="65"/>
                </a:cxn>
                <a:cxn ang="0">
                  <a:pos x="65" y="70"/>
                </a:cxn>
                <a:cxn ang="0">
                  <a:pos x="70" y="81"/>
                </a:cxn>
                <a:cxn ang="0">
                  <a:pos x="76" y="93"/>
                </a:cxn>
                <a:cxn ang="0">
                  <a:pos x="77" y="111"/>
                </a:cxn>
                <a:cxn ang="0">
                  <a:pos x="77" y="111"/>
                </a:cxn>
                <a:cxn ang="0">
                  <a:pos x="77" y="127"/>
                </a:cxn>
                <a:cxn ang="0">
                  <a:pos x="77" y="139"/>
                </a:cxn>
                <a:cxn ang="0">
                  <a:pos x="74" y="180"/>
                </a:cxn>
                <a:cxn ang="0">
                  <a:pos x="74" y="180"/>
                </a:cxn>
                <a:cxn ang="0">
                  <a:pos x="74" y="208"/>
                </a:cxn>
                <a:cxn ang="0">
                  <a:pos x="76" y="231"/>
                </a:cxn>
                <a:cxn ang="0">
                  <a:pos x="79" y="252"/>
                </a:cxn>
                <a:cxn ang="0">
                  <a:pos x="79" y="269"/>
                </a:cxn>
                <a:cxn ang="0">
                  <a:pos x="79" y="269"/>
                </a:cxn>
                <a:cxn ang="0">
                  <a:pos x="79" y="320"/>
                </a:cxn>
                <a:cxn ang="0">
                  <a:pos x="81" y="342"/>
                </a:cxn>
                <a:cxn ang="0">
                  <a:pos x="83" y="352"/>
                </a:cxn>
                <a:cxn ang="0">
                  <a:pos x="83" y="352"/>
                </a:cxn>
              </a:cxnLst>
              <a:rect l="0" t="0" r="r" b="b"/>
              <a:pathLst>
                <a:path w="83" h="366">
                  <a:moveTo>
                    <a:pt x="83" y="352"/>
                  </a:moveTo>
                  <a:lnTo>
                    <a:pt x="83" y="352"/>
                  </a:lnTo>
                  <a:lnTo>
                    <a:pt x="62" y="359"/>
                  </a:lnTo>
                  <a:lnTo>
                    <a:pt x="44" y="363"/>
                  </a:lnTo>
                  <a:lnTo>
                    <a:pt x="30" y="366"/>
                  </a:lnTo>
                  <a:lnTo>
                    <a:pt x="30" y="366"/>
                  </a:lnTo>
                  <a:lnTo>
                    <a:pt x="23" y="350"/>
                  </a:lnTo>
                  <a:lnTo>
                    <a:pt x="18" y="335"/>
                  </a:lnTo>
                  <a:lnTo>
                    <a:pt x="16" y="327"/>
                  </a:lnTo>
                  <a:lnTo>
                    <a:pt x="16" y="317"/>
                  </a:lnTo>
                  <a:lnTo>
                    <a:pt x="16" y="317"/>
                  </a:lnTo>
                  <a:lnTo>
                    <a:pt x="18" y="243"/>
                  </a:lnTo>
                  <a:lnTo>
                    <a:pt x="18" y="243"/>
                  </a:lnTo>
                  <a:lnTo>
                    <a:pt x="18" y="217"/>
                  </a:lnTo>
                  <a:lnTo>
                    <a:pt x="19" y="201"/>
                  </a:lnTo>
                  <a:lnTo>
                    <a:pt x="19" y="181"/>
                  </a:lnTo>
                  <a:lnTo>
                    <a:pt x="19" y="181"/>
                  </a:lnTo>
                  <a:lnTo>
                    <a:pt x="16" y="162"/>
                  </a:lnTo>
                  <a:lnTo>
                    <a:pt x="12" y="141"/>
                  </a:lnTo>
                  <a:lnTo>
                    <a:pt x="7" y="121"/>
                  </a:lnTo>
                  <a:lnTo>
                    <a:pt x="5" y="102"/>
                  </a:lnTo>
                  <a:lnTo>
                    <a:pt x="5" y="102"/>
                  </a:lnTo>
                  <a:lnTo>
                    <a:pt x="0" y="28"/>
                  </a:lnTo>
                  <a:lnTo>
                    <a:pt x="0" y="28"/>
                  </a:lnTo>
                  <a:lnTo>
                    <a:pt x="2" y="10"/>
                  </a:lnTo>
                  <a:lnTo>
                    <a:pt x="2" y="10"/>
                  </a:lnTo>
                  <a:lnTo>
                    <a:pt x="19" y="12"/>
                  </a:lnTo>
                  <a:lnTo>
                    <a:pt x="19" y="12"/>
                  </a:lnTo>
                  <a:lnTo>
                    <a:pt x="26" y="12"/>
                  </a:lnTo>
                  <a:lnTo>
                    <a:pt x="32" y="3"/>
                  </a:lnTo>
                  <a:lnTo>
                    <a:pt x="37" y="0"/>
                  </a:lnTo>
                  <a:lnTo>
                    <a:pt x="37" y="0"/>
                  </a:lnTo>
                  <a:lnTo>
                    <a:pt x="46" y="12"/>
                  </a:lnTo>
                  <a:lnTo>
                    <a:pt x="51" y="23"/>
                  </a:lnTo>
                  <a:lnTo>
                    <a:pt x="53" y="28"/>
                  </a:lnTo>
                  <a:lnTo>
                    <a:pt x="55" y="32"/>
                  </a:lnTo>
                  <a:lnTo>
                    <a:pt x="55" y="32"/>
                  </a:lnTo>
                  <a:lnTo>
                    <a:pt x="55" y="49"/>
                  </a:lnTo>
                  <a:lnTo>
                    <a:pt x="56" y="60"/>
                  </a:lnTo>
                  <a:lnTo>
                    <a:pt x="60" y="65"/>
                  </a:lnTo>
                  <a:lnTo>
                    <a:pt x="60" y="65"/>
                  </a:lnTo>
                  <a:lnTo>
                    <a:pt x="65" y="70"/>
                  </a:lnTo>
                  <a:lnTo>
                    <a:pt x="70" y="81"/>
                  </a:lnTo>
                  <a:lnTo>
                    <a:pt x="76" y="93"/>
                  </a:lnTo>
                  <a:lnTo>
                    <a:pt x="77" y="111"/>
                  </a:lnTo>
                  <a:lnTo>
                    <a:pt x="77" y="111"/>
                  </a:lnTo>
                  <a:lnTo>
                    <a:pt x="77" y="127"/>
                  </a:lnTo>
                  <a:lnTo>
                    <a:pt x="77" y="139"/>
                  </a:lnTo>
                  <a:lnTo>
                    <a:pt x="74" y="180"/>
                  </a:lnTo>
                  <a:lnTo>
                    <a:pt x="74" y="180"/>
                  </a:lnTo>
                  <a:lnTo>
                    <a:pt x="74" y="208"/>
                  </a:lnTo>
                  <a:lnTo>
                    <a:pt x="76" y="231"/>
                  </a:lnTo>
                  <a:lnTo>
                    <a:pt x="79" y="252"/>
                  </a:lnTo>
                  <a:lnTo>
                    <a:pt x="79" y="269"/>
                  </a:lnTo>
                  <a:lnTo>
                    <a:pt x="79" y="269"/>
                  </a:lnTo>
                  <a:lnTo>
                    <a:pt x="79" y="320"/>
                  </a:lnTo>
                  <a:lnTo>
                    <a:pt x="81" y="342"/>
                  </a:lnTo>
                  <a:lnTo>
                    <a:pt x="83" y="352"/>
                  </a:lnTo>
                  <a:lnTo>
                    <a:pt x="83" y="35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5" name="Freeform 21">
              <a:extLst>
                <a:ext uri="{FF2B5EF4-FFF2-40B4-BE49-F238E27FC236}">
                  <a16:creationId xmlns:a16="http://schemas.microsoft.com/office/drawing/2014/main" id="{61EC8E81-F61A-46FA-972B-1B9B52135EF0}"/>
                </a:ext>
              </a:extLst>
            </p:cNvPr>
            <p:cNvSpPr>
              <a:spLocks/>
            </p:cNvSpPr>
            <p:nvPr/>
          </p:nvSpPr>
          <p:spPr bwMode="auto">
            <a:xfrm>
              <a:off x="3788528" y="3446867"/>
              <a:ext cx="173101" cy="394388"/>
            </a:xfrm>
            <a:custGeom>
              <a:avLst/>
              <a:gdLst/>
              <a:ahLst/>
              <a:cxnLst>
                <a:cxn ang="0">
                  <a:pos x="46" y="440"/>
                </a:cxn>
                <a:cxn ang="0">
                  <a:pos x="42" y="326"/>
                </a:cxn>
                <a:cxn ang="0">
                  <a:pos x="39" y="238"/>
                </a:cxn>
                <a:cxn ang="0">
                  <a:pos x="40" y="211"/>
                </a:cxn>
                <a:cxn ang="0">
                  <a:pos x="39" y="185"/>
                </a:cxn>
                <a:cxn ang="0">
                  <a:pos x="39" y="179"/>
                </a:cxn>
                <a:cxn ang="0">
                  <a:pos x="32" y="169"/>
                </a:cxn>
                <a:cxn ang="0">
                  <a:pos x="23" y="153"/>
                </a:cxn>
                <a:cxn ang="0">
                  <a:pos x="19" y="148"/>
                </a:cxn>
                <a:cxn ang="0">
                  <a:pos x="16" y="134"/>
                </a:cxn>
                <a:cxn ang="0">
                  <a:pos x="18" y="123"/>
                </a:cxn>
                <a:cxn ang="0">
                  <a:pos x="12" y="111"/>
                </a:cxn>
                <a:cxn ang="0">
                  <a:pos x="0" y="88"/>
                </a:cxn>
                <a:cxn ang="0">
                  <a:pos x="14" y="77"/>
                </a:cxn>
                <a:cxn ang="0">
                  <a:pos x="33" y="65"/>
                </a:cxn>
                <a:cxn ang="0">
                  <a:pos x="42" y="63"/>
                </a:cxn>
                <a:cxn ang="0">
                  <a:pos x="76" y="61"/>
                </a:cxn>
                <a:cxn ang="0">
                  <a:pos x="102" y="61"/>
                </a:cxn>
                <a:cxn ang="0">
                  <a:pos x="107" y="58"/>
                </a:cxn>
                <a:cxn ang="0">
                  <a:pos x="114" y="46"/>
                </a:cxn>
                <a:cxn ang="0">
                  <a:pos x="116" y="37"/>
                </a:cxn>
                <a:cxn ang="0">
                  <a:pos x="118" y="12"/>
                </a:cxn>
                <a:cxn ang="0">
                  <a:pos x="120" y="9"/>
                </a:cxn>
                <a:cxn ang="0">
                  <a:pos x="132" y="2"/>
                </a:cxn>
                <a:cxn ang="0">
                  <a:pos x="144" y="2"/>
                </a:cxn>
                <a:cxn ang="0">
                  <a:pos x="151" y="5"/>
                </a:cxn>
                <a:cxn ang="0">
                  <a:pos x="164" y="17"/>
                </a:cxn>
                <a:cxn ang="0">
                  <a:pos x="178" y="46"/>
                </a:cxn>
                <a:cxn ang="0">
                  <a:pos x="181" y="58"/>
                </a:cxn>
                <a:cxn ang="0">
                  <a:pos x="185" y="74"/>
                </a:cxn>
                <a:cxn ang="0">
                  <a:pos x="192" y="84"/>
                </a:cxn>
                <a:cxn ang="0">
                  <a:pos x="194" y="100"/>
                </a:cxn>
                <a:cxn ang="0">
                  <a:pos x="192" y="121"/>
                </a:cxn>
                <a:cxn ang="0">
                  <a:pos x="187" y="135"/>
                </a:cxn>
                <a:cxn ang="0">
                  <a:pos x="167" y="174"/>
                </a:cxn>
                <a:cxn ang="0">
                  <a:pos x="150" y="211"/>
                </a:cxn>
                <a:cxn ang="0">
                  <a:pos x="146" y="223"/>
                </a:cxn>
                <a:cxn ang="0">
                  <a:pos x="132" y="262"/>
                </a:cxn>
                <a:cxn ang="0">
                  <a:pos x="121" y="306"/>
                </a:cxn>
                <a:cxn ang="0">
                  <a:pos x="118" y="341"/>
                </a:cxn>
                <a:cxn ang="0">
                  <a:pos x="116" y="408"/>
                </a:cxn>
                <a:cxn ang="0">
                  <a:pos x="118" y="426"/>
                </a:cxn>
              </a:cxnLst>
              <a:rect l="0" t="0" r="r" b="b"/>
              <a:pathLst>
                <a:path w="194" h="440">
                  <a:moveTo>
                    <a:pt x="118" y="426"/>
                  </a:moveTo>
                  <a:lnTo>
                    <a:pt x="46" y="440"/>
                  </a:lnTo>
                  <a:lnTo>
                    <a:pt x="42" y="394"/>
                  </a:lnTo>
                  <a:lnTo>
                    <a:pt x="42" y="326"/>
                  </a:lnTo>
                  <a:lnTo>
                    <a:pt x="35" y="283"/>
                  </a:lnTo>
                  <a:lnTo>
                    <a:pt x="39" y="238"/>
                  </a:lnTo>
                  <a:lnTo>
                    <a:pt x="39" y="238"/>
                  </a:lnTo>
                  <a:lnTo>
                    <a:pt x="40" y="211"/>
                  </a:lnTo>
                  <a:lnTo>
                    <a:pt x="40" y="192"/>
                  </a:lnTo>
                  <a:lnTo>
                    <a:pt x="39" y="185"/>
                  </a:lnTo>
                  <a:lnTo>
                    <a:pt x="39" y="179"/>
                  </a:lnTo>
                  <a:lnTo>
                    <a:pt x="39" y="179"/>
                  </a:lnTo>
                  <a:lnTo>
                    <a:pt x="35" y="176"/>
                  </a:lnTo>
                  <a:lnTo>
                    <a:pt x="32" y="169"/>
                  </a:lnTo>
                  <a:lnTo>
                    <a:pt x="28" y="162"/>
                  </a:lnTo>
                  <a:lnTo>
                    <a:pt x="23" y="153"/>
                  </a:lnTo>
                  <a:lnTo>
                    <a:pt x="23" y="153"/>
                  </a:lnTo>
                  <a:lnTo>
                    <a:pt x="19" y="148"/>
                  </a:lnTo>
                  <a:lnTo>
                    <a:pt x="18" y="142"/>
                  </a:lnTo>
                  <a:lnTo>
                    <a:pt x="16" y="134"/>
                  </a:lnTo>
                  <a:lnTo>
                    <a:pt x="16" y="127"/>
                  </a:lnTo>
                  <a:lnTo>
                    <a:pt x="18" y="123"/>
                  </a:lnTo>
                  <a:lnTo>
                    <a:pt x="18" y="123"/>
                  </a:lnTo>
                  <a:lnTo>
                    <a:pt x="12" y="111"/>
                  </a:lnTo>
                  <a:lnTo>
                    <a:pt x="7" y="100"/>
                  </a:lnTo>
                  <a:lnTo>
                    <a:pt x="0" y="88"/>
                  </a:lnTo>
                  <a:lnTo>
                    <a:pt x="0" y="88"/>
                  </a:lnTo>
                  <a:lnTo>
                    <a:pt x="14" y="77"/>
                  </a:lnTo>
                  <a:lnTo>
                    <a:pt x="26" y="68"/>
                  </a:lnTo>
                  <a:lnTo>
                    <a:pt x="33" y="65"/>
                  </a:lnTo>
                  <a:lnTo>
                    <a:pt x="42" y="63"/>
                  </a:lnTo>
                  <a:lnTo>
                    <a:pt x="42" y="63"/>
                  </a:lnTo>
                  <a:lnTo>
                    <a:pt x="58" y="61"/>
                  </a:lnTo>
                  <a:lnTo>
                    <a:pt x="76" y="61"/>
                  </a:lnTo>
                  <a:lnTo>
                    <a:pt x="92" y="61"/>
                  </a:lnTo>
                  <a:lnTo>
                    <a:pt x="102" y="61"/>
                  </a:lnTo>
                  <a:lnTo>
                    <a:pt x="102" y="61"/>
                  </a:lnTo>
                  <a:lnTo>
                    <a:pt x="107" y="58"/>
                  </a:lnTo>
                  <a:lnTo>
                    <a:pt x="111" y="53"/>
                  </a:lnTo>
                  <a:lnTo>
                    <a:pt x="114" y="46"/>
                  </a:lnTo>
                  <a:lnTo>
                    <a:pt x="116" y="37"/>
                  </a:lnTo>
                  <a:lnTo>
                    <a:pt x="116" y="37"/>
                  </a:lnTo>
                  <a:lnTo>
                    <a:pt x="116" y="21"/>
                  </a:lnTo>
                  <a:lnTo>
                    <a:pt x="118" y="12"/>
                  </a:lnTo>
                  <a:lnTo>
                    <a:pt x="118" y="12"/>
                  </a:lnTo>
                  <a:lnTo>
                    <a:pt x="120" y="9"/>
                  </a:lnTo>
                  <a:lnTo>
                    <a:pt x="127" y="3"/>
                  </a:lnTo>
                  <a:lnTo>
                    <a:pt x="132" y="2"/>
                  </a:lnTo>
                  <a:lnTo>
                    <a:pt x="137" y="0"/>
                  </a:lnTo>
                  <a:lnTo>
                    <a:pt x="144" y="2"/>
                  </a:lnTo>
                  <a:lnTo>
                    <a:pt x="151" y="5"/>
                  </a:lnTo>
                  <a:lnTo>
                    <a:pt x="151" y="5"/>
                  </a:lnTo>
                  <a:lnTo>
                    <a:pt x="158" y="10"/>
                  </a:lnTo>
                  <a:lnTo>
                    <a:pt x="164" y="17"/>
                  </a:lnTo>
                  <a:lnTo>
                    <a:pt x="173" y="31"/>
                  </a:lnTo>
                  <a:lnTo>
                    <a:pt x="178" y="46"/>
                  </a:lnTo>
                  <a:lnTo>
                    <a:pt x="181" y="58"/>
                  </a:lnTo>
                  <a:lnTo>
                    <a:pt x="181" y="58"/>
                  </a:lnTo>
                  <a:lnTo>
                    <a:pt x="185" y="74"/>
                  </a:lnTo>
                  <a:lnTo>
                    <a:pt x="185" y="74"/>
                  </a:lnTo>
                  <a:lnTo>
                    <a:pt x="187" y="77"/>
                  </a:lnTo>
                  <a:lnTo>
                    <a:pt x="192" y="84"/>
                  </a:lnTo>
                  <a:lnTo>
                    <a:pt x="194" y="91"/>
                  </a:lnTo>
                  <a:lnTo>
                    <a:pt x="194" y="100"/>
                  </a:lnTo>
                  <a:lnTo>
                    <a:pt x="194" y="109"/>
                  </a:lnTo>
                  <a:lnTo>
                    <a:pt x="192" y="121"/>
                  </a:lnTo>
                  <a:lnTo>
                    <a:pt x="192" y="121"/>
                  </a:lnTo>
                  <a:lnTo>
                    <a:pt x="187" y="135"/>
                  </a:lnTo>
                  <a:lnTo>
                    <a:pt x="181" y="148"/>
                  </a:lnTo>
                  <a:lnTo>
                    <a:pt x="167" y="174"/>
                  </a:lnTo>
                  <a:lnTo>
                    <a:pt x="155" y="199"/>
                  </a:lnTo>
                  <a:lnTo>
                    <a:pt x="150" y="211"/>
                  </a:lnTo>
                  <a:lnTo>
                    <a:pt x="146" y="223"/>
                  </a:lnTo>
                  <a:lnTo>
                    <a:pt x="146" y="223"/>
                  </a:lnTo>
                  <a:lnTo>
                    <a:pt x="137" y="245"/>
                  </a:lnTo>
                  <a:lnTo>
                    <a:pt x="132" y="262"/>
                  </a:lnTo>
                  <a:lnTo>
                    <a:pt x="125" y="280"/>
                  </a:lnTo>
                  <a:lnTo>
                    <a:pt x="121" y="306"/>
                  </a:lnTo>
                  <a:lnTo>
                    <a:pt x="121" y="306"/>
                  </a:lnTo>
                  <a:lnTo>
                    <a:pt x="118" y="341"/>
                  </a:lnTo>
                  <a:lnTo>
                    <a:pt x="116" y="378"/>
                  </a:lnTo>
                  <a:lnTo>
                    <a:pt x="116" y="408"/>
                  </a:lnTo>
                  <a:lnTo>
                    <a:pt x="118" y="426"/>
                  </a:lnTo>
                  <a:lnTo>
                    <a:pt x="118" y="4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6" name="Freeform 22">
              <a:extLst>
                <a:ext uri="{FF2B5EF4-FFF2-40B4-BE49-F238E27FC236}">
                  <a16:creationId xmlns:a16="http://schemas.microsoft.com/office/drawing/2014/main" id="{A7B99F80-F88C-488B-8104-BC5CE705D061}"/>
                </a:ext>
              </a:extLst>
            </p:cNvPr>
            <p:cNvSpPr>
              <a:spLocks/>
            </p:cNvSpPr>
            <p:nvPr/>
          </p:nvSpPr>
          <p:spPr bwMode="auto">
            <a:xfrm>
              <a:off x="3527982" y="3518249"/>
              <a:ext cx="255191" cy="405095"/>
            </a:xfrm>
            <a:custGeom>
              <a:avLst/>
              <a:gdLst/>
              <a:ahLst/>
              <a:cxnLst>
                <a:cxn ang="0">
                  <a:pos x="285" y="375"/>
                </a:cxn>
                <a:cxn ang="0">
                  <a:pos x="258" y="386"/>
                </a:cxn>
                <a:cxn ang="0">
                  <a:pos x="230" y="398"/>
                </a:cxn>
                <a:cxn ang="0">
                  <a:pos x="181" y="417"/>
                </a:cxn>
                <a:cxn ang="0">
                  <a:pos x="158" y="430"/>
                </a:cxn>
                <a:cxn ang="0">
                  <a:pos x="153" y="435"/>
                </a:cxn>
                <a:cxn ang="0">
                  <a:pos x="132" y="449"/>
                </a:cxn>
                <a:cxn ang="0">
                  <a:pos x="118" y="454"/>
                </a:cxn>
                <a:cxn ang="0">
                  <a:pos x="95" y="451"/>
                </a:cxn>
                <a:cxn ang="0">
                  <a:pos x="35" y="432"/>
                </a:cxn>
                <a:cxn ang="0">
                  <a:pos x="33" y="410"/>
                </a:cxn>
                <a:cxn ang="0">
                  <a:pos x="28" y="375"/>
                </a:cxn>
                <a:cxn ang="0">
                  <a:pos x="1" y="301"/>
                </a:cxn>
                <a:cxn ang="0">
                  <a:pos x="0" y="299"/>
                </a:cxn>
                <a:cxn ang="0">
                  <a:pos x="0" y="284"/>
                </a:cxn>
                <a:cxn ang="0">
                  <a:pos x="5" y="275"/>
                </a:cxn>
                <a:cxn ang="0">
                  <a:pos x="15" y="257"/>
                </a:cxn>
                <a:cxn ang="0">
                  <a:pos x="45" y="192"/>
                </a:cxn>
                <a:cxn ang="0">
                  <a:pos x="47" y="189"/>
                </a:cxn>
                <a:cxn ang="0">
                  <a:pos x="52" y="166"/>
                </a:cxn>
                <a:cxn ang="0">
                  <a:pos x="49" y="153"/>
                </a:cxn>
                <a:cxn ang="0">
                  <a:pos x="42" y="139"/>
                </a:cxn>
                <a:cxn ang="0">
                  <a:pos x="23" y="97"/>
                </a:cxn>
                <a:cxn ang="0">
                  <a:pos x="21" y="90"/>
                </a:cxn>
                <a:cxn ang="0">
                  <a:pos x="21" y="49"/>
                </a:cxn>
                <a:cxn ang="0">
                  <a:pos x="26" y="35"/>
                </a:cxn>
                <a:cxn ang="0">
                  <a:pos x="33" y="25"/>
                </a:cxn>
                <a:cxn ang="0">
                  <a:pos x="51" y="7"/>
                </a:cxn>
                <a:cxn ang="0">
                  <a:pos x="70" y="2"/>
                </a:cxn>
                <a:cxn ang="0">
                  <a:pos x="84" y="0"/>
                </a:cxn>
                <a:cxn ang="0">
                  <a:pos x="141" y="0"/>
                </a:cxn>
                <a:cxn ang="0">
                  <a:pos x="179" y="2"/>
                </a:cxn>
                <a:cxn ang="0">
                  <a:pos x="190" y="4"/>
                </a:cxn>
                <a:cxn ang="0">
                  <a:pos x="229" y="14"/>
                </a:cxn>
                <a:cxn ang="0">
                  <a:pos x="253" y="18"/>
                </a:cxn>
                <a:cxn ang="0">
                  <a:pos x="255" y="16"/>
                </a:cxn>
                <a:cxn ang="0">
                  <a:pos x="257" y="19"/>
                </a:cxn>
                <a:cxn ang="0">
                  <a:pos x="258" y="90"/>
                </a:cxn>
                <a:cxn ang="0">
                  <a:pos x="260" y="111"/>
                </a:cxn>
                <a:cxn ang="0">
                  <a:pos x="274" y="185"/>
                </a:cxn>
                <a:cxn ang="0">
                  <a:pos x="273" y="243"/>
                </a:cxn>
                <a:cxn ang="0">
                  <a:pos x="273" y="307"/>
                </a:cxn>
                <a:cxn ang="0">
                  <a:pos x="273" y="340"/>
                </a:cxn>
                <a:cxn ang="0">
                  <a:pos x="280" y="366"/>
                </a:cxn>
                <a:cxn ang="0">
                  <a:pos x="285" y="375"/>
                </a:cxn>
              </a:cxnLst>
              <a:rect l="0" t="0" r="r" b="b"/>
              <a:pathLst>
                <a:path w="285" h="454">
                  <a:moveTo>
                    <a:pt x="285" y="375"/>
                  </a:moveTo>
                  <a:lnTo>
                    <a:pt x="285" y="375"/>
                  </a:lnTo>
                  <a:lnTo>
                    <a:pt x="274" y="379"/>
                  </a:lnTo>
                  <a:lnTo>
                    <a:pt x="258" y="386"/>
                  </a:lnTo>
                  <a:lnTo>
                    <a:pt x="230" y="398"/>
                  </a:lnTo>
                  <a:lnTo>
                    <a:pt x="230" y="398"/>
                  </a:lnTo>
                  <a:lnTo>
                    <a:pt x="202" y="410"/>
                  </a:lnTo>
                  <a:lnTo>
                    <a:pt x="181" y="417"/>
                  </a:lnTo>
                  <a:lnTo>
                    <a:pt x="165" y="425"/>
                  </a:lnTo>
                  <a:lnTo>
                    <a:pt x="158" y="430"/>
                  </a:lnTo>
                  <a:lnTo>
                    <a:pt x="153" y="435"/>
                  </a:lnTo>
                  <a:lnTo>
                    <a:pt x="153" y="435"/>
                  </a:lnTo>
                  <a:lnTo>
                    <a:pt x="139" y="446"/>
                  </a:lnTo>
                  <a:lnTo>
                    <a:pt x="132" y="449"/>
                  </a:lnTo>
                  <a:lnTo>
                    <a:pt x="125" y="453"/>
                  </a:lnTo>
                  <a:lnTo>
                    <a:pt x="118" y="454"/>
                  </a:lnTo>
                  <a:lnTo>
                    <a:pt x="111" y="454"/>
                  </a:lnTo>
                  <a:lnTo>
                    <a:pt x="95" y="451"/>
                  </a:lnTo>
                  <a:lnTo>
                    <a:pt x="95" y="451"/>
                  </a:lnTo>
                  <a:lnTo>
                    <a:pt x="35" y="432"/>
                  </a:lnTo>
                  <a:lnTo>
                    <a:pt x="35" y="432"/>
                  </a:lnTo>
                  <a:lnTo>
                    <a:pt x="33" y="410"/>
                  </a:lnTo>
                  <a:lnTo>
                    <a:pt x="31" y="393"/>
                  </a:lnTo>
                  <a:lnTo>
                    <a:pt x="28" y="375"/>
                  </a:lnTo>
                  <a:lnTo>
                    <a:pt x="28" y="375"/>
                  </a:lnTo>
                  <a:lnTo>
                    <a:pt x="1" y="301"/>
                  </a:lnTo>
                  <a:lnTo>
                    <a:pt x="1" y="301"/>
                  </a:lnTo>
                  <a:lnTo>
                    <a:pt x="0" y="299"/>
                  </a:lnTo>
                  <a:lnTo>
                    <a:pt x="0" y="292"/>
                  </a:lnTo>
                  <a:lnTo>
                    <a:pt x="0" y="284"/>
                  </a:lnTo>
                  <a:lnTo>
                    <a:pt x="1" y="280"/>
                  </a:lnTo>
                  <a:lnTo>
                    <a:pt x="5" y="275"/>
                  </a:lnTo>
                  <a:lnTo>
                    <a:pt x="5" y="275"/>
                  </a:lnTo>
                  <a:lnTo>
                    <a:pt x="15" y="257"/>
                  </a:lnTo>
                  <a:lnTo>
                    <a:pt x="30" y="229"/>
                  </a:lnTo>
                  <a:lnTo>
                    <a:pt x="45" y="192"/>
                  </a:lnTo>
                  <a:lnTo>
                    <a:pt x="45" y="192"/>
                  </a:lnTo>
                  <a:lnTo>
                    <a:pt x="47" y="189"/>
                  </a:lnTo>
                  <a:lnTo>
                    <a:pt x="51" y="178"/>
                  </a:lnTo>
                  <a:lnTo>
                    <a:pt x="52" y="166"/>
                  </a:lnTo>
                  <a:lnTo>
                    <a:pt x="51" y="160"/>
                  </a:lnTo>
                  <a:lnTo>
                    <a:pt x="49" y="153"/>
                  </a:lnTo>
                  <a:lnTo>
                    <a:pt x="49" y="153"/>
                  </a:lnTo>
                  <a:lnTo>
                    <a:pt x="42" y="139"/>
                  </a:lnTo>
                  <a:lnTo>
                    <a:pt x="33" y="120"/>
                  </a:lnTo>
                  <a:lnTo>
                    <a:pt x="23" y="97"/>
                  </a:lnTo>
                  <a:lnTo>
                    <a:pt x="23" y="97"/>
                  </a:lnTo>
                  <a:lnTo>
                    <a:pt x="21" y="90"/>
                  </a:lnTo>
                  <a:lnTo>
                    <a:pt x="21" y="71"/>
                  </a:lnTo>
                  <a:lnTo>
                    <a:pt x="21" y="49"/>
                  </a:lnTo>
                  <a:lnTo>
                    <a:pt x="23" y="42"/>
                  </a:lnTo>
                  <a:lnTo>
                    <a:pt x="26" y="35"/>
                  </a:lnTo>
                  <a:lnTo>
                    <a:pt x="26" y="35"/>
                  </a:lnTo>
                  <a:lnTo>
                    <a:pt x="33" y="25"/>
                  </a:lnTo>
                  <a:lnTo>
                    <a:pt x="44" y="12"/>
                  </a:lnTo>
                  <a:lnTo>
                    <a:pt x="51" y="7"/>
                  </a:lnTo>
                  <a:lnTo>
                    <a:pt x="60" y="4"/>
                  </a:lnTo>
                  <a:lnTo>
                    <a:pt x="70" y="2"/>
                  </a:lnTo>
                  <a:lnTo>
                    <a:pt x="84" y="0"/>
                  </a:lnTo>
                  <a:lnTo>
                    <a:pt x="84" y="0"/>
                  </a:lnTo>
                  <a:lnTo>
                    <a:pt x="112" y="2"/>
                  </a:lnTo>
                  <a:lnTo>
                    <a:pt x="141" y="0"/>
                  </a:lnTo>
                  <a:lnTo>
                    <a:pt x="167" y="0"/>
                  </a:lnTo>
                  <a:lnTo>
                    <a:pt x="179" y="2"/>
                  </a:lnTo>
                  <a:lnTo>
                    <a:pt x="190" y="4"/>
                  </a:lnTo>
                  <a:lnTo>
                    <a:pt x="190" y="4"/>
                  </a:lnTo>
                  <a:lnTo>
                    <a:pt x="211" y="11"/>
                  </a:lnTo>
                  <a:lnTo>
                    <a:pt x="229" y="14"/>
                  </a:lnTo>
                  <a:lnTo>
                    <a:pt x="253" y="18"/>
                  </a:lnTo>
                  <a:lnTo>
                    <a:pt x="253" y="18"/>
                  </a:lnTo>
                  <a:lnTo>
                    <a:pt x="255" y="16"/>
                  </a:lnTo>
                  <a:lnTo>
                    <a:pt x="255" y="16"/>
                  </a:lnTo>
                  <a:lnTo>
                    <a:pt x="257" y="19"/>
                  </a:lnTo>
                  <a:lnTo>
                    <a:pt x="257" y="19"/>
                  </a:lnTo>
                  <a:lnTo>
                    <a:pt x="257" y="62"/>
                  </a:lnTo>
                  <a:lnTo>
                    <a:pt x="258" y="90"/>
                  </a:lnTo>
                  <a:lnTo>
                    <a:pt x="260" y="111"/>
                  </a:lnTo>
                  <a:lnTo>
                    <a:pt x="260" y="111"/>
                  </a:lnTo>
                  <a:lnTo>
                    <a:pt x="267" y="152"/>
                  </a:lnTo>
                  <a:lnTo>
                    <a:pt x="274" y="185"/>
                  </a:lnTo>
                  <a:lnTo>
                    <a:pt x="274" y="185"/>
                  </a:lnTo>
                  <a:lnTo>
                    <a:pt x="273" y="243"/>
                  </a:lnTo>
                  <a:lnTo>
                    <a:pt x="273" y="307"/>
                  </a:lnTo>
                  <a:lnTo>
                    <a:pt x="273" y="307"/>
                  </a:lnTo>
                  <a:lnTo>
                    <a:pt x="271" y="322"/>
                  </a:lnTo>
                  <a:lnTo>
                    <a:pt x="273" y="340"/>
                  </a:lnTo>
                  <a:lnTo>
                    <a:pt x="276" y="358"/>
                  </a:lnTo>
                  <a:lnTo>
                    <a:pt x="280" y="366"/>
                  </a:lnTo>
                  <a:lnTo>
                    <a:pt x="285" y="375"/>
                  </a:lnTo>
                  <a:lnTo>
                    <a:pt x="285" y="37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7" name="Freeform 23">
              <a:extLst>
                <a:ext uri="{FF2B5EF4-FFF2-40B4-BE49-F238E27FC236}">
                  <a16:creationId xmlns:a16="http://schemas.microsoft.com/office/drawing/2014/main" id="{E1E98243-D628-46B6-8658-F634E641EE08}"/>
                </a:ext>
              </a:extLst>
            </p:cNvPr>
            <p:cNvSpPr>
              <a:spLocks/>
            </p:cNvSpPr>
            <p:nvPr/>
          </p:nvSpPr>
          <p:spPr bwMode="auto">
            <a:xfrm>
              <a:off x="3742129" y="2718768"/>
              <a:ext cx="952953" cy="751299"/>
            </a:xfrm>
            <a:custGeom>
              <a:avLst/>
              <a:gdLst/>
              <a:ahLst/>
              <a:cxnLst>
                <a:cxn ang="0">
                  <a:pos x="1020" y="68"/>
                </a:cxn>
                <a:cxn ang="0">
                  <a:pos x="1027" y="103"/>
                </a:cxn>
                <a:cxn ang="0">
                  <a:pos x="1032" y="172"/>
                </a:cxn>
                <a:cxn ang="0">
                  <a:pos x="1055" y="206"/>
                </a:cxn>
                <a:cxn ang="0">
                  <a:pos x="1067" y="232"/>
                </a:cxn>
                <a:cxn ang="0">
                  <a:pos x="1062" y="301"/>
                </a:cxn>
                <a:cxn ang="0">
                  <a:pos x="1055" y="357"/>
                </a:cxn>
                <a:cxn ang="0">
                  <a:pos x="1055" y="454"/>
                </a:cxn>
                <a:cxn ang="0">
                  <a:pos x="1025" y="502"/>
                </a:cxn>
                <a:cxn ang="0">
                  <a:pos x="963" y="563"/>
                </a:cxn>
                <a:cxn ang="0">
                  <a:pos x="926" y="630"/>
                </a:cxn>
                <a:cxn ang="0">
                  <a:pos x="916" y="664"/>
                </a:cxn>
                <a:cxn ang="0">
                  <a:pos x="860" y="736"/>
                </a:cxn>
                <a:cxn ang="0">
                  <a:pos x="817" y="753"/>
                </a:cxn>
                <a:cxn ang="0">
                  <a:pos x="766" y="755"/>
                </a:cxn>
                <a:cxn ang="0">
                  <a:pos x="705" y="745"/>
                </a:cxn>
                <a:cxn ang="0">
                  <a:pos x="669" y="766"/>
                </a:cxn>
                <a:cxn ang="0">
                  <a:pos x="650" y="797"/>
                </a:cxn>
                <a:cxn ang="0">
                  <a:pos x="606" y="785"/>
                </a:cxn>
                <a:cxn ang="0">
                  <a:pos x="502" y="746"/>
                </a:cxn>
                <a:cxn ang="0">
                  <a:pos x="458" y="748"/>
                </a:cxn>
                <a:cxn ang="0">
                  <a:pos x="425" y="748"/>
                </a:cxn>
                <a:cxn ang="0">
                  <a:pos x="386" y="723"/>
                </a:cxn>
                <a:cxn ang="0">
                  <a:pos x="356" y="720"/>
                </a:cxn>
                <a:cxn ang="0">
                  <a:pos x="317" y="730"/>
                </a:cxn>
                <a:cxn ang="0">
                  <a:pos x="273" y="773"/>
                </a:cxn>
                <a:cxn ang="0">
                  <a:pos x="236" y="820"/>
                </a:cxn>
                <a:cxn ang="0">
                  <a:pos x="213" y="829"/>
                </a:cxn>
                <a:cxn ang="0">
                  <a:pos x="192" y="817"/>
                </a:cxn>
                <a:cxn ang="0">
                  <a:pos x="171" y="829"/>
                </a:cxn>
                <a:cxn ang="0">
                  <a:pos x="132" y="796"/>
                </a:cxn>
                <a:cxn ang="0">
                  <a:pos x="79" y="767"/>
                </a:cxn>
                <a:cxn ang="0">
                  <a:pos x="60" y="736"/>
                </a:cxn>
                <a:cxn ang="0">
                  <a:pos x="34" y="713"/>
                </a:cxn>
                <a:cxn ang="0">
                  <a:pos x="9" y="667"/>
                </a:cxn>
                <a:cxn ang="0">
                  <a:pos x="5" y="635"/>
                </a:cxn>
                <a:cxn ang="0">
                  <a:pos x="46" y="621"/>
                </a:cxn>
                <a:cxn ang="0">
                  <a:pos x="90" y="602"/>
                </a:cxn>
                <a:cxn ang="0">
                  <a:pos x="160" y="595"/>
                </a:cxn>
                <a:cxn ang="0">
                  <a:pos x="231" y="588"/>
                </a:cxn>
                <a:cxn ang="0">
                  <a:pos x="245" y="581"/>
                </a:cxn>
                <a:cxn ang="0">
                  <a:pos x="259" y="531"/>
                </a:cxn>
                <a:cxn ang="0">
                  <a:pos x="280" y="445"/>
                </a:cxn>
                <a:cxn ang="0">
                  <a:pos x="784" y="0"/>
                </a:cxn>
                <a:cxn ang="0">
                  <a:pos x="828" y="3"/>
                </a:cxn>
                <a:cxn ang="0">
                  <a:pos x="884" y="8"/>
                </a:cxn>
                <a:cxn ang="0">
                  <a:pos x="914" y="29"/>
                </a:cxn>
                <a:cxn ang="0">
                  <a:pos x="941" y="68"/>
                </a:cxn>
                <a:cxn ang="0">
                  <a:pos x="976" y="72"/>
                </a:cxn>
              </a:cxnLst>
              <a:rect l="0" t="0" r="r" b="b"/>
              <a:pathLst>
                <a:path w="1067" h="841">
                  <a:moveTo>
                    <a:pt x="1013" y="58"/>
                  </a:moveTo>
                  <a:lnTo>
                    <a:pt x="1013" y="58"/>
                  </a:lnTo>
                  <a:lnTo>
                    <a:pt x="1014" y="61"/>
                  </a:lnTo>
                  <a:lnTo>
                    <a:pt x="1020" y="68"/>
                  </a:lnTo>
                  <a:lnTo>
                    <a:pt x="1025" y="82"/>
                  </a:lnTo>
                  <a:lnTo>
                    <a:pt x="1027" y="93"/>
                  </a:lnTo>
                  <a:lnTo>
                    <a:pt x="1027" y="103"/>
                  </a:lnTo>
                  <a:lnTo>
                    <a:pt x="1027" y="103"/>
                  </a:lnTo>
                  <a:lnTo>
                    <a:pt x="1025" y="142"/>
                  </a:lnTo>
                  <a:lnTo>
                    <a:pt x="1027" y="156"/>
                  </a:lnTo>
                  <a:lnTo>
                    <a:pt x="1032" y="172"/>
                  </a:lnTo>
                  <a:lnTo>
                    <a:pt x="1032" y="172"/>
                  </a:lnTo>
                  <a:lnTo>
                    <a:pt x="1036" y="179"/>
                  </a:lnTo>
                  <a:lnTo>
                    <a:pt x="1039" y="186"/>
                  </a:lnTo>
                  <a:lnTo>
                    <a:pt x="1050" y="199"/>
                  </a:lnTo>
                  <a:lnTo>
                    <a:pt x="1055" y="206"/>
                  </a:lnTo>
                  <a:lnTo>
                    <a:pt x="1060" y="213"/>
                  </a:lnTo>
                  <a:lnTo>
                    <a:pt x="1064" y="221"/>
                  </a:lnTo>
                  <a:lnTo>
                    <a:pt x="1067" y="232"/>
                  </a:lnTo>
                  <a:lnTo>
                    <a:pt x="1067" y="232"/>
                  </a:lnTo>
                  <a:lnTo>
                    <a:pt x="1067" y="244"/>
                  </a:lnTo>
                  <a:lnTo>
                    <a:pt x="1067" y="255"/>
                  </a:lnTo>
                  <a:lnTo>
                    <a:pt x="1066" y="278"/>
                  </a:lnTo>
                  <a:lnTo>
                    <a:pt x="1062" y="301"/>
                  </a:lnTo>
                  <a:lnTo>
                    <a:pt x="1057" y="325"/>
                  </a:lnTo>
                  <a:lnTo>
                    <a:pt x="1057" y="325"/>
                  </a:lnTo>
                  <a:lnTo>
                    <a:pt x="1055" y="341"/>
                  </a:lnTo>
                  <a:lnTo>
                    <a:pt x="1055" y="357"/>
                  </a:lnTo>
                  <a:lnTo>
                    <a:pt x="1057" y="392"/>
                  </a:lnTo>
                  <a:lnTo>
                    <a:pt x="1057" y="428"/>
                  </a:lnTo>
                  <a:lnTo>
                    <a:pt x="1057" y="442"/>
                  </a:lnTo>
                  <a:lnTo>
                    <a:pt x="1055" y="454"/>
                  </a:lnTo>
                  <a:lnTo>
                    <a:pt x="1055" y="454"/>
                  </a:lnTo>
                  <a:lnTo>
                    <a:pt x="1050" y="465"/>
                  </a:lnTo>
                  <a:lnTo>
                    <a:pt x="1043" y="477"/>
                  </a:lnTo>
                  <a:lnTo>
                    <a:pt x="1025" y="502"/>
                  </a:lnTo>
                  <a:lnTo>
                    <a:pt x="1000" y="528"/>
                  </a:lnTo>
                  <a:lnTo>
                    <a:pt x="976" y="551"/>
                  </a:lnTo>
                  <a:lnTo>
                    <a:pt x="976" y="551"/>
                  </a:lnTo>
                  <a:lnTo>
                    <a:pt x="963" y="563"/>
                  </a:lnTo>
                  <a:lnTo>
                    <a:pt x="953" y="575"/>
                  </a:lnTo>
                  <a:lnTo>
                    <a:pt x="944" y="591"/>
                  </a:lnTo>
                  <a:lnTo>
                    <a:pt x="937" y="605"/>
                  </a:lnTo>
                  <a:lnTo>
                    <a:pt x="926" y="630"/>
                  </a:lnTo>
                  <a:lnTo>
                    <a:pt x="925" y="646"/>
                  </a:lnTo>
                  <a:lnTo>
                    <a:pt x="925" y="646"/>
                  </a:lnTo>
                  <a:lnTo>
                    <a:pt x="921" y="653"/>
                  </a:lnTo>
                  <a:lnTo>
                    <a:pt x="916" y="664"/>
                  </a:lnTo>
                  <a:lnTo>
                    <a:pt x="895" y="693"/>
                  </a:lnTo>
                  <a:lnTo>
                    <a:pt x="882" y="709"/>
                  </a:lnTo>
                  <a:lnTo>
                    <a:pt x="870" y="723"/>
                  </a:lnTo>
                  <a:lnTo>
                    <a:pt x="860" y="736"/>
                  </a:lnTo>
                  <a:lnTo>
                    <a:pt x="849" y="741"/>
                  </a:lnTo>
                  <a:lnTo>
                    <a:pt x="849" y="741"/>
                  </a:lnTo>
                  <a:lnTo>
                    <a:pt x="833" y="748"/>
                  </a:lnTo>
                  <a:lnTo>
                    <a:pt x="817" y="753"/>
                  </a:lnTo>
                  <a:lnTo>
                    <a:pt x="800" y="757"/>
                  </a:lnTo>
                  <a:lnTo>
                    <a:pt x="779" y="757"/>
                  </a:lnTo>
                  <a:lnTo>
                    <a:pt x="779" y="757"/>
                  </a:lnTo>
                  <a:lnTo>
                    <a:pt x="766" y="755"/>
                  </a:lnTo>
                  <a:lnTo>
                    <a:pt x="754" y="752"/>
                  </a:lnTo>
                  <a:lnTo>
                    <a:pt x="729" y="746"/>
                  </a:lnTo>
                  <a:lnTo>
                    <a:pt x="717" y="745"/>
                  </a:lnTo>
                  <a:lnTo>
                    <a:pt x="705" y="745"/>
                  </a:lnTo>
                  <a:lnTo>
                    <a:pt x="692" y="748"/>
                  </a:lnTo>
                  <a:lnTo>
                    <a:pt x="680" y="755"/>
                  </a:lnTo>
                  <a:lnTo>
                    <a:pt x="680" y="755"/>
                  </a:lnTo>
                  <a:lnTo>
                    <a:pt x="669" y="766"/>
                  </a:lnTo>
                  <a:lnTo>
                    <a:pt x="664" y="775"/>
                  </a:lnTo>
                  <a:lnTo>
                    <a:pt x="659" y="790"/>
                  </a:lnTo>
                  <a:lnTo>
                    <a:pt x="655" y="794"/>
                  </a:lnTo>
                  <a:lnTo>
                    <a:pt x="650" y="797"/>
                  </a:lnTo>
                  <a:lnTo>
                    <a:pt x="639" y="796"/>
                  </a:lnTo>
                  <a:lnTo>
                    <a:pt x="625" y="792"/>
                  </a:lnTo>
                  <a:lnTo>
                    <a:pt x="625" y="792"/>
                  </a:lnTo>
                  <a:lnTo>
                    <a:pt x="606" y="785"/>
                  </a:lnTo>
                  <a:lnTo>
                    <a:pt x="587" y="776"/>
                  </a:lnTo>
                  <a:lnTo>
                    <a:pt x="544" y="759"/>
                  </a:lnTo>
                  <a:lnTo>
                    <a:pt x="523" y="752"/>
                  </a:lnTo>
                  <a:lnTo>
                    <a:pt x="502" y="746"/>
                  </a:lnTo>
                  <a:lnTo>
                    <a:pt x="479" y="745"/>
                  </a:lnTo>
                  <a:lnTo>
                    <a:pt x="469" y="746"/>
                  </a:lnTo>
                  <a:lnTo>
                    <a:pt x="458" y="748"/>
                  </a:lnTo>
                  <a:lnTo>
                    <a:pt x="458" y="748"/>
                  </a:lnTo>
                  <a:lnTo>
                    <a:pt x="447" y="750"/>
                  </a:lnTo>
                  <a:lnTo>
                    <a:pt x="439" y="750"/>
                  </a:lnTo>
                  <a:lnTo>
                    <a:pt x="432" y="750"/>
                  </a:lnTo>
                  <a:lnTo>
                    <a:pt x="425" y="748"/>
                  </a:lnTo>
                  <a:lnTo>
                    <a:pt x="414" y="743"/>
                  </a:lnTo>
                  <a:lnTo>
                    <a:pt x="405" y="736"/>
                  </a:lnTo>
                  <a:lnTo>
                    <a:pt x="395" y="729"/>
                  </a:lnTo>
                  <a:lnTo>
                    <a:pt x="386" y="723"/>
                  </a:lnTo>
                  <a:lnTo>
                    <a:pt x="379" y="722"/>
                  </a:lnTo>
                  <a:lnTo>
                    <a:pt x="372" y="720"/>
                  </a:lnTo>
                  <a:lnTo>
                    <a:pt x="365" y="720"/>
                  </a:lnTo>
                  <a:lnTo>
                    <a:pt x="356" y="720"/>
                  </a:lnTo>
                  <a:lnTo>
                    <a:pt x="356" y="720"/>
                  </a:lnTo>
                  <a:lnTo>
                    <a:pt x="338" y="723"/>
                  </a:lnTo>
                  <a:lnTo>
                    <a:pt x="326" y="727"/>
                  </a:lnTo>
                  <a:lnTo>
                    <a:pt x="317" y="730"/>
                  </a:lnTo>
                  <a:lnTo>
                    <a:pt x="308" y="736"/>
                  </a:lnTo>
                  <a:lnTo>
                    <a:pt x="301" y="743"/>
                  </a:lnTo>
                  <a:lnTo>
                    <a:pt x="294" y="750"/>
                  </a:lnTo>
                  <a:lnTo>
                    <a:pt x="273" y="773"/>
                  </a:lnTo>
                  <a:lnTo>
                    <a:pt x="273" y="773"/>
                  </a:lnTo>
                  <a:lnTo>
                    <a:pt x="261" y="785"/>
                  </a:lnTo>
                  <a:lnTo>
                    <a:pt x="250" y="799"/>
                  </a:lnTo>
                  <a:lnTo>
                    <a:pt x="236" y="820"/>
                  </a:lnTo>
                  <a:lnTo>
                    <a:pt x="227" y="836"/>
                  </a:lnTo>
                  <a:lnTo>
                    <a:pt x="224" y="841"/>
                  </a:lnTo>
                  <a:lnTo>
                    <a:pt x="224" y="841"/>
                  </a:lnTo>
                  <a:lnTo>
                    <a:pt x="213" y="829"/>
                  </a:lnTo>
                  <a:lnTo>
                    <a:pt x="203" y="820"/>
                  </a:lnTo>
                  <a:lnTo>
                    <a:pt x="197" y="819"/>
                  </a:lnTo>
                  <a:lnTo>
                    <a:pt x="192" y="817"/>
                  </a:lnTo>
                  <a:lnTo>
                    <a:pt x="192" y="817"/>
                  </a:lnTo>
                  <a:lnTo>
                    <a:pt x="183" y="819"/>
                  </a:lnTo>
                  <a:lnTo>
                    <a:pt x="176" y="822"/>
                  </a:lnTo>
                  <a:lnTo>
                    <a:pt x="171" y="829"/>
                  </a:lnTo>
                  <a:lnTo>
                    <a:pt x="171" y="829"/>
                  </a:lnTo>
                  <a:lnTo>
                    <a:pt x="159" y="815"/>
                  </a:lnTo>
                  <a:lnTo>
                    <a:pt x="146" y="804"/>
                  </a:lnTo>
                  <a:lnTo>
                    <a:pt x="139" y="799"/>
                  </a:lnTo>
                  <a:lnTo>
                    <a:pt x="132" y="796"/>
                  </a:lnTo>
                  <a:lnTo>
                    <a:pt x="132" y="796"/>
                  </a:lnTo>
                  <a:lnTo>
                    <a:pt x="104" y="783"/>
                  </a:lnTo>
                  <a:lnTo>
                    <a:pt x="90" y="776"/>
                  </a:lnTo>
                  <a:lnTo>
                    <a:pt x="79" y="767"/>
                  </a:lnTo>
                  <a:lnTo>
                    <a:pt x="79" y="767"/>
                  </a:lnTo>
                  <a:lnTo>
                    <a:pt x="72" y="759"/>
                  </a:lnTo>
                  <a:lnTo>
                    <a:pt x="65" y="746"/>
                  </a:lnTo>
                  <a:lnTo>
                    <a:pt x="60" y="736"/>
                  </a:lnTo>
                  <a:lnTo>
                    <a:pt x="55" y="730"/>
                  </a:lnTo>
                  <a:lnTo>
                    <a:pt x="55" y="730"/>
                  </a:lnTo>
                  <a:lnTo>
                    <a:pt x="42" y="720"/>
                  </a:lnTo>
                  <a:lnTo>
                    <a:pt x="34" y="713"/>
                  </a:lnTo>
                  <a:lnTo>
                    <a:pt x="27" y="702"/>
                  </a:lnTo>
                  <a:lnTo>
                    <a:pt x="27" y="702"/>
                  </a:lnTo>
                  <a:lnTo>
                    <a:pt x="18" y="686"/>
                  </a:lnTo>
                  <a:lnTo>
                    <a:pt x="9" y="667"/>
                  </a:lnTo>
                  <a:lnTo>
                    <a:pt x="0" y="644"/>
                  </a:lnTo>
                  <a:lnTo>
                    <a:pt x="0" y="644"/>
                  </a:lnTo>
                  <a:lnTo>
                    <a:pt x="2" y="639"/>
                  </a:lnTo>
                  <a:lnTo>
                    <a:pt x="5" y="635"/>
                  </a:lnTo>
                  <a:lnTo>
                    <a:pt x="11" y="634"/>
                  </a:lnTo>
                  <a:lnTo>
                    <a:pt x="11" y="634"/>
                  </a:lnTo>
                  <a:lnTo>
                    <a:pt x="23" y="630"/>
                  </a:lnTo>
                  <a:lnTo>
                    <a:pt x="46" y="621"/>
                  </a:lnTo>
                  <a:lnTo>
                    <a:pt x="69" y="612"/>
                  </a:lnTo>
                  <a:lnTo>
                    <a:pt x="85" y="605"/>
                  </a:lnTo>
                  <a:lnTo>
                    <a:pt x="85" y="605"/>
                  </a:lnTo>
                  <a:lnTo>
                    <a:pt x="90" y="602"/>
                  </a:lnTo>
                  <a:lnTo>
                    <a:pt x="97" y="602"/>
                  </a:lnTo>
                  <a:lnTo>
                    <a:pt x="115" y="600"/>
                  </a:lnTo>
                  <a:lnTo>
                    <a:pt x="136" y="598"/>
                  </a:lnTo>
                  <a:lnTo>
                    <a:pt x="160" y="595"/>
                  </a:lnTo>
                  <a:lnTo>
                    <a:pt x="160" y="595"/>
                  </a:lnTo>
                  <a:lnTo>
                    <a:pt x="208" y="590"/>
                  </a:lnTo>
                  <a:lnTo>
                    <a:pt x="231" y="588"/>
                  </a:lnTo>
                  <a:lnTo>
                    <a:pt x="231" y="588"/>
                  </a:lnTo>
                  <a:lnTo>
                    <a:pt x="233" y="590"/>
                  </a:lnTo>
                  <a:lnTo>
                    <a:pt x="240" y="588"/>
                  </a:lnTo>
                  <a:lnTo>
                    <a:pt x="243" y="586"/>
                  </a:lnTo>
                  <a:lnTo>
                    <a:pt x="245" y="581"/>
                  </a:lnTo>
                  <a:lnTo>
                    <a:pt x="248" y="574"/>
                  </a:lnTo>
                  <a:lnTo>
                    <a:pt x="250" y="563"/>
                  </a:lnTo>
                  <a:lnTo>
                    <a:pt x="250" y="563"/>
                  </a:lnTo>
                  <a:lnTo>
                    <a:pt x="259" y="531"/>
                  </a:lnTo>
                  <a:lnTo>
                    <a:pt x="271" y="487"/>
                  </a:lnTo>
                  <a:lnTo>
                    <a:pt x="271" y="487"/>
                  </a:lnTo>
                  <a:lnTo>
                    <a:pt x="277" y="470"/>
                  </a:lnTo>
                  <a:lnTo>
                    <a:pt x="280" y="445"/>
                  </a:lnTo>
                  <a:lnTo>
                    <a:pt x="284" y="413"/>
                  </a:lnTo>
                  <a:lnTo>
                    <a:pt x="289" y="331"/>
                  </a:lnTo>
                  <a:lnTo>
                    <a:pt x="370" y="310"/>
                  </a:lnTo>
                  <a:lnTo>
                    <a:pt x="784" y="0"/>
                  </a:lnTo>
                  <a:lnTo>
                    <a:pt x="784" y="0"/>
                  </a:lnTo>
                  <a:lnTo>
                    <a:pt x="798" y="1"/>
                  </a:lnTo>
                  <a:lnTo>
                    <a:pt x="810" y="3"/>
                  </a:lnTo>
                  <a:lnTo>
                    <a:pt x="828" y="3"/>
                  </a:lnTo>
                  <a:lnTo>
                    <a:pt x="828" y="3"/>
                  </a:lnTo>
                  <a:lnTo>
                    <a:pt x="845" y="3"/>
                  </a:lnTo>
                  <a:lnTo>
                    <a:pt x="867" y="5"/>
                  </a:lnTo>
                  <a:lnTo>
                    <a:pt x="884" y="8"/>
                  </a:lnTo>
                  <a:lnTo>
                    <a:pt x="896" y="12"/>
                  </a:lnTo>
                  <a:lnTo>
                    <a:pt x="896" y="12"/>
                  </a:lnTo>
                  <a:lnTo>
                    <a:pt x="905" y="19"/>
                  </a:lnTo>
                  <a:lnTo>
                    <a:pt x="914" y="29"/>
                  </a:lnTo>
                  <a:lnTo>
                    <a:pt x="925" y="44"/>
                  </a:lnTo>
                  <a:lnTo>
                    <a:pt x="933" y="59"/>
                  </a:lnTo>
                  <a:lnTo>
                    <a:pt x="933" y="59"/>
                  </a:lnTo>
                  <a:lnTo>
                    <a:pt x="941" y="68"/>
                  </a:lnTo>
                  <a:lnTo>
                    <a:pt x="948" y="72"/>
                  </a:lnTo>
                  <a:lnTo>
                    <a:pt x="955" y="73"/>
                  </a:lnTo>
                  <a:lnTo>
                    <a:pt x="965" y="73"/>
                  </a:lnTo>
                  <a:lnTo>
                    <a:pt x="976" y="72"/>
                  </a:lnTo>
                  <a:lnTo>
                    <a:pt x="988" y="68"/>
                  </a:lnTo>
                  <a:lnTo>
                    <a:pt x="1013" y="58"/>
                  </a:lnTo>
                  <a:lnTo>
                    <a:pt x="1013" y="5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8" name="Freeform 24">
              <a:extLst>
                <a:ext uri="{FF2B5EF4-FFF2-40B4-BE49-F238E27FC236}">
                  <a16:creationId xmlns:a16="http://schemas.microsoft.com/office/drawing/2014/main" id="{BF57E0F0-0F2B-4587-A0B7-739B27BBFF67}"/>
                </a:ext>
              </a:extLst>
            </p:cNvPr>
            <p:cNvSpPr>
              <a:spLocks/>
            </p:cNvSpPr>
            <p:nvPr/>
          </p:nvSpPr>
          <p:spPr bwMode="auto">
            <a:xfrm>
              <a:off x="4566594" y="2736613"/>
              <a:ext cx="619241" cy="1002921"/>
            </a:xfrm>
            <a:custGeom>
              <a:avLst/>
              <a:gdLst/>
              <a:ahLst/>
              <a:cxnLst>
                <a:cxn ang="0">
                  <a:pos x="694" y="546"/>
                </a:cxn>
                <a:cxn ang="0">
                  <a:pos x="664" y="560"/>
                </a:cxn>
                <a:cxn ang="0">
                  <a:pos x="635" y="590"/>
                </a:cxn>
                <a:cxn ang="0">
                  <a:pos x="609" y="644"/>
                </a:cxn>
                <a:cxn ang="0">
                  <a:pos x="600" y="683"/>
                </a:cxn>
                <a:cxn ang="0">
                  <a:pos x="600" y="718"/>
                </a:cxn>
                <a:cxn ang="0">
                  <a:pos x="605" y="759"/>
                </a:cxn>
                <a:cxn ang="0">
                  <a:pos x="618" y="787"/>
                </a:cxn>
                <a:cxn ang="0">
                  <a:pos x="644" y="852"/>
                </a:cxn>
                <a:cxn ang="0">
                  <a:pos x="635" y="873"/>
                </a:cxn>
                <a:cxn ang="0">
                  <a:pos x="620" y="879"/>
                </a:cxn>
                <a:cxn ang="0">
                  <a:pos x="586" y="877"/>
                </a:cxn>
                <a:cxn ang="0">
                  <a:pos x="574" y="884"/>
                </a:cxn>
                <a:cxn ang="0">
                  <a:pos x="532" y="946"/>
                </a:cxn>
                <a:cxn ang="0">
                  <a:pos x="491" y="988"/>
                </a:cxn>
                <a:cxn ang="0">
                  <a:pos x="436" y="1021"/>
                </a:cxn>
                <a:cxn ang="0">
                  <a:pos x="396" y="1032"/>
                </a:cxn>
                <a:cxn ang="0">
                  <a:pos x="369" y="1035"/>
                </a:cxn>
                <a:cxn ang="0">
                  <a:pos x="361" y="1048"/>
                </a:cxn>
                <a:cxn ang="0">
                  <a:pos x="343" y="1069"/>
                </a:cxn>
                <a:cxn ang="0">
                  <a:pos x="281" y="1101"/>
                </a:cxn>
                <a:cxn ang="0">
                  <a:pos x="246" y="1109"/>
                </a:cxn>
                <a:cxn ang="0">
                  <a:pos x="153" y="1123"/>
                </a:cxn>
                <a:cxn ang="0">
                  <a:pos x="132" y="1079"/>
                </a:cxn>
                <a:cxn ang="0">
                  <a:pos x="116" y="1046"/>
                </a:cxn>
                <a:cxn ang="0">
                  <a:pos x="97" y="1028"/>
                </a:cxn>
                <a:cxn ang="0">
                  <a:pos x="44" y="1007"/>
                </a:cxn>
                <a:cxn ang="0">
                  <a:pos x="33" y="1000"/>
                </a:cxn>
                <a:cxn ang="0">
                  <a:pos x="26" y="975"/>
                </a:cxn>
                <a:cxn ang="0">
                  <a:pos x="44" y="958"/>
                </a:cxn>
                <a:cxn ang="0">
                  <a:pos x="74" y="947"/>
                </a:cxn>
                <a:cxn ang="0">
                  <a:pos x="107" y="923"/>
                </a:cxn>
                <a:cxn ang="0">
                  <a:pos x="116" y="889"/>
                </a:cxn>
                <a:cxn ang="0">
                  <a:pos x="105" y="859"/>
                </a:cxn>
                <a:cxn ang="0">
                  <a:pos x="97" y="824"/>
                </a:cxn>
                <a:cxn ang="0">
                  <a:pos x="104" y="812"/>
                </a:cxn>
                <a:cxn ang="0">
                  <a:pos x="111" y="789"/>
                </a:cxn>
                <a:cxn ang="0">
                  <a:pos x="100" y="778"/>
                </a:cxn>
                <a:cxn ang="0">
                  <a:pos x="58" y="741"/>
                </a:cxn>
                <a:cxn ang="0">
                  <a:pos x="0" y="625"/>
                </a:cxn>
                <a:cxn ang="0">
                  <a:pos x="16" y="576"/>
                </a:cxn>
                <a:cxn ang="0">
                  <a:pos x="24" y="560"/>
                </a:cxn>
                <a:cxn ang="0">
                  <a:pos x="75" y="507"/>
                </a:cxn>
                <a:cxn ang="0">
                  <a:pos x="93" y="491"/>
                </a:cxn>
                <a:cxn ang="0">
                  <a:pos x="130" y="433"/>
                </a:cxn>
                <a:cxn ang="0">
                  <a:pos x="132" y="412"/>
                </a:cxn>
                <a:cxn ang="0">
                  <a:pos x="128" y="338"/>
                </a:cxn>
                <a:cxn ang="0">
                  <a:pos x="139" y="274"/>
                </a:cxn>
                <a:cxn ang="0">
                  <a:pos x="142" y="236"/>
                </a:cxn>
                <a:cxn ang="0">
                  <a:pos x="135" y="195"/>
                </a:cxn>
                <a:cxn ang="0">
                  <a:pos x="118" y="167"/>
                </a:cxn>
                <a:cxn ang="0">
                  <a:pos x="100" y="134"/>
                </a:cxn>
                <a:cxn ang="0">
                  <a:pos x="102" y="91"/>
                </a:cxn>
                <a:cxn ang="0">
                  <a:pos x="95" y="45"/>
                </a:cxn>
                <a:cxn ang="0">
                  <a:pos x="88" y="37"/>
                </a:cxn>
                <a:cxn ang="0">
                  <a:pos x="134" y="3"/>
                </a:cxn>
                <a:cxn ang="0">
                  <a:pos x="148" y="0"/>
                </a:cxn>
                <a:cxn ang="0">
                  <a:pos x="181" y="7"/>
                </a:cxn>
                <a:cxn ang="0">
                  <a:pos x="431" y="128"/>
                </a:cxn>
                <a:cxn ang="0">
                  <a:pos x="679" y="243"/>
                </a:cxn>
              </a:cxnLst>
              <a:rect l="0" t="0" r="r" b="b"/>
              <a:pathLst>
                <a:path w="694" h="1123">
                  <a:moveTo>
                    <a:pt x="690" y="246"/>
                  </a:moveTo>
                  <a:lnTo>
                    <a:pt x="694" y="546"/>
                  </a:lnTo>
                  <a:lnTo>
                    <a:pt x="694" y="546"/>
                  </a:lnTo>
                  <a:lnTo>
                    <a:pt x="686" y="547"/>
                  </a:lnTo>
                  <a:lnTo>
                    <a:pt x="672" y="553"/>
                  </a:lnTo>
                  <a:lnTo>
                    <a:pt x="664" y="560"/>
                  </a:lnTo>
                  <a:lnTo>
                    <a:pt x="653" y="567"/>
                  </a:lnTo>
                  <a:lnTo>
                    <a:pt x="644" y="577"/>
                  </a:lnTo>
                  <a:lnTo>
                    <a:pt x="635" y="590"/>
                  </a:lnTo>
                  <a:lnTo>
                    <a:pt x="635" y="590"/>
                  </a:lnTo>
                  <a:lnTo>
                    <a:pt x="621" y="618"/>
                  </a:lnTo>
                  <a:lnTo>
                    <a:pt x="609" y="644"/>
                  </a:lnTo>
                  <a:lnTo>
                    <a:pt x="604" y="657"/>
                  </a:lnTo>
                  <a:lnTo>
                    <a:pt x="600" y="669"/>
                  </a:lnTo>
                  <a:lnTo>
                    <a:pt x="600" y="683"/>
                  </a:lnTo>
                  <a:lnTo>
                    <a:pt x="600" y="695"/>
                  </a:lnTo>
                  <a:lnTo>
                    <a:pt x="600" y="695"/>
                  </a:lnTo>
                  <a:lnTo>
                    <a:pt x="600" y="718"/>
                  </a:lnTo>
                  <a:lnTo>
                    <a:pt x="602" y="738"/>
                  </a:lnTo>
                  <a:lnTo>
                    <a:pt x="604" y="748"/>
                  </a:lnTo>
                  <a:lnTo>
                    <a:pt x="605" y="759"/>
                  </a:lnTo>
                  <a:lnTo>
                    <a:pt x="611" y="773"/>
                  </a:lnTo>
                  <a:lnTo>
                    <a:pt x="618" y="787"/>
                  </a:lnTo>
                  <a:lnTo>
                    <a:pt x="618" y="787"/>
                  </a:lnTo>
                  <a:lnTo>
                    <a:pt x="632" y="817"/>
                  </a:lnTo>
                  <a:lnTo>
                    <a:pt x="642" y="842"/>
                  </a:lnTo>
                  <a:lnTo>
                    <a:pt x="644" y="852"/>
                  </a:lnTo>
                  <a:lnTo>
                    <a:pt x="644" y="861"/>
                  </a:lnTo>
                  <a:lnTo>
                    <a:pt x="642" y="868"/>
                  </a:lnTo>
                  <a:lnTo>
                    <a:pt x="635" y="873"/>
                  </a:lnTo>
                  <a:lnTo>
                    <a:pt x="635" y="873"/>
                  </a:lnTo>
                  <a:lnTo>
                    <a:pt x="628" y="877"/>
                  </a:lnTo>
                  <a:lnTo>
                    <a:pt x="620" y="879"/>
                  </a:lnTo>
                  <a:lnTo>
                    <a:pt x="602" y="877"/>
                  </a:lnTo>
                  <a:lnTo>
                    <a:pt x="595" y="877"/>
                  </a:lnTo>
                  <a:lnTo>
                    <a:pt x="586" y="877"/>
                  </a:lnTo>
                  <a:lnTo>
                    <a:pt x="581" y="879"/>
                  </a:lnTo>
                  <a:lnTo>
                    <a:pt x="574" y="884"/>
                  </a:lnTo>
                  <a:lnTo>
                    <a:pt x="574" y="884"/>
                  </a:lnTo>
                  <a:lnTo>
                    <a:pt x="560" y="903"/>
                  </a:lnTo>
                  <a:lnTo>
                    <a:pt x="542" y="931"/>
                  </a:lnTo>
                  <a:lnTo>
                    <a:pt x="532" y="946"/>
                  </a:lnTo>
                  <a:lnTo>
                    <a:pt x="519" y="961"/>
                  </a:lnTo>
                  <a:lnTo>
                    <a:pt x="505" y="975"/>
                  </a:lnTo>
                  <a:lnTo>
                    <a:pt x="491" y="988"/>
                  </a:lnTo>
                  <a:lnTo>
                    <a:pt x="491" y="988"/>
                  </a:lnTo>
                  <a:lnTo>
                    <a:pt x="461" y="1007"/>
                  </a:lnTo>
                  <a:lnTo>
                    <a:pt x="436" y="1021"/>
                  </a:lnTo>
                  <a:lnTo>
                    <a:pt x="415" y="1028"/>
                  </a:lnTo>
                  <a:lnTo>
                    <a:pt x="396" y="1032"/>
                  </a:lnTo>
                  <a:lnTo>
                    <a:pt x="396" y="1032"/>
                  </a:lnTo>
                  <a:lnTo>
                    <a:pt x="382" y="1032"/>
                  </a:lnTo>
                  <a:lnTo>
                    <a:pt x="373" y="1034"/>
                  </a:lnTo>
                  <a:lnTo>
                    <a:pt x="369" y="1035"/>
                  </a:lnTo>
                  <a:lnTo>
                    <a:pt x="366" y="1037"/>
                  </a:lnTo>
                  <a:lnTo>
                    <a:pt x="361" y="1048"/>
                  </a:lnTo>
                  <a:lnTo>
                    <a:pt x="361" y="1048"/>
                  </a:lnTo>
                  <a:lnTo>
                    <a:pt x="357" y="1055"/>
                  </a:lnTo>
                  <a:lnTo>
                    <a:pt x="352" y="1062"/>
                  </a:lnTo>
                  <a:lnTo>
                    <a:pt x="343" y="1069"/>
                  </a:lnTo>
                  <a:lnTo>
                    <a:pt x="333" y="1076"/>
                  </a:lnTo>
                  <a:lnTo>
                    <a:pt x="308" y="1090"/>
                  </a:lnTo>
                  <a:lnTo>
                    <a:pt x="281" y="1101"/>
                  </a:lnTo>
                  <a:lnTo>
                    <a:pt x="281" y="1101"/>
                  </a:lnTo>
                  <a:lnTo>
                    <a:pt x="266" y="1106"/>
                  </a:lnTo>
                  <a:lnTo>
                    <a:pt x="246" y="1109"/>
                  </a:lnTo>
                  <a:lnTo>
                    <a:pt x="204" y="1116"/>
                  </a:lnTo>
                  <a:lnTo>
                    <a:pt x="153" y="1123"/>
                  </a:lnTo>
                  <a:lnTo>
                    <a:pt x="153" y="1123"/>
                  </a:lnTo>
                  <a:lnTo>
                    <a:pt x="144" y="1106"/>
                  </a:lnTo>
                  <a:lnTo>
                    <a:pt x="132" y="1079"/>
                  </a:lnTo>
                  <a:lnTo>
                    <a:pt x="132" y="1079"/>
                  </a:lnTo>
                  <a:lnTo>
                    <a:pt x="126" y="1067"/>
                  </a:lnTo>
                  <a:lnTo>
                    <a:pt x="121" y="1053"/>
                  </a:lnTo>
                  <a:lnTo>
                    <a:pt x="116" y="1046"/>
                  </a:lnTo>
                  <a:lnTo>
                    <a:pt x="111" y="1039"/>
                  </a:lnTo>
                  <a:lnTo>
                    <a:pt x="104" y="1034"/>
                  </a:lnTo>
                  <a:lnTo>
                    <a:pt x="97" y="1028"/>
                  </a:lnTo>
                  <a:lnTo>
                    <a:pt x="97" y="1028"/>
                  </a:lnTo>
                  <a:lnTo>
                    <a:pt x="60" y="1014"/>
                  </a:lnTo>
                  <a:lnTo>
                    <a:pt x="44" y="1007"/>
                  </a:lnTo>
                  <a:lnTo>
                    <a:pt x="38" y="1004"/>
                  </a:lnTo>
                  <a:lnTo>
                    <a:pt x="33" y="1000"/>
                  </a:lnTo>
                  <a:lnTo>
                    <a:pt x="33" y="1000"/>
                  </a:lnTo>
                  <a:lnTo>
                    <a:pt x="28" y="990"/>
                  </a:lnTo>
                  <a:lnTo>
                    <a:pt x="26" y="982"/>
                  </a:lnTo>
                  <a:lnTo>
                    <a:pt x="26" y="975"/>
                  </a:lnTo>
                  <a:lnTo>
                    <a:pt x="28" y="968"/>
                  </a:lnTo>
                  <a:lnTo>
                    <a:pt x="33" y="963"/>
                  </a:lnTo>
                  <a:lnTo>
                    <a:pt x="44" y="958"/>
                  </a:lnTo>
                  <a:lnTo>
                    <a:pt x="58" y="953"/>
                  </a:lnTo>
                  <a:lnTo>
                    <a:pt x="58" y="953"/>
                  </a:lnTo>
                  <a:lnTo>
                    <a:pt x="74" y="947"/>
                  </a:lnTo>
                  <a:lnTo>
                    <a:pt x="86" y="940"/>
                  </a:lnTo>
                  <a:lnTo>
                    <a:pt x="98" y="931"/>
                  </a:lnTo>
                  <a:lnTo>
                    <a:pt x="107" y="923"/>
                  </a:lnTo>
                  <a:lnTo>
                    <a:pt x="112" y="910"/>
                  </a:lnTo>
                  <a:lnTo>
                    <a:pt x="116" y="900"/>
                  </a:lnTo>
                  <a:lnTo>
                    <a:pt x="116" y="889"/>
                  </a:lnTo>
                  <a:lnTo>
                    <a:pt x="114" y="879"/>
                  </a:lnTo>
                  <a:lnTo>
                    <a:pt x="114" y="879"/>
                  </a:lnTo>
                  <a:lnTo>
                    <a:pt x="105" y="859"/>
                  </a:lnTo>
                  <a:lnTo>
                    <a:pt x="98" y="842"/>
                  </a:lnTo>
                  <a:lnTo>
                    <a:pt x="95" y="827"/>
                  </a:lnTo>
                  <a:lnTo>
                    <a:pt x="97" y="824"/>
                  </a:lnTo>
                  <a:lnTo>
                    <a:pt x="97" y="820"/>
                  </a:lnTo>
                  <a:lnTo>
                    <a:pt x="97" y="820"/>
                  </a:lnTo>
                  <a:lnTo>
                    <a:pt x="104" y="812"/>
                  </a:lnTo>
                  <a:lnTo>
                    <a:pt x="109" y="801"/>
                  </a:lnTo>
                  <a:lnTo>
                    <a:pt x="111" y="794"/>
                  </a:lnTo>
                  <a:lnTo>
                    <a:pt x="111" y="789"/>
                  </a:lnTo>
                  <a:lnTo>
                    <a:pt x="107" y="783"/>
                  </a:lnTo>
                  <a:lnTo>
                    <a:pt x="100" y="778"/>
                  </a:lnTo>
                  <a:lnTo>
                    <a:pt x="100" y="778"/>
                  </a:lnTo>
                  <a:lnTo>
                    <a:pt x="84" y="768"/>
                  </a:lnTo>
                  <a:lnTo>
                    <a:pt x="70" y="755"/>
                  </a:lnTo>
                  <a:lnTo>
                    <a:pt x="58" y="741"/>
                  </a:lnTo>
                  <a:lnTo>
                    <a:pt x="47" y="724"/>
                  </a:lnTo>
                  <a:lnTo>
                    <a:pt x="47" y="724"/>
                  </a:lnTo>
                  <a:lnTo>
                    <a:pt x="0" y="625"/>
                  </a:lnTo>
                  <a:lnTo>
                    <a:pt x="0" y="625"/>
                  </a:lnTo>
                  <a:lnTo>
                    <a:pt x="7" y="597"/>
                  </a:lnTo>
                  <a:lnTo>
                    <a:pt x="16" y="576"/>
                  </a:lnTo>
                  <a:lnTo>
                    <a:pt x="19" y="567"/>
                  </a:lnTo>
                  <a:lnTo>
                    <a:pt x="24" y="560"/>
                  </a:lnTo>
                  <a:lnTo>
                    <a:pt x="24" y="560"/>
                  </a:lnTo>
                  <a:lnTo>
                    <a:pt x="45" y="535"/>
                  </a:lnTo>
                  <a:lnTo>
                    <a:pt x="60" y="521"/>
                  </a:lnTo>
                  <a:lnTo>
                    <a:pt x="75" y="507"/>
                  </a:lnTo>
                  <a:lnTo>
                    <a:pt x="75" y="507"/>
                  </a:lnTo>
                  <a:lnTo>
                    <a:pt x="84" y="500"/>
                  </a:lnTo>
                  <a:lnTo>
                    <a:pt x="93" y="491"/>
                  </a:lnTo>
                  <a:lnTo>
                    <a:pt x="109" y="470"/>
                  </a:lnTo>
                  <a:lnTo>
                    <a:pt x="121" y="449"/>
                  </a:lnTo>
                  <a:lnTo>
                    <a:pt x="130" y="433"/>
                  </a:lnTo>
                  <a:lnTo>
                    <a:pt x="130" y="433"/>
                  </a:lnTo>
                  <a:lnTo>
                    <a:pt x="132" y="424"/>
                  </a:lnTo>
                  <a:lnTo>
                    <a:pt x="132" y="412"/>
                  </a:lnTo>
                  <a:lnTo>
                    <a:pt x="132" y="380"/>
                  </a:lnTo>
                  <a:lnTo>
                    <a:pt x="128" y="338"/>
                  </a:lnTo>
                  <a:lnTo>
                    <a:pt x="128" y="338"/>
                  </a:lnTo>
                  <a:lnTo>
                    <a:pt x="132" y="308"/>
                  </a:lnTo>
                  <a:lnTo>
                    <a:pt x="135" y="287"/>
                  </a:lnTo>
                  <a:lnTo>
                    <a:pt x="139" y="274"/>
                  </a:lnTo>
                  <a:lnTo>
                    <a:pt x="139" y="274"/>
                  </a:lnTo>
                  <a:lnTo>
                    <a:pt x="141" y="260"/>
                  </a:lnTo>
                  <a:lnTo>
                    <a:pt x="142" y="236"/>
                  </a:lnTo>
                  <a:lnTo>
                    <a:pt x="141" y="222"/>
                  </a:lnTo>
                  <a:lnTo>
                    <a:pt x="139" y="207"/>
                  </a:lnTo>
                  <a:lnTo>
                    <a:pt x="135" y="195"/>
                  </a:lnTo>
                  <a:lnTo>
                    <a:pt x="130" y="183"/>
                  </a:lnTo>
                  <a:lnTo>
                    <a:pt x="130" y="183"/>
                  </a:lnTo>
                  <a:lnTo>
                    <a:pt x="118" y="167"/>
                  </a:lnTo>
                  <a:lnTo>
                    <a:pt x="109" y="155"/>
                  </a:lnTo>
                  <a:lnTo>
                    <a:pt x="104" y="144"/>
                  </a:lnTo>
                  <a:lnTo>
                    <a:pt x="100" y="134"/>
                  </a:lnTo>
                  <a:lnTo>
                    <a:pt x="100" y="134"/>
                  </a:lnTo>
                  <a:lnTo>
                    <a:pt x="102" y="119"/>
                  </a:lnTo>
                  <a:lnTo>
                    <a:pt x="102" y="91"/>
                  </a:lnTo>
                  <a:lnTo>
                    <a:pt x="102" y="74"/>
                  </a:lnTo>
                  <a:lnTo>
                    <a:pt x="100" y="60"/>
                  </a:lnTo>
                  <a:lnTo>
                    <a:pt x="95" y="45"/>
                  </a:lnTo>
                  <a:lnTo>
                    <a:pt x="91" y="42"/>
                  </a:lnTo>
                  <a:lnTo>
                    <a:pt x="88" y="37"/>
                  </a:lnTo>
                  <a:lnTo>
                    <a:pt x="88" y="37"/>
                  </a:lnTo>
                  <a:lnTo>
                    <a:pt x="109" y="21"/>
                  </a:lnTo>
                  <a:lnTo>
                    <a:pt x="126" y="8"/>
                  </a:lnTo>
                  <a:lnTo>
                    <a:pt x="134" y="3"/>
                  </a:lnTo>
                  <a:lnTo>
                    <a:pt x="139" y="1"/>
                  </a:lnTo>
                  <a:lnTo>
                    <a:pt x="139" y="1"/>
                  </a:lnTo>
                  <a:lnTo>
                    <a:pt x="148" y="0"/>
                  </a:lnTo>
                  <a:lnTo>
                    <a:pt x="156" y="0"/>
                  </a:lnTo>
                  <a:lnTo>
                    <a:pt x="169" y="1"/>
                  </a:lnTo>
                  <a:lnTo>
                    <a:pt x="181" y="7"/>
                  </a:lnTo>
                  <a:lnTo>
                    <a:pt x="181" y="7"/>
                  </a:lnTo>
                  <a:lnTo>
                    <a:pt x="264" y="47"/>
                  </a:lnTo>
                  <a:lnTo>
                    <a:pt x="431" y="128"/>
                  </a:lnTo>
                  <a:lnTo>
                    <a:pt x="600" y="209"/>
                  </a:lnTo>
                  <a:lnTo>
                    <a:pt x="660" y="236"/>
                  </a:lnTo>
                  <a:lnTo>
                    <a:pt x="679" y="243"/>
                  </a:lnTo>
                  <a:lnTo>
                    <a:pt x="690" y="246"/>
                  </a:lnTo>
                  <a:lnTo>
                    <a:pt x="690" y="24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99" name="Freeform 25">
              <a:extLst>
                <a:ext uri="{FF2B5EF4-FFF2-40B4-BE49-F238E27FC236}">
                  <a16:creationId xmlns:a16="http://schemas.microsoft.com/office/drawing/2014/main" id="{7758D5EB-CED1-4BD0-B66B-241D0980BB1B}"/>
                </a:ext>
              </a:extLst>
            </p:cNvPr>
            <p:cNvSpPr>
              <a:spLocks/>
            </p:cNvSpPr>
            <p:nvPr/>
          </p:nvSpPr>
          <p:spPr bwMode="auto">
            <a:xfrm>
              <a:off x="3893816" y="3361208"/>
              <a:ext cx="710254" cy="587120"/>
            </a:xfrm>
            <a:custGeom>
              <a:avLst/>
              <a:gdLst/>
              <a:ahLst/>
              <a:cxnLst>
                <a:cxn ang="0">
                  <a:pos x="423" y="604"/>
                </a:cxn>
                <a:cxn ang="0">
                  <a:pos x="442" y="555"/>
                </a:cxn>
                <a:cxn ang="0">
                  <a:pos x="458" y="509"/>
                </a:cxn>
                <a:cxn ang="0">
                  <a:pos x="499" y="477"/>
                </a:cxn>
                <a:cxn ang="0">
                  <a:pos x="532" y="479"/>
                </a:cxn>
                <a:cxn ang="0">
                  <a:pos x="588" y="497"/>
                </a:cxn>
                <a:cxn ang="0">
                  <a:pos x="613" y="484"/>
                </a:cxn>
                <a:cxn ang="0">
                  <a:pos x="675" y="373"/>
                </a:cxn>
                <a:cxn ang="0">
                  <a:pos x="712" y="294"/>
                </a:cxn>
                <a:cxn ang="0">
                  <a:pos x="724" y="266"/>
                </a:cxn>
                <a:cxn ang="0">
                  <a:pos x="754" y="217"/>
                </a:cxn>
                <a:cxn ang="0">
                  <a:pos x="747" y="195"/>
                </a:cxn>
                <a:cxn ang="0">
                  <a:pos x="752" y="183"/>
                </a:cxn>
                <a:cxn ang="0">
                  <a:pos x="791" y="139"/>
                </a:cxn>
                <a:cxn ang="0">
                  <a:pos x="796" y="114"/>
                </a:cxn>
                <a:cxn ang="0">
                  <a:pos x="777" y="69"/>
                </a:cxn>
                <a:cxn ang="0">
                  <a:pos x="710" y="5"/>
                </a:cxn>
                <a:cxn ang="0">
                  <a:pos x="691" y="16"/>
                </a:cxn>
                <a:cxn ang="0">
                  <a:pos x="655" y="32"/>
                </a:cxn>
                <a:cxn ang="0">
                  <a:pos x="604" y="35"/>
                </a:cxn>
                <a:cxn ang="0">
                  <a:pos x="571" y="26"/>
                </a:cxn>
                <a:cxn ang="0">
                  <a:pos x="527" y="26"/>
                </a:cxn>
                <a:cxn ang="0">
                  <a:pos x="497" y="55"/>
                </a:cxn>
                <a:cxn ang="0">
                  <a:pos x="484" y="72"/>
                </a:cxn>
                <a:cxn ang="0">
                  <a:pos x="455" y="72"/>
                </a:cxn>
                <a:cxn ang="0">
                  <a:pos x="370" y="37"/>
                </a:cxn>
                <a:cxn ang="0">
                  <a:pos x="319" y="25"/>
                </a:cxn>
                <a:cxn ang="0">
                  <a:pos x="256" y="30"/>
                </a:cxn>
                <a:cxn ang="0">
                  <a:pos x="215" y="3"/>
                </a:cxn>
                <a:cxn ang="0">
                  <a:pos x="162" y="2"/>
                </a:cxn>
                <a:cxn ang="0">
                  <a:pos x="132" y="23"/>
                </a:cxn>
                <a:cxn ang="0">
                  <a:pos x="81" y="77"/>
                </a:cxn>
                <a:cxn ang="0">
                  <a:pos x="69" y="171"/>
                </a:cxn>
                <a:cxn ang="0">
                  <a:pos x="79" y="192"/>
                </a:cxn>
                <a:cxn ang="0">
                  <a:pos x="57" y="261"/>
                </a:cxn>
                <a:cxn ang="0">
                  <a:pos x="30" y="320"/>
                </a:cxn>
                <a:cxn ang="0">
                  <a:pos x="16" y="357"/>
                </a:cxn>
                <a:cxn ang="0">
                  <a:pos x="0" y="465"/>
                </a:cxn>
                <a:cxn ang="0">
                  <a:pos x="2" y="523"/>
                </a:cxn>
                <a:cxn ang="0">
                  <a:pos x="65" y="516"/>
                </a:cxn>
                <a:cxn ang="0">
                  <a:pos x="113" y="523"/>
                </a:cxn>
                <a:cxn ang="0">
                  <a:pos x="138" y="539"/>
                </a:cxn>
                <a:cxn ang="0">
                  <a:pos x="164" y="562"/>
                </a:cxn>
                <a:cxn ang="0">
                  <a:pos x="171" y="588"/>
                </a:cxn>
                <a:cxn ang="0">
                  <a:pos x="180" y="595"/>
                </a:cxn>
                <a:cxn ang="0">
                  <a:pos x="204" y="597"/>
                </a:cxn>
                <a:cxn ang="0">
                  <a:pos x="212" y="629"/>
                </a:cxn>
                <a:cxn ang="0">
                  <a:pos x="233" y="646"/>
                </a:cxn>
                <a:cxn ang="0">
                  <a:pos x="287" y="659"/>
                </a:cxn>
                <a:cxn ang="0">
                  <a:pos x="301" y="657"/>
                </a:cxn>
                <a:cxn ang="0">
                  <a:pos x="301" y="646"/>
                </a:cxn>
                <a:cxn ang="0">
                  <a:pos x="319" y="650"/>
                </a:cxn>
                <a:cxn ang="0">
                  <a:pos x="372" y="645"/>
                </a:cxn>
                <a:cxn ang="0">
                  <a:pos x="395" y="641"/>
                </a:cxn>
              </a:cxnLst>
              <a:rect l="0" t="0" r="r" b="b"/>
              <a:pathLst>
                <a:path w="796" h="659">
                  <a:moveTo>
                    <a:pt x="405" y="632"/>
                  </a:moveTo>
                  <a:lnTo>
                    <a:pt x="405" y="632"/>
                  </a:lnTo>
                  <a:lnTo>
                    <a:pt x="423" y="604"/>
                  </a:lnTo>
                  <a:lnTo>
                    <a:pt x="423" y="604"/>
                  </a:lnTo>
                  <a:lnTo>
                    <a:pt x="430" y="593"/>
                  </a:lnTo>
                  <a:lnTo>
                    <a:pt x="435" y="585"/>
                  </a:lnTo>
                  <a:lnTo>
                    <a:pt x="439" y="569"/>
                  </a:lnTo>
                  <a:lnTo>
                    <a:pt x="442" y="555"/>
                  </a:lnTo>
                  <a:lnTo>
                    <a:pt x="444" y="539"/>
                  </a:lnTo>
                  <a:lnTo>
                    <a:pt x="444" y="539"/>
                  </a:lnTo>
                  <a:lnTo>
                    <a:pt x="451" y="520"/>
                  </a:lnTo>
                  <a:lnTo>
                    <a:pt x="458" y="509"/>
                  </a:lnTo>
                  <a:lnTo>
                    <a:pt x="465" y="498"/>
                  </a:lnTo>
                  <a:lnTo>
                    <a:pt x="474" y="490"/>
                  </a:lnTo>
                  <a:lnTo>
                    <a:pt x="486" y="483"/>
                  </a:lnTo>
                  <a:lnTo>
                    <a:pt x="499" y="477"/>
                  </a:lnTo>
                  <a:lnTo>
                    <a:pt x="507" y="477"/>
                  </a:lnTo>
                  <a:lnTo>
                    <a:pt x="514" y="477"/>
                  </a:lnTo>
                  <a:lnTo>
                    <a:pt x="514" y="477"/>
                  </a:lnTo>
                  <a:lnTo>
                    <a:pt x="532" y="479"/>
                  </a:lnTo>
                  <a:lnTo>
                    <a:pt x="548" y="484"/>
                  </a:lnTo>
                  <a:lnTo>
                    <a:pt x="562" y="490"/>
                  </a:lnTo>
                  <a:lnTo>
                    <a:pt x="576" y="495"/>
                  </a:lnTo>
                  <a:lnTo>
                    <a:pt x="588" y="497"/>
                  </a:lnTo>
                  <a:lnTo>
                    <a:pt x="595" y="495"/>
                  </a:lnTo>
                  <a:lnTo>
                    <a:pt x="601" y="493"/>
                  </a:lnTo>
                  <a:lnTo>
                    <a:pt x="606" y="490"/>
                  </a:lnTo>
                  <a:lnTo>
                    <a:pt x="613" y="484"/>
                  </a:lnTo>
                  <a:lnTo>
                    <a:pt x="618" y="477"/>
                  </a:lnTo>
                  <a:lnTo>
                    <a:pt x="624" y="468"/>
                  </a:lnTo>
                  <a:lnTo>
                    <a:pt x="624" y="468"/>
                  </a:lnTo>
                  <a:lnTo>
                    <a:pt x="675" y="373"/>
                  </a:lnTo>
                  <a:lnTo>
                    <a:pt x="696" y="333"/>
                  </a:lnTo>
                  <a:lnTo>
                    <a:pt x="708" y="306"/>
                  </a:lnTo>
                  <a:lnTo>
                    <a:pt x="708" y="306"/>
                  </a:lnTo>
                  <a:lnTo>
                    <a:pt x="712" y="294"/>
                  </a:lnTo>
                  <a:lnTo>
                    <a:pt x="713" y="283"/>
                  </a:lnTo>
                  <a:lnTo>
                    <a:pt x="717" y="275"/>
                  </a:lnTo>
                  <a:lnTo>
                    <a:pt x="724" y="266"/>
                  </a:lnTo>
                  <a:lnTo>
                    <a:pt x="724" y="266"/>
                  </a:lnTo>
                  <a:lnTo>
                    <a:pt x="735" y="254"/>
                  </a:lnTo>
                  <a:lnTo>
                    <a:pt x="745" y="239"/>
                  </a:lnTo>
                  <a:lnTo>
                    <a:pt x="752" y="224"/>
                  </a:lnTo>
                  <a:lnTo>
                    <a:pt x="754" y="217"/>
                  </a:lnTo>
                  <a:lnTo>
                    <a:pt x="754" y="211"/>
                  </a:lnTo>
                  <a:lnTo>
                    <a:pt x="754" y="211"/>
                  </a:lnTo>
                  <a:lnTo>
                    <a:pt x="750" y="202"/>
                  </a:lnTo>
                  <a:lnTo>
                    <a:pt x="747" y="195"/>
                  </a:lnTo>
                  <a:lnTo>
                    <a:pt x="745" y="194"/>
                  </a:lnTo>
                  <a:lnTo>
                    <a:pt x="745" y="190"/>
                  </a:lnTo>
                  <a:lnTo>
                    <a:pt x="749" y="187"/>
                  </a:lnTo>
                  <a:lnTo>
                    <a:pt x="752" y="183"/>
                  </a:lnTo>
                  <a:lnTo>
                    <a:pt x="752" y="183"/>
                  </a:lnTo>
                  <a:lnTo>
                    <a:pt x="764" y="171"/>
                  </a:lnTo>
                  <a:lnTo>
                    <a:pt x="779" y="155"/>
                  </a:lnTo>
                  <a:lnTo>
                    <a:pt x="791" y="139"/>
                  </a:lnTo>
                  <a:lnTo>
                    <a:pt x="794" y="132"/>
                  </a:lnTo>
                  <a:lnTo>
                    <a:pt x="796" y="127"/>
                  </a:lnTo>
                  <a:lnTo>
                    <a:pt x="796" y="127"/>
                  </a:lnTo>
                  <a:lnTo>
                    <a:pt x="796" y="114"/>
                  </a:lnTo>
                  <a:lnTo>
                    <a:pt x="794" y="102"/>
                  </a:lnTo>
                  <a:lnTo>
                    <a:pt x="789" y="83"/>
                  </a:lnTo>
                  <a:lnTo>
                    <a:pt x="789" y="83"/>
                  </a:lnTo>
                  <a:lnTo>
                    <a:pt x="777" y="69"/>
                  </a:lnTo>
                  <a:lnTo>
                    <a:pt x="750" y="39"/>
                  </a:lnTo>
                  <a:lnTo>
                    <a:pt x="736" y="25"/>
                  </a:lnTo>
                  <a:lnTo>
                    <a:pt x="722" y="14"/>
                  </a:lnTo>
                  <a:lnTo>
                    <a:pt x="710" y="5"/>
                  </a:lnTo>
                  <a:lnTo>
                    <a:pt x="706" y="3"/>
                  </a:lnTo>
                  <a:lnTo>
                    <a:pt x="703" y="5"/>
                  </a:lnTo>
                  <a:lnTo>
                    <a:pt x="703" y="5"/>
                  </a:lnTo>
                  <a:lnTo>
                    <a:pt x="691" y="16"/>
                  </a:lnTo>
                  <a:lnTo>
                    <a:pt x="678" y="23"/>
                  </a:lnTo>
                  <a:lnTo>
                    <a:pt x="668" y="28"/>
                  </a:lnTo>
                  <a:lnTo>
                    <a:pt x="668" y="28"/>
                  </a:lnTo>
                  <a:lnTo>
                    <a:pt x="655" y="32"/>
                  </a:lnTo>
                  <a:lnTo>
                    <a:pt x="636" y="35"/>
                  </a:lnTo>
                  <a:lnTo>
                    <a:pt x="627" y="37"/>
                  </a:lnTo>
                  <a:lnTo>
                    <a:pt x="615" y="35"/>
                  </a:lnTo>
                  <a:lnTo>
                    <a:pt x="604" y="35"/>
                  </a:lnTo>
                  <a:lnTo>
                    <a:pt x="592" y="32"/>
                  </a:lnTo>
                  <a:lnTo>
                    <a:pt x="592" y="32"/>
                  </a:lnTo>
                  <a:lnTo>
                    <a:pt x="581" y="28"/>
                  </a:lnTo>
                  <a:lnTo>
                    <a:pt x="571" y="26"/>
                  </a:lnTo>
                  <a:lnTo>
                    <a:pt x="550" y="25"/>
                  </a:lnTo>
                  <a:lnTo>
                    <a:pt x="530" y="25"/>
                  </a:lnTo>
                  <a:lnTo>
                    <a:pt x="530" y="25"/>
                  </a:lnTo>
                  <a:lnTo>
                    <a:pt x="527" y="26"/>
                  </a:lnTo>
                  <a:lnTo>
                    <a:pt x="516" y="32"/>
                  </a:lnTo>
                  <a:lnTo>
                    <a:pt x="509" y="37"/>
                  </a:lnTo>
                  <a:lnTo>
                    <a:pt x="504" y="46"/>
                  </a:lnTo>
                  <a:lnTo>
                    <a:pt x="497" y="55"/>
                  </a:lnTo>
                  <a:lnTo>
                    <a:pt x="490" y="69"/>
                  </a:lnTo>
                  <a:lnTo>
                    <a:pt x="490" y="69"/>
                  </a:lnTo>
                  <a:lnTo>
                    <a:pt x="488" y="70"/>
                  </a:lnTo>
                  <a:lnTo>
                    <a:pt x="484" y="72"/>
                  </a:lnTo>
                  <a:lnTo>
                    <a:pt x="481" y="74"/>
                  </a:lnTo>
                  <a:lnTo>
                    <a:pt x="474" y="76"/>
                  </a:lnTo>
                  <a:lnTo>
                    <a:pt x="465" y="76"/>
                  </a:lnTo>
                  <a:lnTo>
                    <a:pt x="455" y="72"/>
                  </a:lnTo>
                  <a:lnTo>
                    <a:pt x="439" y="65"/>
                  </a:lnTo>
                  <a:lnTo>
                    <a:pt x="439" y="65"/>
                  </a:lnTo>
                  <a:lnTo>
                    <a:pt x="403" y="51"/>
                  </a:lnTo>
                  <a:lnTo>
                    <a:pt x="370" y="37"/>
                  </a:lnTo>
                  <a:lnTo>
                    <a:pt x="340" y="28"/>
                  </a:lnTo>
                  <a:lnTo>
                    <a:pt x="328" y="25"/>
                  </a:lnTo>
                  <a:lnTo>
                    <a:pt x="319" y="25"/>
                  </a:lnTo>
                  <a:lnTo>
                    <a:pt x="319" y="25"/>
                  </a:lnTo>
                  <a:lnTo>
                    <a:pt x="285" y="28"/>
                  </a:lnTo>
                  <a:lnTo>
                    <a:pt x="261" y="30"/>
                  </a:lnTo>
                  <a:lnTo>
                    <a:pt x="261" y="30"/>
                  </a:lnTo>
                  <a:lnTo>
                    <a:pt x="256" y="30"/>
                  </a:lnTo>
                  <a:lnTo>
                    <a:pt x="250" y="26"/>
                  </a:lnTo>
                  <a:lnTo>
                    <a:pt x="238" y="19"/>
                  </a:lnTo>
                  <a:lnTo>
                    <a:pt x="215" y="3"/>
                  </a:lnTo>
                  <a:lnTo>
                    <a:pt x="215" y="3"/>
                  </a:lnTo>
                  <a:lnTo>
                    <a:pt x="204" y="0"/>
                  </a:lnTo>
                  <a:lnTo>
                    <a:pt x="187" y="0"/>
                  </a:lnTo>
                  <a:lnTo>
                    <a:pt x="169" y="0"/>
                  </a:lnTo>
                  <a:lnTo>
                    <a:pt x="162" y="2"/>
                  </a:lnTo>
                  <a:lnTo>
                    <a:pt x="155" y="5"/>
                  </a:lnTo>
                  <a:lnTo>
                    <a:pt x="155" y="5"/>
                  </a:lnTo>
                  <a:lnTo>
                    <a:pt x="145" y="12"/>
                  </a:lnTo>
                  <a:lnTo>
                    <a:pt x="132" y="23"/>
                  </a:lnTo>
                  <a:lnTo>
                    <a:pt x="113" y="42"/>
                  </a:lnTo>
                  <a:lnTo>
                    <a:pt x="113" y="42"/>
                  </a:lnTo>
                  <a:lnTo>
                    <a:pt x="101" y="55"/>
                  </a:lnTo>
                  <a:lnTo>
                    <a:pt x="81" y="77"/>
                  </a:lnTo>
                  <a:lnTo>
                    <a:pt x="64" y="102"/>
                  </a:lnTo>
                  <a:lnTo>
                    <a:pt x="58" y="113"/>
                  </a:lnTo>
                  <a:lnTo>
                    <a:pt x="55" y="121"/>
                  </a:lnTo>
                  <a:lnTo>
                    <a:pt x="69" y="171"/>
                  </a:lnTo>
                  <a:lnTo>
                    <a:pt x="69" y="171"/>
                  </a:lnTo>
                  <a:lnTo>
                    <a:pt x="74" y="178"/>
                  </a:lnTo>
                  <a:lnTo>
                    <a:pt x="78" y="185"/>
                  </a:lnTo>
                  <a:lnTo>
                    <a:pt x="79" y="192"/>
                  </a:lnTo>
                  <a:lnTo>
                    <a:pt x="79" y="192"/>
                  </a:lnTo>
                  <a:lnTo>
                    <a:pt x="78" y="204"/>
                  </a:lnTo>
                  <a:lnTo>
                    <a:pt x="71" y="227"/>
                  </a:lnTo>
                  <a:lnTo>
                    <a:pt x="57" y="261"/>
                  </a:lnTo>
                  <a:lnTo>
                    <a:pt x="48" y="280"/>
                  </a:lnTo>
                  <a:lnTo>
                    <a:pt x="35" y="299"/>
                  </a:lnTo>
                  <a:lnTo>
                    <a:pt x="35" y="299"/>
                  </a:lnTo>
                  <a:lnTo>
                    <a:pt x="30" y="320"/>
                  </a:lnTo>
                  <a:lnTo>
                    <a:pt x="25" y="336"/>
                  </a:lnTo>
                  <a:lnTo>
                    <a:pt x="21" y="347"/>
                  </a:lnTo>
                  <a:lnTo>
                    <a:pt x="21" y="347"/>
                  </a:lnTo>
                  <a:lnTo>
                    <a:pt x="16" y="357"/>
                  </a:lnTo>
                  <a:lnTo>
                    <a:pt x="11" y="375"/>
                  </a:lnTo>
                  <a:lnTo>
                    <a:pt x="5" y="403"/>
                  </a:lnTo>
                  <a:lnTo>
                    <a:pt x="5" y="403"/>
                  </a:lnTo>
                  <a:lnTo>
                    <a:pt x="0" y="465"/>
                  </a:lnTo>
                  <a:lnTo>
                    <a:pt x="0" y="504"/>
                  </a:lnTo>
                  <a:lnTo>
                    <a:pt x="0" y="518"/>
                  </a:lnTo>
                  <a:lnTo>
                    <a:pt x="2" y="523"/>
                  </a:lnTo>
                  <a:lnTo>
                    <a:pt x="2" y="523"/>
                  </a:lnTo>
                  <a:lnTo>
                    <a:pt x="9" y="521"/>
                  </a:lnTo>
                  <a:lnTo>
                    <a:pt x="28" y="518"/>
                  </a:lnTo>
                  <a:lnTo>
                    <a:pt x="53" y="516"/>
                  </a:lnTo>
                  <a:lnTo>
                    <a:pt x="65" y="516"/>
                  </a:lnTo>
                  <a:lnTo>
                    <a:pt x="78" y="516"/>
                  </a:lnTo>
                  <a:lnTo>
                    <a:pt x="78" y="516"/>
                  </a:lnTo>
                  <a:lnTo>
                    <a:pt x="97" y="520"/>
                  </a:lnTo>
                  <a:lnTo>
                    <a:pt x="113" y="523"/>
                  </a:lnTo>
                  <a:lnTo>
                    <a:pt x="120" y="525"/>
                  </a:lnTo>
                  <a:lnTo>
                    <a:pt x="127" y="528"/>
                  </a:lnTo>
                  <a:lnTo>
                    <a:pt x="132" y="534"/>
                  </a:lnTo>
                  <a:lnTo>
                    <a:pt x="138" y="539"/>
                  </a:lnTo>
                  <a:lnTo>
                    <a:pt x="138" y="539"/>
                  </a:lnTo>
                  <a:lnTo>
                    <a:pt x="148" y="549"/>
                  </a:lnTo>
                  <a:lnTo>
                    <a:pt x="157" y="555"/>
                  </a:lnTo>
                  <a:lnTo>
                    <a:pt x="164" y="562"/>
                  </a:lnTo>
                  <a:lnTo>
                    <a:pt x="166" y="565"/>
                  </a:lnTo>
                  <a:lnTo>
                    <a:pt x="167" y="569"/>
                  </a:lnTo>
                  <a:lnTo>
                    <a:pt x="167" y="569"/>
                  </a:lnTo>
                  <a:lnTo>
                    <a:pt x="171" y="588"/>
                  </a:lnTo>
                  <a:lnTo>
                    <a:pt x="175" y="593"/>
                  </a:lnTo>
                  <a:lnTo>
                    <a:pt x="176" y="595"/>
                  </a:lnTo>
                  <a:lnTo>
                    <a:pt x="180" y="595"/>
                  </a:lnTo>
                  <a:lnTo>
                    <a:pt x="180" y="595"/>
                  </a:lnTo>
                  <a:lnTo>
                    <a:pt x="196" y="593"/>
                  </a:lnTo>
                  <a:lnTo>
                    <a:pt x="201" y="593"/>
                  </a:lnTo>
                  <a:lnTo>
                    <a:pt x="204" y="595"/>
                  </a:lnTo>
                  <a:lnTo>
                    <a:pt x="204" y="597"/>
                  </a:lnTo>
                  <a:lnTo>
                    <a:pt x="204" y="597"/>
                  </a:lnTo>
                  <a:lnTo>
                    <a:pt x="208" y="616"/>
                  </a:lnTo>
                  <a:lnTo>
                    <a:pt x="210" y="625"/>
                  </a:lnTo>
                  <a:lnTo>
                    <a:pt x="212" y="629"/>
                  </a:lnTo>
                  <a:lnTo>
                    <a:pt x="215" y="632"/>
                  </a:lnTo>
                  <a:lnTo>
                    <a:pt x="215" y="632"/>
                  </a:lnTo>
                  <a:lnTo>
                    <a:pt x="224" y="639"/>
                  </a:lnTo>
                  <a:lnTo>
                    <a:pt x="233" y="646"/>
                  </a:lnTo>
                  <a:lnTo>
                    <a:pt x="245" y="652"/>
                  </a:lnTo>
                  <a:lnTo>
                    <a:pt x="261" y="655"/>
                  </a:lnTo>
                  <a:lnTo>
                    <a:pt x="261" y="655"/>
                  </a:lnTo>
                  <a:lnTo>
                    <a:pt x="287" y="659"/>
                  </a:lnTo>
                  <a:lnTo>
                    <a:pt x="296" y="659"/>
                  </a:lnTo>
                  <a:lnTo>
                    <a:pt x="300" y="659"/>
                  </a:lnTo>
                  <a:lnTo>
                    <a:pt x="301" y="657"/>
                  </a:lnTo>
                  <a:lnTo>
                    <a:pt x="301" y="657"/>
                  </a:lnTo>
                  <a:lnTo>
                    <a:pt x="303" y="653"/>
                  </a:lnTo>
                  <a:lnTo>
                    <a:pt x="303" y="652"/>
                  </a:lnTo>
                  <a:lnTo>
                    <a:pt x="301" y="648"/>
                  </a:lnTo>
                  <a:lnTo>
                    <a:pt x="301" y="646"/>
                  </a:lnTo>
                  <a:lnTo>
                    <a:pt x="303" y="646"/>
                  </a:lnTo>
                  <a:lnTo>
                    <a:pt x="312" y="648"/>
                  </a:lnTo>
                  <a:lnTo>
                    <a:pt x="312" y="648"/>
                  </a:lnTo>
                  <a:lnTo>
                    <a:pt x="319" y="650"/>
                  </a:lnTo>
                  <a:lnTo>
                    <a:pt x="326" y="650"/>
                  </a:lnTo>
                  <a:lnTo>
                    <a:pt x="342" y="648"/>
                  </a:lnTo>
                  <a:lnTo>
                    <a:pt x="358" y="645"/>
                  </a:lnTo>
                  <a:lnTo>
                    <a:pt x="372" y="645"/>
                  </a:lnTo>
                  <a:lnTo>
                    <a:pt x="372" y="645"/>
                  </a:lnTo>
                  <a:lnTo>
                    <a:pt x="382" y="645"/>
                  </a:lnTo>
                  <a:lnTo>
                    <a:pt x="389" y="645"/>
                  </a:lnTo>
                  <a:lnTo>
                    <a:pt x="395" y="641"/>
                  </a:lnTo>
                  <a:lnTo>
                    <a:pt x="405" y="632"/>
                  </a:lnTo>
                  <a:lnTo>
                    <a:pt x="405" y="63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0" name="Freeform 26">
              <a:extLst>
                <a:ext uri="{FF2B5EF4-FFF2-40B4-BE49-F238E27FC236}">
                  <a16:creationId xmlns:a16="http://schemas.microsoft.com/office/drawing/2014/main" id="{82E89DA4-1431-46CD-8A96-598027E6B16A}"/>
                </a:ext>
              </a:extLst>
            </p:cNvPr>
            <p:cNvSpPr>
              <a:spLocks/>
            </p:cNvSpPr>
            <p:nvPr/>
          </p:nvSpPr>
          <p:spPr bwMode="auto">
            <a:xfrm>
              <a:off x="4314971" y="4080384"/>
              <a:ext cx="132057" cy="76737"/>
            </a:xfrm>
            <a:custGeom>
              <a:avLst/>
              <a:gdLst/>
              <a:ahLst/>
              <a:cxnLst>
                <a:cxn ang="0">
                  <a:pos x="32" y="5"/>
                </a:cxn>
                <a:cxn ang="0">
                  <a:pos x="32" y="5"/>
                </a:cxn>
                <a:cxn ang="0">
                  <a:pos x="28" y="19"/>
                </a:cxn>
                <a:cxn ang="0">
                  <a:pos x="25" y="31"/>
                </a:cxn>
                <a:cxn ang="0">
                  <a:pos x="20" y="40"/>
                </a:cxn>
                <a:cxn ang="0">
                  <a:pos x="20" y="40"/>
                </a:cxn>
                <a:cxn ang="0">
                  <a:pos x="12" y="47"/>
                </a:cxn>
                <a:cxn ang="0">
                  <a:pos x="7" y="52"/>
                </a:cxn>
                <a:cxn ang="0">
                  <a:pos x="2" y="60"/>
                </a:cxn>
                <a:cxn ang="0">
                  <a:pos x="0" y="67"/>
                </a:cxn>
                <a:cxn ang="0">
                  <a:pos x="0" y="67"/>
                </a:cxn>
                <a:cxn ang="0">
                  <a:pos x="2" y="74"/>
                </a:cxn>
                <a:cxn ang="0">
                  <a:pos x="7" y="79"/>
                </a:cxn>
                <a:cxn ang="0">
                  <a:pos x="16" y="82"/>
                </a:cxn>
                <a:cxn ang="0">
                  <a:pos x="28" y="84"/>
                </a:cxn>
                <a:cxn ang="0">
                  <a:pos x="28" y="84"/>
                </a:cxn>
                <a:cxn ang="0">
                  <a:pos x="48" y="84"/>
                </a:cxn>
                <a:cxn ang="0">
                  <a:pos x="69" y="82"/>
                </a:cxn>
                <a:cxn ang="0">
                  <a:pos x="102" y="79"/>
                </a:cxn>
                <a:cxn ang="0">
                  <a:pos x="102" y="79"/>
                </a:cxn>
                <a:cxn ang="0">
                  <a:pos x="123" y="81"/>
                </a:cxn>
                <a:cxn ang="0">
                  <a:pos x="129" y="81"/>
                </a:cxn>
                <a:cxn ang="0">
                  <a:pos x="132" y="79"/>
                </a:cxn>
                <a:cxn ang="0">
                  <a:pos x="136" y="77"/>
                </a:cxn>
                <a:cxn ang="0">
                  <a:pos x="138" y="72"/>
                </a:cxn>
                <a:cxn ang="0">
                  <a:pos x="138" y="72"/>
                </a:cxn>
                <a:cxn ang="0">
                  <a:pos x="138" y="65"/>
                </a:cxn>
                <a:cxn ang="0">
                  <a:pos x="139" y="58"/>
                </a:cxn>
                <a:cxn ang="0">
                  <a:pos x="141" y="51"/>
                </a:cxn>
                <a:cxn ang="0">
                  <a:pos x="145" y="40"/>
                </a:cxn>
                <a:cxn ang="0">
                  <a:pos x="145" y="40"/>
                </a:cxn>
                <a:cxn ang="0">
                  <a:pos x="148" y="33"/>
                </a:cxn>
                <a:cxn ang="0">
                  <a:pos x="150" y="28"/>
                </a:cxn>
                <a:cxn ang="0">
                  <a:pos x="148" y="23"/>
                </a:cxn>
                <a:cxn ang="0">
                  <a:pos x="146" y="19"/>
                </a:cxn>
                <a:cxn ang="0">
                  <a:pos x="145" y="15"/>
                </a:cxn>
                <a:cxn ang="0">
                  <a:pos x="139" y="14"/>
                </a:cxn>
                <a:cxn ang="0">
                  <a:pos x="129" y="10"/>
                </a:cxn>
                <a:cxn ang="0">
                  <a:pos x="129" y="10"/>
                </a:cxn>
                <a:cxn ang="0">
                  <a:pos x="108" y="7"/>
                </a:cxn>
                <a:cxn ang="0">
                  <a:pos x="76" y="1"/>
                </a:cxn>
                <a:cxn ang="0">
                  <a:pos x="60" y="0"/>
                </a:cxn>
                <a:cxn ang="0">
                  <a:pos x="48" y="0"/>
                </a:cxn>
                <a:cxn ang="0">
                  <a:pos x="37" y="0"/>
                </a:cxn>
                <a:cxn ang="0">
                  <a:pos x="34" y="1"/>
                </a:cxn>
                <a:cxn ang="0">
                  <a:pos x="32" y="5"/>
                </a:cxn>
                <a:cxn ang="0">
                  <a:pos x="32" y="5"/>
                </a:cxn>
              </a:cxnLst>
              <a:rect l="0" t="0" r="r" b="b"/>
              <a:pathLst>
                <a:path w="150" h="84">
                  <a:moveTo>
                    <a:pt x="32" y="5"/>
                  </a:moveTo>
                  <a:lnTo>
                    <a:pt x="32" y="5"/>
                  </a:lnTo>
                  <a:lnTo>
                    <a:pt x="28" y="19"/>
                  </a:lnTo>
                  <a:lnTo>
                    <a:pt x="25" y="31"/>
                  </a:lnTo>
                  <a:lnTo>
                    <a:pt x="20" y="40"/>
                  </a:lnTo>
                  <a:lnTo>
                    <a:pt x="20" y="40"/>
                  </a:lnTo>
                  <a:lnTo>
                    <a:pt x="12" y="47"/>
                  </a:lnTo>
                  <a:lnTo>
                    <a:pt x="7" y="52"/>
                  </a:lnTo>
                  <a:lnTo>
                    <a:pt x="2" y="60"/>
                  </a:lnTo>
                  <a:lnTo>
                    <a:pt x="0" y="67"/>
                  </a:lnTo>
                  <a:lnTo>
                    <a:pt x="0" y="67"/>
                  </a:lnTo>
                  <a:lnTo>
                    <a:pt x="2" y="74"/>
                  </a:lnTo>
                  <a:lnTo>
                    <a:pt x="7" y="79"/>
                  </a:lnTo>
                  <a:lnTo>
                    <a:pt x="16" y="82"/>
                  </a:lnTo>
                  <a:lnTo>
                    <a:pt x="28" y="84"/>
                  </a:lnTo>
                  <a:lnTo>
                    <a:pt x="28" y="84"/>
                  </a:lnTo>
                  <a:lnTo>
                    <a:pt x="48" y="84"/>
                  </a:lnTo>
                  <a:lnTo>
                    <a:pt x="69" y="82"/>
                  </a:lnTo>
                  <a:lnTo>
                    <a:pt x="102" y="79"/>
                  </a:lnTo>
                  <a:lnTo>
                    <a:pt x="102" y="79"/>
                  </a:lnTo>
                  <a:lnTo>
                    <a:pt x="123" y="81"/>
                  </a:lnTo>
                  <a:lnTo>
                    <a:pt x="129" y="81"/>
                  </a:lnTo>
                  <a:lnTo>
                    <a:pt x="132" y="79"/>
                  </a:lnTo>
                  <a:lnTo>
                    <a:pt x="136" y="77"/>
                  </a:lnTo>
                  <a:lnTo>
                    <a:pt x="138" y="72"/>
                  </a:lnTo>
                  <a:lnTo>
                    <a:pt x="138" y="72"/>
                  </a:lnTo>
                  <a:lnTo>
                    <a:pt x="138" y="65"/>
                  </a:lnTo>
                  <a:lnTo>
                    <a:pt x="139" y="58"/>
                  </a:lnTo>
                  <a:lnTo>
                    <a:pt x="141" y="51"/>
                  </a:lnTo>
                  <a:lnTo>
                    <a:pt x="145" y="40"/>
                  </a:lnTo>
                  <a:lnTo>
                    <a:pt x="145" y="40"/>
                  </a:lnTo>
                  <a:lnTo>
                    <a:pt x="148" y="33"/>
                  </a:lnTo>
                  <a:lnTo>
                    <a:pt x="150" y="28"/>
                  </a:lnTo>
                  <a:lnTo>
                    <a:pt x="148" y="23"/>
                  </a:lnTo>
                  <a:lnTo>
                    <a:pt x="146" y="19"/>
                  </a:lnTo>
                  <a:lnTo>
                    <a:pt x="145" y="15"/>
                  </a:lnTo>
                  <a:lnTo>
                    <a:pt x="139" y="14"/>
                  </a:lnTo>
                  <a:lnTo>
                    <a:pt x="129" y="10"/>
                  </a:lnTo>
                  <a:lnTo>
                    <a:pt x="129" y="10"/>
                  </a:lnTo>
                  <a:lnTo>
                    <a:pt x="108" y="7"/>
                  </a:lnTo>
                  <a:lnTo>
                    <a:pt x="76" y="1"/>
                  </a:lnTo>
                  <a:lnTo>
                    <a:pt x="60" y="0"/>
                  </a:lnTo>
                  <a:lnTo>
                    <a:pt x="48" y="0"/>
                  </a:lnTo>
                  <a:lnTo>
                    <a:pt x="37" y="0"/>
                  </a:lnTo>
                  <a:lnTo>
                    <a:pt x="34" y="1"/>
                  </a:lnTo>
                  <a:lnTo>
                    <a:pt x="32" y="5"/>
                  </a:lnTo>
                  <a:lnTo>
                    <a:pt x="32"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1" name="Freeform 27">
              <a:extLst>
                <a:ext uri="{FF2B5EF4-FFF2-40B4-BE49-F238E27FC236}">
                  <a16:creationId xmlns:a16="http://schemas.microsoft.com/office/drawing/2014/main" id="{06321504-7E34-40E8-ACFF-1CB2F565554E}"/>
                </a:ext>
              </a:extLst>
            </p:cNvPr>
            <p:cNvSpPr>
              <a:spLocks/>
            </p:cNvSpPr>
            <p:nvPr/>
          </p:nvSpPr>
          <p:spPr bwMode="auto">
            <a:xfrm>
              <a:off x="4254296" y="3295179"/>
              <a:ext cx="488969" cy="806620"/>
            </a:xfrm>
            <a:custGeom>
              <a:avLst/>
              <a:gdLst/>
              <a:ahLst/>
              <a:cxnLst>
                <a:cxn ang="0">
                  <a:pos x="481" y="546"/>
                </a:cxn>
                <a:cxn ang="0">
                  <a:pos x="458" y="583"/>
                </a:cxn>
                <a:cxn ang="0">
                  <a:pos x="428" y="632"/>
                </a:cxn>
                <a:cxn ang="0">
                  <a:pos x="439" y="662"/>
                </a:cxn>
                <a:cxn ang="0">
                  <a:pos x="458" y="703"/>
                </a:cxn>
                <a:cxn ang="0">
                  <a:pos x="456" y="731"/>
                </a:cxn>
                <a:cxn ang="0">
                  <a:pos x="469" y="752"/>
                </a:cxn>
                <a:cxn ang="0">
                  <a:pos x="539" y="826"/>
                </a:cxn>
                <a:cxn ang="0">
                  <a:pos x="548" y="856"/>
                </a:cxn>
                <a:cxn ang="0">
                  <a:pos x="532" y="889"/>
                </a:cxn>
                <a:cxn ang="0">
                  <a:pos x="507" y="904"/>
                </a:cxn>
                <a:cxn ang="0">
                  <a:pos x="356" y="893"/>
                </a:cxn>
                <a:cxn ang="0">
                  <a:pos x="226" y="900"/>
                </a:cxn>
                <a:cxn ang="0">
                  <a:pos x="210" y="896"/>
                </a:cxn>
                <a:cxn ang="0">
                  <a:pos x="183" y="889"/>
                </a:cxn>
                <a:cxn ang="0">
                  <a:pos x="127" y="879"/>
                </a:cxn>
                <a:cxn ang="0">
                  <a:pos x="99" y="886"/>
                </a:cxn>
                <a:cxn ang="0">
                  <a:pos x="97" y="833"/>
                </a:cxn>
                <a:cxn ang="0">
                  <a:pos x="88" y="805"/>
                </a:cxn>
                <a:cxn ang="0">
                  <a:pos x="90" y="782"/>
                </a:cxn>
                <a:cxn ang="0">
                  <a:pos x="76" y="775"/>
                </a:cxn>
                <a:cxn ang="0">
                  <a:pos x="69" y="764"/>
                </a:cxn>
                <a:cxn ang="0">
                  <a:pos x="55" y="761"/>
                </a:cxn>
                <a:cxn ang="0">
                  <a:pos x="41" y="761"/>
                </a:cxn>
                <a:cxn ang="0">
                  <a:pos x="18" y="731"/>
                </a:cxn>
                <a:cxn ang="0">
                  <a:pos x="0" y="706"/>
                </a:cxn>
                <a:cxn ang="0">
                  <a:pos x="18" y="682"/>
                </a:cxn>
                <a:cxn ang="0">
                  <a:pos x="35" y="643"/>
                </a:cxn>
                <a:cxn ang="0">
                  <a:pos x="44" y="590"/>
                </a:cxn>
                <a:cxn ang="0">
                  <a:pos x="71" y="564"/>
                </a:cxn>
                <a:cxn ang="0">
                  <a:pos x="106" y="548"/>
                </a:cxn>
                <a:cxn ang="0">
                  <a:pos x="152" y="560"/>
                </a:cxn>
                <a:cxn ang="0">
                  <a:pos x="178" y="569"/>
                </a:cxn>
                <a:cxn ang="0">
                  <a:pos x="208" y="555"/>
                </a:cxn>
                <a:cxn ang="0">
                  <a:pos x="293" y="405"/>
                </a:cxn>
                <a:cxn ang="0">
                  <a:pos x="308" y="359"/>
                </a:cxn>
                <a:cxn ang="0">
                  <a:pos x="324" y="333"/>
                </a:cxn>
                <a:cxn ang="0">
                  <a:pos x="345" y="303"/>
                </a:cxn>
                <a:cxn ang="0">
                  <a:pos x="342" y="269"/>
                </a:cxn>
                <a:cxn ang="0">
                  <a:pos x="356" y="248"/>
                </a:cxn>
                <a:cxn ang="0">
                  <a:pos x="388" y="210"/>
                </a:cxn>
                <a:cxn ang="0">
                  <a:pos x="393" y="178"/>
                </a:cxn>
                <a:cxn ang="0">
                  <a:pos x="386" y="153"/>
                </a:cxn>
                <a:cxn ang="0">
                  <a:pos x="298" y="79"/>
                </a:cxn>
                <a:cxn ang="0">
                  <a:pos x="347" y="7"/>
                </a:cxn>
                <a:cxn ang="0">
                  <a:pos x="389" y="86"/>
                </a:cxn>
                <a:cxn ang="0">
                  <a:pos x="423" y="132"/>
                </a:cxn>
                <a:cxn ang="0">
                  <a:pos x="458" y="157"/>
                </a:cxn>
                <a:cxn ang="0">
                  <a:pos x="463" y="173"/>
                </a:cxn>
                <a:cxn ang="0">
                  <a:pos x="451" y="192"/>
                </a:cxn>
                <a:cxn ang="0">
                  <a:pos x="448" y="217"/>
                </a:cxn>
                <a:cxn ang="0">
                  <a:pos x="465" y="255"/>
                </a:cxn>
                <a:cxn ang="0">
                  <a:pos x="467" y="276"/>
                </a:cxn>
                <a:cxn ang="0">
                  <a:pos x="440" y="313"/>
                </a:cxn>
                <a:cxn ang="0">
                  <a:pos x="389" y="336"/>
                </a:cxn>
                <a:cxn ang="0">
                  <a:pos x="377" y="352"/>
                </a:cxn>
                <a:cxn ang="0">
                  <a:pos x="388" y="379"/>
                </a:cxn>
                <a:cxn ang="0">
                  <a:pos x="432" y="398"/>
                </a:cxn>
                <a:cxn ang="0">
                  <a:pos x="467" y="421"/>
                </a:cxn>
                <a:cxn ang="0">
                  <a:pos x="490" y="477"/>
                </a:cxn>
                <a:cxn ang="0">
                  <a:pos x="500" y="498"/>
                </a:cxn>
              </a:cxnLst>
              <a:rect l="0" t="0" r="r" b="b"/>
              <a:pathLst>
                <a:path w="548" h="904">
                  <a:moveTo>
                    <a:pt x="500" y="498"/>
                  </a:moveTo>
                  <a:lnTo>
                    <a:pt x="500" y="498"/>
                  </a:lnTo>
                  <a:lnTo>
                    <a:pt x="490" y="525"/>
                  </a:lnTo>
                  <a:lnTo>
                    <a:pt x="481" y="546"/>
                  </a:lnTo>
                  <a:lnTo>
                    <a:pt x="470" y="565"/>
                  </a:lnTo>
                  <a:lnTo>
                    <a:pt x="470" y="565"/>
                  </a:lnTo>
                  <a:lnTo>
                    <a:pt x="465" y="574"/>
                  </a:lnTo>
                  <a:lnTo>
                    <a:pt x="458" y="583"/>
                  </a:lnTo>
                  <a:lnTo>
                    <a:pt x="442" y="601"/>
                  </a:lnTo>
                  <a:lnTo>
                    <a:pt x="435" y="611"/>
                  </a:lnTo>
                  <a:lnTo>
                    <a:pt x="432" y="622"/>
                  </a:lnTo>
                  <a:lnTo>
                    <a:pt x="428" y="632"/>
                  </a:lnTo>
                  <a:lnTo>
                    <a:pt x="430" y="643"/>
                  </a:lnTo>
                  <a:lnTo>
                    <a:pt x="430" y="643"/>
                  </a:lnTo>
                  <a:lnTo>
                    <a:pt x="433" y="653"/>
                  </a:lnTo>
                  <a:lnTo>
                    <a:pt x="439" y="662"/>
                  </a:lnTo>
                  <a:lnTo>
                    <a:pt x="446" y="673"/>
                  </a:lnTo>
                  <a:lnTo>
                    <a:pt x="453" y="683"/>
                  </a:lnTo>
                  <a:lnTo>
                    <a:pt x="455" y="692"/>
                  </a:lnTo>
                  <a:lnTo>
                    <a:pt x="458" y="703"/>
                  </a:lnTo>
                  <a:lnTo>
                    <a:pt x="458" y="703"/>
                  </a:lnTo>
                  <a:lnTo>
                    <a:pt x="458" y="713"/>
                  </a:lnTo>
                  <a:lnTo>
                    <a:pt x="458" y="720"/>
                  </a:lnTo>
                  <a:lnTo>
                    <a:pt x="456" y="731"/>
                  </a:lnTo>
                  <a:lnTo>
                    <a:pt x="456" y="734"/>
                  </a:lnTo>
                  <a:lnTo>
                    <a:pt x="458" y="740"/>
                  </a:lnTo>
                  <a:lnTo>
                    <a:pt x="462" y="745"/>
                  </a:lnTo>
                  <a:lnTo>
                    <a:pt x="469" y="752"/>
                  </a:lnTo>
                  <a:lnTo>
                    <a:pt x="469" y="752"/>
                  </a:lnTo>
                  <a:lnTo>
                    <a:pt x="529" y="815"/>
                  </a:lnTo>
                  <a:lnTo>
                    <a:pt x="529" y="815"/>
                  </a:lnTo>
                  <a:lnTo>
                    <a:pt x="539" y="826"/>
                  </a:lnTo>
                  <a:lnTo>
                    <a:pt x="543" y="833"/>
                  </a:lnTo>
                  <a:lnTo>
                    <a:pt x="546" y="840"/>
                  </a:lnTo>
                  <a:lnTo>
                    <a:pt x="548" y="849"/>
                  </a:lnTo>
                  <a:lnTo>
                    <a:pt x="548" y="856"/>
                  </a:lnTo>
                  <a:lnTo>
                    <a:pt x="546" y="865"/>
                  </a:lnTo>
                  <a:lnTo>
                    <a:pt x="541" y="874"/>
                  </a:lnTo>
                  <a:lnTo>
                    <a:pt x="541" y="874"/>
                  </a:lnTo>
                  <a:lnTo>
                    <a:pt x="532" y="889"/>
                  </a:lnTo>
                  <a:lnTo>
                    <a:pt x="525" y="898"/>
                  </a:lnTo>
                  <a:lnTo>
                    <a:pt x="521" y="902"/>
                  </a:lnTo>
                  <a:lnTo>
                    <a:pt x="514" y="904"/>
                  </a:lnTo>
                  <a:lnTo>
                    <a:pt x="507" y="904"/>
                  </a:lnTo>
                  <a:lnTo>
                    <a:pt x="497" y="904"/>
                  </a:lnTo>
                  <a:lnTo>
                    <a:pt x="497" y="904"/>
                  </a:lnTo>
                  <a:lnTo>
                    <a:pt x="442" y="898"/>
                  </a:lnTo>
                  <a:lnTo>
                    <a:pt x="356" y="893"/>
                  </a:lnTo>
                  <a:lnTo>
                    <a:pt x="312" y="893"/>
                  </a:lnTo>
                  <a:lnTo>
                    <a:pt x="270" y="893"/>
                  </a:lnTo>
                  <a:lnTo>
                    <a:pt x="238" y="896"/>
                  </a:lnTo>
                  <a:lnTo>
                    <a:pt x="226" y="900"/>
                  </a:lnTo>
                  <a:lnTo>
                    <a:pt x="217" y="904"/>
                  </a:lnTo>
                  <a:lnTo>
                    <a:pt x="217" y="904"/>
                  </a:lnTo>
                  <a:lnTo>
                    <a:pt x="215" y="900"/>
                  </a:lnTo>
                  <a:lnTo>
                    <a:pt x="210" y="896"/>
                  </a:lnTo>
                  <a:lnTo>
                    <a:pt x="199" y="891"/>
                  </a:lnTo>
                  <a:lnTo>
                    <a:pt x="192" y="889"/>
                  </a:lnTo>
                  <a:lnTo>
                    <a:pt x="183" y="889"/>
                  </a:lnTo>
                  <a:lnTo>
                    <a:pt x="183" y="889"/>
                  </a:lnTo>
                  <a:lnTo>
                    <a:pt x="166" y="888"/>
                  </a:lnTo>
                  <a:lnTo>
                    <a:pt x="148" y="884"/>
                  </a:lnTo>
                  <a:lnTo>
                    <a:pt x="136" y="881"/>
                  </a:lnTo>
                  <a:lnTo>
                    <a:pt x="127" y="879"/>
                  </a:lnTo>
                  <a:lnTo>
                    <a:pt x="127" y="879"/>
                  </a:lnTo>
                  <a:lnTo>
                    <a:pt x="111" y="882"/>
                  </a:lnTo>
                  <a:lnTo>
                    <a:pt x="99" y="886"/>
                  </a:lnTo>
                  <a:lnTo>
                    <a:pt x="99" y="886"/>
                  </a:lnTo>
                  <a:lnTo>
                    <a:pt x="101" y="877"/>
                  </a:lnTo>
                  <a:lnTo>
                    <a:pt x="99" y="858"/>
                  </a:lnTo>
                  <a:lnTo>
                    <a:pt x="99" y="858"/>
                  </a:lnTo>
                  <a:lnTo>
                    <a:pt x="97" y="833"/>
                  </a:lnTo>
                  <a:lnTo>
                    <a:pt x="95" y="822"/>
                  </a:lnTo>
                  <a:lnTo>
                    <a:pt x="92" y="814"/>
                  </a:lnTo>
                  <a:lnTo>
                    <a:pt x="92" y="814"/>
                  </a:lnTo>
                  <a:lnTo>
                    <a:pt x="88" y="805"/>
                  </a:lnTo>
                  <a:lnTo>
                    <a:pt x="90" y="794"/>
                  </a:lnTo>
                  <a:lnTo>
                    <a:pt x="90" y="794"/>
                  </a:lnTo>
                  <a:lnTo>
                    <a:pt x="90" y="787"/>
                  </a:lnTo>
                  <a:lnTo>
                    <a:pt x="90" y="782"/>
                  </a:lnTo>
                  <a:lnTo>
                    <a:pt x="88" y="777"/>
                  </a:lnTo>
                  <a:lnTo>
                    <a:pt x="81" y="775"/>
                  </a:lnTo>
                  <a:lnTo>
                    <a:pt x="81" y="775"/>
                  </a:lnTo>
                  <a:lnTo>
                    <a:pt x="76" y="775"/>
                  </a:lnTo>
                  <a:lnTo>
                    <a:pt x="72" y="775"/>
                  </a:lnTo>
                  <a:lnTo>
                    <a:pt x="71" y="771"/>
                  </a:lnTo>
                  <a:lnTo>
                    <a:pt x="69" y="764"/>
                  </a:lnTo>
                  <a:lnTo>
                    <a:pt x="69" y="764"/>
                  </a:lnTo>
                  <a:lnTo>
                    <a:pt x="65" y="757"/>
                  </a:lnTo>
                  <a:lnTo>
                    <a:pt x="64" y="756"/>
                  </a:lnTo>
                  <a:lnTo>
                    <a:pt x="60" y="757"/>
                  </a:lnTo>
                  <a:lnTo>
                    <a:pt x="55" y="761"/>
                  </a:lnTo>
                  <a:lnTo>
                    <a:pt x="55" y="761"/>
                  </a:lnTo>
                  <a:lnTo>
                    <a:pt x="50" y="764"/>
                  </a:lnTo>
                  <a:lnTo>
                    <a:pt x="46" y="764"/>
                  </a:lnTo>
                  <a:lnTo>
                    <a:pt x="41" y="761"/>
                  </a:lnTo>
                  <a:lnTo>
                    <a:pt x="34" y="754"/>
                  </a:lnTo>
                  <a:lnTo>
                    <a:pt x="34" y="754"/>
                  </a:lnTo>
                  <a:lnTo>
                    <a:pt x="25" y="741"/>
                  </a:lnTo>
                  <a:lnTo>
                    <a:pt x="18" y="731"/>
                  </a:lnTo>
                  <a:lnTo>
                    <a:pt x="18" y="731"/>
                  </a:lnTo>
                  <a:lnTo>
                    <a:pt x="7" y="715"/>
                  </a:lnTo>
                  <a:lnTo>
                    <a:pt x="0" y="706"/>
                  </a:lnTo>
                  <a:lnTo>
                    <a:pt x="0" y="706"/>
                  </a:lnTo>
                  <a:lnTo>
                    <a:pt x="4" y="699"/>
                  </a:lnTo>
                  <a:lnTo>
                    <a:pt x="13" y="689"/>
                  </a:lnTo>
                  <a:lnTo>
                    <a:pt x="13" y="689"/>
                  </a:lnTo>
                  <a:lnTo>
                    <a:pt x="18" y="682"/>
                  </a:lnTo>
                  <a:lnTo>
                    <a:pt x="25" y="669"/>
                  </a:lnTo>
                  <a:lnTo>
                    <a:pt x="32" y="655"/>
                  </a:lnTo>
                  <a:lnTo>
                    <a:pt x="35" y="643"/>
                  </a:lnTo>
                  <a:lnTo>
                    <a:pt x="35" y="643"/>
                  </a:lnTo>
                  <a:lnTo>
                    <a:pt x="37" y="629"/>
                  </a:lnTo>
                  <a:lnTo>
                    <a:pt x="39" y="609"/>
                  </a:lnTo>
                  <a:lnTo>
                    <a:pt x="42" y="601"/>
                  </a:lnTo>
                  <a:lnTo>
                    <a:pt x="44" y="590"/>
                  </a:lnTo>
                  <a:lnTo>
                    <a:pt x="50" y="583"/>
                  </a:lnTo>
                  <a:lnTo>
                    <a:pt x="57" y="576"/>
                  </a:lnTo>
                  <a:lnTo>
                    <a:pt x="57" y="576"/>
                  </a:lnTo>
                  <a:lnTo>
                    <a:pt x="71" y="564"/>
                  </a:lnTo>
                  <a:lnTo>
                    <a:pt x="78" y="557"/>
                  </a:lnTo>
                  <a:lnTo>
                    <a:pt x="87" y="553"/>
                  </a:lnTo>
                  <a:lnTo>
                    <a:pt x="97" y="549"/>
                  </a:lnTo>
                  <a:lnTo>
                    <a:pt x="106" y="548"/>
                  </a:lnTo>
                  <a:lnTo>
                    <a:pt x="118" y="548"/>
                  </a:lnTo>
                  <a:lnTo>
                    <a:pt x="131" y="551"/>
                  </a:lnTo>
                  <a:lnTo>
                    <a:pt x="131" y="551"/>
                  </a:lnTo>
                  <a:lnTo>
                    <a:pt x="152" y="560"/>
                  </a:lnTo>
                  <a:lnTo>
                    <a:pt x="162" y="565"/>
                  </a:lnTo>
                  <a:lnTo>
                    <a:pt x="169" y="567"/>
                  </a:lnTo>
                  <a:lnTo>
                    <a:pt x="178" y="569"/>
                  </a:lnTo>
                  <a:lnTo>
                    <a:pt x="178" y="569"/>
                  </a:lnTo>
                  <a:lnTo>
                    <a:pt x="190" y="567"/>
                  </a:lnTo>
                  <a:lnTo>
                    <a:pt x="196" y="565"/>
                  </a:lnTo>
                  <a:lnTo>
                    <a:pt x="203" y="562"/>
                  </a:lnTo>
                  <a:lnTo>
                    <a:pt x="208" y="555"/>
                  </a:lnTo>
                  <a:lnTo>
                    <a:pt x="217" y="544"/>
                  </a:lnTo>
                  <a:lnTo>
                    <a:pt x="236" y="511"/>
                  </a:lnTo>
                  <a:lnTo>
                    <a:pt x="236" y="511"/>
                  </a:lnTo>
                  <a:lnTo>
                    <a:pt x="293" y="405"/>
                  </a:lnTo>
                  <a:lnTo>
                    <a:pt x="293" y="405"/>
                  </a:lnTo>
                  <a:lnTo>
                    <a:pt x="300" y="384"/>
                  </a:lnTo>
                  <a:lnTo>
                    <a:pt x="308" y="359"/>
                  </a:lnTo>
                  <a:lnTo>
                    <a:pt x="308" y="359"/>
                  </a:lnTo>
                  <a:lnTo>
                    <a:pt x="312" y="350"/>
                  </a:lnTo>
                  <a:lnTo>
                    <a:pt x="314" y="347"/>
                  </a:lnTo>
                  <a:lnTo>
                    <a:pt x="314" y="347"/>
                  </a:lnTo>
                  <a:lnTo>
                    <a:pt x="324" y="333"/>
                  </a:lnTo>
                  <a:lnTo>
                    <a:pt x="335" y="322"/>
                  </a:lnTo>
                  <a:lnTo>
                    <a:pt x="342" y="312"/>
                  </a:lnTo>
                  <a:lnTo>
                    <a:pt x="342" y="312"/>
                  </a:lnTo>
                  <a:lnTo>
                    <a:pt x="345" y="303"/>
                  </a:lnTo>
                  <a:lnTo>
                    <a:pt x="347" y="292"/>
                  </a:lnTo>
                  <a:lnTo>
                    <a:pt x="347" y="282"/>
                  </a:lnTo>
                  <a:lnTo>
                    <a:pt x="345" y="276"/>
                  </a:lnTo>
                  <a:lnTo>
                    <a:pt x="342" y="269"/>
                  </a:lnTo>
                  <a:lnTo>
                    <a:pt x="342" y="269"/>
                  </a:lnTo>
                  <a:lnTo>
                    <a:pt x="342" y="266"/>
                  </a:lnTo>
                  <a:lnTo>
                    <a:pt x="345" y="259"/>
                  </a:lnTo>
                  <a:lnTo>
                    <a:pt x="356" y="248"/>
                  </a:lnTo>
                  <a:lnTo>
                    <a:pt x="372" y="231"/>
                  </a:lnTo>
                  <a:lnTo>
                    <a:pt x="372" y="231"/>
                  </a:lnTo>
                  <a:lnTo>
                    <a:pt x="381" y="218"/>
                  </a:lnTo>
                  <a:lnTo>
                    <a:pt x="388" y="210"/>
                  </a:lnTo>
                  <a:lnTo>
                    <a:pt x="391" y="201"/>
                  </a:lnTo>
                  <a:lnTo>
                    <a:pt x="391" y="201"/>
                  </a:lnTo>
                  <a:lnTo>
                    <a:pt x="393" y="192"/>
                  </a:lnTo>
                  <a:lnTo>
                    <a:pt x="393" y="178"/>
                  </a:lnTo>
                  <a:lnTo>
                    <a:pt x="391" y="164"/>
                  </a:lnTo>
                  <a:lnTo>
                    <a:pt x="389" y="158"/>
                  </a:lnTo>
                  <a:lnTo>
                    <a:pt x="386" y="153"/>
                  </a:lnTo>
                  <a:lnTo>
                    <a:pt x="386" y="153"/>
                  </a:lnTo>
                  <a:lnTo>
                    <a:pt x="375" y="139"/>
                  </a:lnTo>
                  <a:lnTo>
                    <a:pt x="359" y="123"/>
                  </a:lnTo>
                  <a:lnTo>
                    <a:pt x="338" y="104"/>
                  </a:lnTo>
                  <a:lnTo>
                    <a:pt x="298" y="79"/>
                  </a:lnTo>
                  <a:lnTo>
                    <a:pt x="298" y="79"/>
                  </a:lnTo>
                  <a:lnTo>
                    <a:pt x="322" y="46"/>
                  </a:lnTo>
                  <a:lnTo>
                    <a:pt x="340" y="19"/>
                  </a:lnTo>
                  <a:lnTo>
                    <a:pt x="347" y="7"/>
                  </a:lnTo>
                  <a:lnTo>
                    <a:pt x="351" y="0"/>
                  </a:lnTo>
                  <a:lnTo>
                    <a:pt x="351" y="0"/>
                  </a:lnTo>
                  <a:lnTo>
                    <a:pt x="372" y="49"/>
                  </a:lnTo>
                  <a:lnTo>
                    <a:pt x="389" y="86"/>
                  </a:lnTo>
                  <a:lnTo>
                    <a:pt x="402" y="107"/>
                  </a:lnTo>
                  <a:lnTo>
                    <a:pt x="402" y="107"/>
                  </a:lnTo>
                  <a:lnTo>
                    <a:pt x="411" y="120"/>
                  </a:lnTo>
                  <a:lnTo>
                    <a:pt x="423" y="132"/>
                  </a:lnTo>
                  <a:lnTo>
                    <a:pt x="437" y="144"/>
                  </a:lnTo>
                  <a:lnTo>
                    <a:pt x="451" y="153"/>
                  </a:lnTo>
                  <a:lnTo>
                    <a:pt x="451" y="153"/>
                  </a:lnTo>
                  <a:lnTo>
                    <a:pt x="458" y="157"/>
                  </a:lnTo>
                  <a:lnTo>
                    <a:pt x="462" y="160"/>
                  </a:lnTo>
                  <a:lnTo>
                    <a:pt x="463" y="164"/>
                  </a:lnTo>
                  <a:lnTo>
                    <a:pt x="463" y="169"/>
                  </a:lnTo>
                  <a:lnTo>
                    <a:pt x="463" y="173"/>
                  </a:lnTo>
                  <a:lnTo>
                    <a:pt x="462" y="178"/>
                  </a:lnTo>
                  <a:lnTo>
                    <a:pt x="456" y="185"/>
                  </a:lnTo>
                  <a:lnTo>
                    <a:pt x="456" y="185"/>
                  </a:lnTo>
                  <a:lnTo>
                    <a:pt x="451" y="192"/>
                  </a:lnTo>
                  <a:lnTo>
                    <a:pt x="448" y="197"/>
                  </a:lnTo>
                  <a:lnTo>
                    <a:pt x="448" y="206"/>
                  </a:lnTo>
                  <a:lnTo>
                    <a:pt x="448" y="217"/>
                  </a:lnTo>
                  <a:lnTo>
                    <a:pt x="448" y="217"/>
                  </a:lnTo>
                  <a:lnTo>
                    <a:pt x="451" y="224"/>
                  </a:lnTo>
                  <a:lnTo>
                    <a:pt x="455" y="232"/>
                  </a:lnTo>
                  <a:lnTo>
                    <a:pt x="462" y="247"/>
                  </a:lnTo>
                  <a:lnTo>
                    <a:pt x="465" y="255"/>
                  </a:lnTo>
                  <a:lnTo>
                    <a:pt x="469" y="262"/>
                  </a:lnTo>
                  <a:lnTo>
                    <a:pt x="469" y="269"/>
                  </a:lnTo>
                  <a:lnTo>
                    <a:pt x="467" y="276"/>
                  </a:lnTo>
                  <a:lnTo>
                    <a:pt x="467" y="276"/>
                  </a:lnTo>
                  <a:lnTo>
                    <a:pt x="460" y="289"/>
                  </a:lnTo>
                  <a:lnTo>
                    <a:pt x="453" y="301"/>
                  </a:lnTo>
                  <a:lnTo>
                    <a:pt x="448" y="308"/>
                  </a:lnTo>
                  <a:lnTo>
                    <a:pt x="440" y="313"/>
                  </a:lnTo>
                  <a:lnTo>
                    <a:pt x="432" y="319"/>
                  </a:lnTo>
                  <a:lnTo>
                    <a:pt x="421" y="324"/>
                  </a:lnTo>
                  <a:lnTo>
                    <a:pt x="421" y="324"/>
                  </a:lnTo>
                  <a:lnTo>
                    <a:pt x="389" y="336"/>
                  </a:lnTo>
                  <a:lnTo>
                    <a:pt x="382" y="340"/>
                  </a:lnTo>
                  <a:lnTo>
                    <a:pt x="379" y="343"/>
                  </a:lnTo>
                  <a:lnTo>
                    <a:pt x="379" y="343"/>
                  </a:lnTo>
                  <a:lnTo>
                    <a:pt x="377" y="352"/>
                  </a:lnTo>
                  <a:lnTo>
                    <a:pt x="377" y="359"/>
                  </a:lnTo>
                  <a:lnTo>
                    <a:pt x="379" y="365"/>
                  </a:lnTo>
                  <a:lnTo>
                    <a:pt x="382" y="372"/>
                  </a:lnTo>
                  <a:lnTo>
                    <a:pt x="388" y="379"/>
                  </a:lnTo>
                  <a:lnTo>
                    <a:pt x="396" y="384"/>
                  </a:lnTo>
                  <a:lnTo>
                    <a:pt x="409" y="389"/>
                  </a:lnTo>
                  <a:lnTo>
                    <a:pt x="409" y="389"/>
                  </a:lnTo>
                  <a:lnTo>
                    <a:pt x="432" y="398"/>
                  </a:lnTo>
                  <a:lnTo>
                    <a:pt x="442" y="402"/>
                  </a:lnTo>
                  <a:lnTo>
                    <a:pt x="451" y="407"/>
                  </a:lnTo>
                  <a:lnTo>
                    <a:pt x="460" y="412"/>
                  </a:lnTo>
                  <a:lnTo>
                    <a:pt x="467" y="421"/>
                  </a:lnTo>
                  <a:lnTo>
                    <a:pt x="474" y="433"/>
                  </a:lnTo>
                  <a:lnTo>
                    <a:pt x="479" y="449"/>
                  </a:lnTo>
                  <a:lnTo>
                    <a:pt x="479" y="449"/>
                  </a:lnTo>
                  <a:lnTo>
                    <a:pt x="490" y="477"/>
                  </a:lnTo>
                  <a:lnTo>
                    <a:pt x="495" y="493"/>
                  </a:lnTo>
                  <a:lnTo>
                    <a:pt x="499" y="498"/>
                  </a:lnTo>
                  <a:lnTo>
                    <a:pt x="500" y="498"/>
                  </a:lnTo>
                  <a:lnTo>
                    <a:pt x="500" y="498"/>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2" name="Freeform 28">
              <a:extLst>
                <a:ext uri="{FF2B5EF4-FFF2-40B4-BE49-F238E27FC236}">
                  <a16:creationId xmlns:a16="http://schemas.microsoft.com/office/drawing/2014/main" id="{6923E43B-CA75-45B8-BB87-ED6D86010D7D}"/>
                </a:ext>
              </a:extLst>
            </p:cNvPr>
            <p:cNvSpPr>
              <a:spLocks/>
            </p:cNvSpPr>
            <p:nvPr/>
          </p:nvSpPr>
          <p:spPr bwMode="auto">
            <a:xfrm>
              <a:off x="4263220" y="4091091"/>
              <a:ext cx="380110" cy="374757"/>
            </a:xfrm>
            <a:custGeom>
              <a:avLst/>
              <a:gdLst/>
              <a:ahLst/>
              <a:cxnLst>
                <a:cxn ang="0">
                  <a:pos x="164" y="421"/>
                </a:cxn>
                <a:cxn ang="0">
                  <a:pos x="167" y="407"/>
                </a:cxn>
                <a:cxn ang="0">
                  <a:pos x="188" y="404"/>
                </a:cxn>
                <a:cxn ang="0">
                  <a:pos x="206" y="409"/>
                </a:cxn>
                <a:cxn ang="0">
                  <a:pos x="222" y="418"/>
                </a:cxn>
                <a:cxn ang="0">
                  <a:pos x="231" y="416"/>
                </a:cxn>
                <a:cxn ang="0">
                  <a:pos x="241" y="404"/>
                </a:cxn>
                <a:cxn ang="0">
                  <a:pos x="234" y="372"/>
                </a:cxn>
                <a:cxn ang="0">
                  <a:pos x="225" y="361"/>
                </a:cxn>
                <a:cxn ang="0">
                  <a:pos x="215" y="345"/>
                </a:cxn>
                <a:cxn ang="0">
                  <a:pos x="224" y="337"/>
                </a:cxn>
                <a:cxn ang="0">
                  <a:pos x="277" y="291"/>
                </a:cxn>
                <a:cxn ang="0">
                  <a:pos x="284" y="287"/>
                </a:cxn>
                <a:cxn ang="0">
                  <a:pos x="312" y="308"/>
                </a:cxn>
                <a:cxn ang="0">
                  <a:pos x="342" y="331"/>
                </a:cxn>
                <a:cxn ang="0">
                  <a:pos x="366" y="338"/>
                </a:cxn>
                <a:cxn ang="0">
                  <a:pos x="382" y="331"/>
                </a:cxn>
                <a:cxn ang="0">
                  <a:pos x="416" y="300"/>
                </a:cxn>
                <a:cxn ang="0">
                  <a:pos x="428" y="270"/>
                </a:cxn>
                <a:cxn ang="0">
                  <a:pos x="421" y="234"/>
                </a:cxn>
                <a:cxn ang="0">
                  <a:pos x="410" y="194"/>
                </a:cxn>
                <a:cxn ang="0">
                  <a:pos x="400" y="178"/>
                </a:cxn>
                <a:cxn ang="0">
                  <a:pos x="372" y="150"/>
                </a:cxn>
                <a:cxn ang="0">
                  <a:pos x="370" y="131"/>
                </a:cxn>
                <a:cxn ang="0">
                  <a:pos x="391" y="111"/>
                </a:cxn>
                <a:cxn ang="0">
                  <a:pos x="409" y="85"/>
                </a:cxn>
                <a:cxn ang="0">
                  <a:pos x="400" y="62"/>
                </a:cxn>
                <a:cxn ang="0">
                  <a:pos x="382" y="57"/>
                </a:cxn>
                <a:cxn ang="0">
                  <a:pos x="352" y="67"/>
                </a:cxn>
                <a:cxn ang="0">
                  <a:pos x="340" y="72"/>
                </a:cxn>
                <a:cxn ang="0">
                  <a:pos x="324" y="72"/>
                </a:cxn>
                <a:cxn ang="0">
                  <a:pos x="315" y="58"/>
                </a:cxn>
                <a:cxn ang="0">
                  <a:pos x="292" y="0"/>
                </a:cxn>
                <a:cxn ang="0">
                  <a:pos x="222" y="7"/>
                </a:cxn>
                <a:cxn ang="0">
                  <a:pos x="208" y="13"/>
                </a:cxn>
                <a:cxn ang="0">
                  <a:pos x="203" y="30"/>
                </a:cxn>
                <a:cxn ang="0">
                  <a:pos x="196" y="62"/>
                </a:cxn>
                <a:cxn ang="0">
                  <a:pos x="180" y="71"/>
                </a:cxn>
                <a:cxn ang="0">
                  <a:pos x="143" y="72"/>
                </a:cxn>
                <a:cxn ang="0">
                  <a:pos x="102" y="72"/>
                </a:cxn>
                <a:cxn ang="0">
                  <a:pos x="78" y="71"/>
                </a:cxn>
                <a:cxn ang="0">
                  <a:pos x="58" y="62"/>
                </a:cxn>
                <a:cxn ang="0">
                  <a:pos x="62" y="101"/>
                </a:cxn>
                <a:cxn ang="0">
                  <a:pos x="55" y="134"/>
                </a:cxn>
                <a:cxn ang="0">
                  <a:pos x="44" y="173"/>
                </a:cxn>
                <a:cxn ang="0">
                  <a:pos x="21" y="212"/>
                </a:cxn>
                <a:cxn ang="0">
                  <a:pos x="11" y="212"/>
                </a:cxn>
                <a:cxn ang="0">
                  <a:pos x="0" y="210"/>
                </a:cxn>
                <a:cxn ang="0">
                  <a:pos x="2" y="217"/>
                </a:cxn>
                <a:cxn ang="0">
                  <a:pos x="16" y="245"/>
                </a:cxn>
                <a:cxn ang="0">
                  <a:pos x="16" y="254"/>
                </a:cxn>
                <a:cxn ang="0">
                  <a:pos x="16" y="264"/>
                </a:cxn>
                <a:cxn ang="0">
                  <a:pos x="37" y="300"/>
                </a:cxn>
                <a:cxn ang="0">
                  <a:pos x="72" y="347"/>
                </a:cxn>
                <a:cxn ang="0">
                  <a:pos x="113" y="388"/>
                </a:cxn>
                <a:cxn ang="0">
                  <a:pos x="148" y="416"/>
                </a:cxn>
              </a:cxnLst>
              <a:rect l="0" t="0" r="r" b="b"/>
              <a:pathLst>
                <a:path w="428" h="421">
                  <a:moveTo>
                    <a:pt x="160" y="421"/>
                  </a:moveTo>
                  <a:lnTo>
                    <a:pt x="160" y="421"/>
                  </a:lnTo>
                  <a:lnTo>
                    <a:pt x="164" y="421"/>
                  </a:lnTo>
                  <a:lnTo>
                    <a:pt x="164" y="419"/>
                  </a:lnTo>
                  <a:lnTo>
                    <a:pt x="166" y="412"/>
                  </a:lnTo>
                  <a:lnTo>
                    <a:pt x="167" y="407"/>
                  </a:lnTo>
                  <a:lnTo>
                    <a:pt x="171" y="404"/>
                  </a:lnTo>
                  <a:lnTo>
                    <a:pt x="178" y="402"/>
                  </a:lnTo>
                  <a:lnTo>
                    <a:pt x="188" y="404"/>
                  </a:lnTo>
                  <a:lnTo>
                    <a:pt x="188" y="404"/>
                  </a:lnTo>
                  <a:lnTo>
                    <a:pt x="199" y="405"/>
                  </a:lnTo>
                  <a:lnTo>
                    <a:pt x="206" y="409"/>
                  </a:lnTo>
                  <a:lnTo>
                    <a:pt x="217" y="414"/>
                  </a:lnTo>
                  <a:lnTo>
                    <a:pt x="218" y="418"/>
                  </a:lnTo>
                  <a:lnTo>
                    <a:pt x="222" y="418"/>
                  </a:lnTo>
                  <a:lnTo>
                    <a:pt x="225" y="418"/>
                  </a:lnTo>
                  <a:lnTo>
                    <a:pt x="231" y="416"/>
                  </a:lnTo>
                  <a:lnTo>
                    <a:pt x="231" y="416"/>
                  </a:lnTo>
                  <a:lnTo>
                    <a:pt x="236" y="412"/>
                  </a:lnTo>
                  <a:lnTo>
                    <a:pt x="240" y="407"/>
                  </a:lnTo>
                  <a:lnTo>
                    <a:pt x="241" y="404"/>
                  </a:lnTo>
                  <a:lnTo>
                    <a:pt x="243" y="398"/>
                  </a:lnTo>
                  <a:lnTo>
                    <a:pt x="241" y="386"/>
                  </a:lnTo>
                  <a:lnTo>
                    <a:pt x="234" y="372"/>
                  </a:lnTo>
                  <a:lnTo>
                    <a:pt x="234" y="372"/>
                  </a:lnTo>
                  <a:lnTo>
                    <a:pt x="231" y="367"/>
                  </a:lnTo>
                  <a:lnTo>
                    <a:pt x="225" y="361"/>
                  </a:lnTo>
                  <a:lnTo>
                    <a:pt x="218" y="352"/>
                  </a:lnTo>
                  <a:lnTo>
                    <a:pt x="215" y="349"/>
                  </a:lnTo>
                  <a:lnTo>
                    <a:pt x="215" y="345"/>
                  </a:lnTo>
                  <a:lnTo>
                    <a:pt x="218" y="342"/>
                  </a:lnTo>
                  <a:lnTo>
                    <a:pt x="224" y="337"/>
                  </a:lnTo>
                  <a:lnTo>
                    <a:pt x="224" y="337"/>
                  </a:lnTo>
                  <a:lnTo>
                    <a:pt x="241" y="324"/>
                  </a:lnTo>
                  <a:lnTo>
                    <a:pt x="255" y="310"/>
                  </a:lnTo>
                  <a:lnTo>
                    <a:pt x="277" y="291"/>
                  </a:lnTo>
                  <a:lnTo>
                    <a:pt x="277" y="291"/>
                  </a:lnTo>
                  <a:lnTo>
                    <a:pt x="282" y="287"/>
                  </a:lnTo>
                  <a:lnTo>
                    <a:pt x="284" y="287"/>
                  </a:lnTo>
                  <a:lnTo>
                    <a:pt x="285" y="289"/>
                  </a:lnTo>
                  <a:lnTo>
                    <a:pt x="294" y="294"/>
                  </a:lnTo>
                  <a:lnTo>
                    <a:pt x="312" y="308"/>
                  </a:lnTo>
                  <a:lnTo>
                    <a:pt x="312" y="308"/>
                  </a:lnTo>
                  <a:lnTo>
                    <a:pt x="333" y="324"/>
                  </a:lnTo>
                  <a:lnTo>
                    <a:pt x="342" y="331"/>
                  </a:lnTo>
                  <a:lnTo>
                    <a:pt x="350" y="337"/>
                  </a:lnTo>
                  <a:lnTo>
                    <a:pt x="358" y="338"/>
                  </a:lnTo>
                  <a:lnTo>
                    <a:pt x="366" y="338"/>
                  </a:lnTo>
                  <a:lnTo>
                    <a:pt x="373" y="337"/>
                  </a:lnTo>
                  <a:lnTo>
                    <a:pt x="382" y="331"/>
                  </a:lnTo>
                  <a:lnTo>
                    <a:pt x="382" y="331"/>
                  </a:lnTo>
                  <a:lnTo>
                    <a:pt x="400" y="317"/>
                  </a:lnTo>
                  <a:lnTo>
                    <a:pt x="409" y="308"/>
                  </a:lnTo>
                  <a:lnTo>
                    <a:pt x="416" y="300"/>
                  </a:lnTo>
                  <a:lnTo>
                    <a:pt x="423" y="291"/>
                  </a:lnTo>
                  <a:lnTo>
                    <a:pt x="426" y="282"/>
                  </a:lnTo>
                  <a:lnTo>
                    <a:pt x="428" y="270"/>
                  </a:lnTo>
                  <a:lnTo>
                    <a:pt x="426" y="259"/>
                  </a:lnTo>
                  <a:lnTo>
                    <a:pt x="426" y="259"/>
                  </a:lnTo>
                  <a:lnTo>
                    <a:pt x="421" y="234"/>
                  </a:lnTo>
                  <a:lnTo>
                    <a:pt x="417" y="213"/>
                  </a:lnTo>
                  <a:lnTo>
                    <a:pt x="414" y="203"/>
                  </a:lnTo>
                  <a:lnTo>
                    <a:pt x="410" y="194"/>
                  </a:lnTo>
                  <a:lnTo>
                    <a:pt x="407" y="185"/>
                  </a:lnTo>
                  <a:lnTo>
                    <a:pt x="400" y="178"/>
                  </a:lnTo>
                  <a:lnTo>
                    <a:pt x="400" y="178"/>
                  </a:lnTo>
                  <a:lnTo>
                    <a:pt x="384" y="164"/>
                  </a:lnTo>
                  <a:lnTo>
                    <a:pt x="377" y="157"/>
                  </a:lnTo>
                  <a:lnTo>
                    <a:pt x="372" y="150"/>
                  </a:lnTo>
                  <a:lnTo>
                    <a:pt x="368" y="143"/>
                  </a:lnTo>
                  <a:lnTo>
                    <a:pt x="366" y="138"/>
                  </a:lnTo>
                  <a:lnTo>
                    <a:pt x="370" y="131"/>
                  </a:lnTo>
                  <a:lnTo>
                    <a:pt x="375" y="125"/>
                  </a:lnTo>
                  <a:lnTo>
                    <a:pt x="375" y="125"/>
                  </a:lnTo>
                  <a:lnTo>
                    <a:pt x="391" y="111"/>
                  </a:lnTo>
                  <a:lnTo>
                    <a:pt x="398" y="102"/>
                  </a:lnTo>
                  <a:lnTo>
                    <a:pt x="403" y="94"/>
                  </a:lnTo>
                  <a:lnTo>
                    <a:pt x="409" y="85"/>
                  </a:lnTo>
                  <a:lnTo>
                    <a:pt x="409" y="76"/>
                  </a:lnTo>
                  <a:lnTo>
                    <a:pt x="407" y="69"/>
                  </a:lnTo>
                  <a:lnTo>
                    <a:pt x="400" y="62"/>
                  </a:lnTo>
                  <a:lnTo>
                    <a:pt x="400" y="62"/>
                  </a:lnTo>
                  <a:lnTo>
                    <a:pt x="391" y="58"/>
                  </a:lnTo>
                  <a:lnTo>
                    <a:pt x="382" y="57"/>
                  </a:lnTo>
                  <a:lnTo>
                    <a:pt x="373" y="58"/>
                  </a:lnTo>
                  <a:lnTo>
                    <a:pt x="366" y="60"/>
                  </a:lnTo>
                  <a:lnTo>
                    <a:pt x="352" y="67"/>
                  </a:lnTo>
                  <a:lnTo>
                    <a:pt x="345" y="71"/>
                  </a:lnTo>
                  <a:lnTo>
                    <a:pt x="340" y="72"/>
                  </a:lnTo>
                  <a:lnTo>
                    <a:pt x="340" y="72"/>
                  </a:lnTo>
                  <a:lnTo>
                    <a:pt x="333" y="74"/>
                  </a:lnTo>
                  <a:lnTo>
                    <a:pt x="328" y="74"/>
                  </a:lnTo>
                  <a:lnTo>
                    <a:pt x="324" y="72"/>
                  </a:lnTo>
                  <a:lnTo>
                    <a:pt x="322" y="71"/>
                  </a:lnTo>
                  <a:lnTo>
                    <a:pt x="315" y="58"/>
                  </a:lnTo>
                  <a:lnTo>
                    <a:pt x="315" y="58"/>
                  </a:lnTo>
                  <a:lnTo>
                    <a:pt x="306" y="41"/>
                  </a:lnTo>
                  <a:lnTo>
                    <a:pt x="299" y="21"/>
                  </a:lnTo>
                  <a:lnTo>
                    <a:pt x="292" y="0"/>
                  </a:lnTo>
                  <a:lnTo>
                    <a:pt x="292" y="0"/>
                  </a:lnTo>
                  <a:lnTo>
                    <a:pt x="252" y="4"/>
                  </a:lnTo>
                  <a:lnTo>
                    <a:pt x="222" y="7"/>
                  </a:lnTo>
                  <a:lnTo>
                    <a:pt x="213" y="9"/>
                  </a:lnTo>
                  <a:lnTo>
                    <a:pt x="208" y="13"/>
                  </a:lnTo>
                  <a:lnTo>
                    <a:pt x="208" y="13"/>
                  </a:lnTo>
                  <a:lnTo>
                    <a:pt x="206" y="18"/>
                  </a:lnTo>
                  <a:lnTo>
                    <a:pt x="203" y="30"/>
                  </a:lnTo>
                  <a:lnTo>
                    <a:pt x="203" y="30"/>
                  </a:lnTo>
                  <a:lnTo>
                    <a:pt x="197" y="48"/>
                  </a:lnTo>
                  <a:lnTo>
                    <a:pt x="196" y="62"/>
                  </a:lnTo>
                  <a:lnTo>
                    <a:pt x="196" y="62"/>
                  </a:lnTo>
                  <a:lnTo>
                    <a:pt x="194" y="65"/>
                  </a:lnTo>
                  <a:lnTo>
                    <a:pt x="188" y="69"/>
                  </a:lnTo>
                  <a:lnTo>
                    <a:pt x="180" y="71"/>
                  </a:lnTo>
                  <a:lnTo>
                    <a:pt x="167" y="71"/>
                  </a:lnTo>
                  <a:lnTo>
                    <a:pt x="167" y="71"/>
                  </a:lnTo>
                  <a:lnTo>
                    <a:pt x="143" y="72"/>
                  </a:lnTo>
                  <a:lnTo>
                    <a:pt x="125" y="72"/>
                  </a:lnTo>
                  <a:lnTo>
                    <a:pt x="125" y="72"/>
                  </a:lnTo>
                  <a:lnTo>
                    <a:pt x="102" y="72"/>
                  </a:lnTo>
                  <a:lnTo>
                    <a:pt x="88" y="72"/>
                  </a:lnTo>
                  <a:lnTo>
                    <a:pt x="78" y="71"/>
                  </a:lnTo>
                  <a:lnTo>
                    <a:pt x="78" y="71"/>
                  </a:lnTo>
                  <a:lnTo>
                    <a:pt x="63" y="65"/>
                  </a:lnTo>
                  <a:lnTo>
                    <a:pt x="58" y="62"/>
                  </a:lnTo>
                  <a:lnTo>
                    <a:pt x="58" y="62"/>
                  </a:lnTo>
                  <a:lnTo>
                    <a:pt x="62" y="74"/>
                  </a:lnTo>
                  <a:lnTo>
                    <a:pt x="63" y="86"/>
                  </a:lnTo>
                  <a:lnTo>
                    <a:pt x="62" y="101"/>
                  </a:lnTo>
                  <a:lnTo>
                    <a:pt x="62" y="101"/>
                  </a:lnTo>
                  <a:lnTo>
                    <a:pt x="58" y="115"/>
                  </a:lnTo>
                  <a:lnTo>
                    <a:pt x="55" y="134"/>
                  </a:lnTo>
                  <a:lnTo>
                    <a:pt x="51" y="155"/>
                  </a:lnTo>
                  <a:lnTo>
                    <a:pt x="44" y="173"/>
                  </a:lnTo>
                  <a:lnTo>
                    <a:pt x="44" y="173"/>
                  </a:lnTo>
                  <a:lnTo>
                    <a:pt x="30" y="201"/>
                  </a:lnTo>
                  <a:lnTo>
                    <a:pt x="25" y="210"/>
                  </a:lnTo>
                  <a:lnTo>
                    <a:pt x="21" y="212"/>
                  </a:lnTo>
                  <a:lnTo>
                    <a:pt x="18" y="213"/>
                  </a:lnTo>
                  <a:lnTo>
                    <a:pt x="18" y="213"/>
                  </a:lnTo>
                  <a:lnTo>
                    <a:pt x="11" y="212"/>
                  </a:lnTo>
                  <a:lnTo>
                    <a:pt x="4" y="210"/>
                  </a:lnTo>
                  <a:lnTo>
                    <a:pt x="2" y="210"/>
                  </a:lnTo>
                  <a:lnTo>
                    <a:pt x="0" y="210"/>
                  </a:lnTo>
                  <a:lnTo>
                    <a:pt x="0" y="213"/>
                  </a:lnTo>
                  <a:lnTo>
                    <a:pt x="2" y="217"/>
                  </a:lnTo>
                  <a:lnTo>
                    <a:pt x="2" y="217"/>
                  </a:lnTo>
                  <a:lnTo>
                    <a:pt x="7" y="229"/>
                  </a:lnTo>
                  <a:lnTo>
                    <a:pt x="12" y="238"/>
                  </a:lnTo>
                  <a:lnTo>
                    <a:pt x="16" y="245"/>
                  </a:lnTo>
                  <a:lnTo>
                    <a:pt x="18" y="250"/>
                  </a:lnTo>
                  <a:lnTo>
                    <a:pt x="18" y="250"/>
                  </a:lnTo>
                  <a:lnTo>
                    <a:pt x="16" y="254"/>
                  </a:lnTo>
                  <a:lnTo>
                    <a:pt x="12" y="256"/>
                  </a:lnTo>
                  <a:lnTo>
                    <a:pt x="12" y="259"/>
                  </a:lnTo>
                  <a:lnTo>
                    <a:pt x="16" y="264"/>
                  </a:lnTo>
                  <a:lnTo>
                    <a:pt x="16" y="264"/>
                  </a:lnTo>
                  <a:lnTo>
                    <a:pt x="25" y="278"/>
                  </a:lnTo>
                  <a:lnTo>
                    <a:pt x="37" y="300"/>
                  </a:lnTo>
                  <a:lnTo>
                    <a:pt x="55" y="324"/>
                  </a:lnTo>
                  <a:lnTo>
                    <a:pt x="62" y="337"/>
                  </a:lnTo>
                  <a:lnTo>
                    <a:pt x="72" y="347"/>
                  </a:lnTo>
                  <a:lnTo>
                    <a:pt x="72" y="347"/>
                  </a:lnTo>
                  <a:lnTo>
                    <a:pt x="92" y="367"/>
                  </a:lnTo>
                  <a:lnTo>
                    <a:pt x="113" y="388"/>
                  </a:lnTo>
                  <a:lnTo>
                    <a:pt x="123" y="398"/>
                  </a:lnTo>
                  <a:lnTo>
                    <a:pt x="136" y="407"/>
                  </a:lnTo>
                  <a:lnTo>
                    <a:pt x="148" y="416"/>
                  </a:lnTo>
                  <a:lnTo>
                    <a:pt x="160" y="421"/>
                  </a:lnTo>
                  <a:lnTo>
                    <a:pt x="160" y="4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3" name="Freeform 29">
              <a:extLst>
                <a:ext uri="{FF2B5EF4-FFF2-40B4-BE49-F238E27FC236}">
                  <a16:creationId xmlns:a16="http://schemas.microsoft.com/office/drawing/2014/main" id="{26961154-6801-4F33-B267-A2D5A90D241A}"/>
                </a:ext>
              </a:extLst>
            </p:cNvPr>
            <p:cNvSpPr>
              <a:spLocks/>
            </p:cNvSpPr>
            <p:nvPr/>
          </p:nvSpPr>
          <p:spPr bwMode="auto">
            <a:xfrm>
              <a:off x="4405984" y="3989372"/>
              <a:ext cx="474692" cy="576412"/>
            </a:xfrm>
            <a:custGeom>
              <a:avLst/>
              <a:gdLst/>
              <a:ahLst/>
              <a:cxnLst>
                <a:cxn ang="0">
                  <a:pos x="523" y="27"/>
                </a:cxn>
                <a:cxn ang="0">
                  <a:pos x="500" y="11"/>
                </a:cxn>
                <a:cxn ang="0">
                  <a:pos x="451" y="0"/>
                </a:cxn>
                <a:cxn ang="0">
                  <a:pos x="426" y="9"/>
                </a:cxn>
                <a:cxn ang="0">
                  <a:pos x="405" y="43"/>
                </a:cxn>
                <a:cxn ang="0">
                  <a:pos x="382" y="74"/>
                </a:cxn>
                <a:cxn ang="0">
                  <a:pos x="360" y="113"/>
                </a:cxn>
                <a:cxn ang="0">
                  <a:pos x="342" y="124"/>
                </a:cxn>
                <a:cxn ang="0">
                  <a:pos x="132" y="113"/>
                </a:cxn>
                <a:cxn ang="0">
                  <a:pos x="166" y="185"/>
                </a:cxn>
                <a:cxn ang="0">
                  <a:pos x="189" y="182"/>
                </a:cxn>
                <a:cxn ang="0">
                  <a:pos x="222" y="168"/>
                </a:cxn>
                <a:cxn ang="0">
                  <a:pos x="250" y="182"/>
                </a:cxn>
                <a:cxn ang="0">
                  <a:pos x="243" y="207"/>
                </a:cxn>
                <a:cxn ang="0">
                  <a:pos x="215" y="235"/>
                </a:cxn>
                <a:cxn ang="0">
                  <a:pos x="208" y="252"/>
                </a:cxn>
                <a:cxn ang="0">
                  <a:pos x="227" y="281"/>
                </a:cxn>
                <a:cxn ang="0">
                  <a:pos x="256" y="321"/>
                </a:cxn>
                <a:cxn ang="0">
                  <a:pos x="264" y="365"/>
                </a:cxn>
                <a:cxn ang="0">
                  <a:pos x="268" y="393"/>
                </a:cxn>
                <a:cxn ang="0">
                  <a:pos x="247" y="423"/>
                </a:cxn>
                <a:cxn ang="0">
                  <a:pos x="212" y="450"/>
                </a:cxn>
                <a:cxn ang="0">
                  <a:pos x="189" y="448"/>
                </a:cxn>
                <a:cxn ang="0">
                  <a:pos x="148" y="416"/>
                </a:cxn>
                <a:cxn ang="0">
                  <a:pos x="120" y="402"/>
                </a:cxn>
                <a:cxn ang="0">
                  <a:pos x="74" y="443"/>
                </a:cxn>
                <a:cxn ang="0">
                  <a:pos x="57" y="457"/>
                </a:cxn>
                <a:cxn ang="0">
                  <a:pos x="58" y="467"/>
                </a:cxn>
                <a:cxn ang="0">
                  <a:pos x="81" y="502"/>
                </a:cxn>
                <a:cxn ang="0">
                  <a:pos x="80" y="522"/>
                </a:cxn>
                <a:cxn ang="0">
                  <a:pos x="62" y="531"/>
                </a:cxn>
                <a:cxn ang="0">
                  <a:pos x="44" y="518"/>
                </a:cxn>
                <a:cxn ang="0">
                  <a:pos x="9" y="520"/>
                </a:cxn>
                <a:cxn ang="0">
                  <a:pos x="36" y="575"/>
                </a:cxn>
                <a:cxn ang="0">
                  <a:pos x="60" y="619"/>
                </a:cxn>
                <a:cxn ang="0">
                  <a:pos x="67" y="647"/>
                </a:cxn>
                <a:cxn ang="0">
                  <a:pos x="95" y="628"/>
                </a:cxn>
                <a:cxn ang="0">
                  <a:pos x="120" y="596"/>
                </a:cxn>
                <a:cxn ang="0">
                  <a:pos x="185" y="592"/>
                </a:cxn>
                <a:cxn ang="0">
                  <a:pos x="219" y="589"/>
                </a:cxn>
                <a:cxn ang="0">
                  <a:pos x="300" y="546"/>
                </a:cxn>
                <a:cxn ang="0">
                  <a:pos x="321" y="531"/>
                </a:cxn>
                <a:cxn ang="0">
                  <a:pos x="338" y="517"/>
                </a:cxn>
                <a:cxn ang="0">
                  <a:pos x="351" y="473"/>
                </a:cxn>
                <a:cxn ang="0">
                  <a:pos x="372" y="430"/>
                </a:cxn>
                <a:cxn ang="0">
                  <a:pos x="382" y="404"/>
                </a:cxn>
                <a:cxn ang="0">
                  <a:pos x="388" y="369"/>
                </a:cxn>
                <a:cxn ang="0">
                  <a:pos x="414" y="344"/>
                </a:cxn>
                <a:cxn ang="0">
                  <a:pos x="455" y="309"/>
                </a:cxn>
                <a:cxn ang="0">
                  <a:pos x="483" y="251"/>
                </a:cxn>
                <a:cxn ang="0">
                  <a:pos x="495" y="140"/>
                </a:cxn>
                <a:cxn ang="0">
                  <a:pos x="532" y="55"/>
                </a:cxn>
              </a:cxnLst>
              <a:rect l="0" t="0" r="r" b="b"/>
              <a:pathLst>
                <a:path w="532" h="647">
                  <a:moveTo>
                    <a:pt x="525" y="30"/>
                  </a:moveTo>
                  <a:lnTo>
                    <a:pt x="525" y="30"/>
                  </a:lnTo>
                  <a:lnTo>
                    <a:pt x="525" y="29"/>
                  </a:lnTo>
                  <a:lnTo>
                    <a:pt x="523" y="27"/>
                  </a:lnTo>
                  <a:lnTo>
                    <a:pt x="522" y="23"/>
                  </a:lnTo>
                  <a:lnTo>
                    <a:pt x="516" y="20"/>
                  </a:lnTo>
                  <a:lnTo>
                    <a:pt x="511" y="15"/>
                  </a:lnTo>
                  <a:lnTo>
                    <a:pt x="500" y="11"/>
                  </a:lnTo>
                  <a:lnTo>
                    <a:pt x="486" y="8"/>
                  </a:lnTo>
                  <a:lnTo>
                    <a:pt x="486" y="8"/>
                  </a:lnTo>
                  <a:lnTo>
                    <a:pt x="462" y="2"/>
                  </a:lnTo>
                  <a:lnTo>
                    <a:pt x="451" y="0"/>
                  </a:lnTo>
                  <a:lnTo>
                    <a:pt x="444" y="2"/>
                  </a:lnTo>
                  <a:lnTo>
                    <a:pt x="437" y="2"/>
                  </a:lnTo>
                  <a:lnTo>
                    <a:pt x="432" y="6"/>
                  </a:lnTo>
                  <a:lnTo>
                    <a:pt x="426" y="9"/>
                  </a:lnTo>
                  <a:lnTo>
                    <a:pt x="421" y="16"/>
                  </a:lnTo>
                  <a:lnTo>
                    <a:pt x="421" y="16"/>
                  </a:lnTo>
                  <a:lnTo>
                    <a:pt x="412" y="29"/>
                  </a:lnTo>
                  <a:lnTo>
                    <a:pt x="405" y="43"/>
                  </a:lnTo>
                  <a:lnTo>
                    <a:pt x="398" y="53"/>
                  </a:lnTo>
                  <a:lnTo>
                    <a:pt x="391" y="62"/>
                  </a:lnTo>
                  <a:lnTo>
                    <a:pt x="391" y="62"/>
                  </a:lnTo>
                  <a:lnTo>
                    <a:pt x="382" y="74"/>
                  </a:lnTo>
                  <a:lnTo>
                    <a:pt x="379" y="80"/>
                  </a:lnTo>
                  <a:lnTo>
                    <a:pt x="363" y="108"/>
                  </a:lnTo>
                  <a:lnTo>
                    <a:pt x="363" y="108"/>
                  </a:lnTo>
                  <a:lnTo>
                    <a:pt x="360" y="113"/>
                  </a:lnTo>
                  <a:lnTo>
                    <a:pt x="354" y="118"/>
                  </a:lnTo>
                  <a:lnTo>
                    <a:pt x="349" y="122"/>
                  </a:lnTo>
                  <a:lnTo>
                    <a:pt x="349" y="122"/>
                  </a:lnTo>
                  <a:lnTo>
                    <a:pt x="342" y="124"/>
                  </a:lnTo>
                  <a:lnTo>
                    <a:pt x="331" y="124"/>
                  </a:lnTo>
                  <a:lnTo>
                    <a:pt x="301" y="122"/>
                  </a:lnTo>
                  <a:lnTo>
                    <a:pt x="263" y="118"/>
                  </a:lnTo>
                  <a:lnTo>
                    <a:pt x="132" y="113"/>
                  </a:lnTo>
                  <a:lnTo>
                    <a:pt x="159" y="180"/>
                  </a:lnTo>
                  <a:lnTo>
                    <a:pt x="159" y="180"/>
                  </a:lnTo>
                  <a:lnTo>
                    <a:pt x="161" y="182"/>
                  </a:lnTo>
                  <a:lnTo>
                    <a:pt x="166" y="185"/>
                  </a:lnTo>
                  <a:lnTo>
                    <a:pt x="169" y="185"/>
                  </a:lnTo>
                  <a:lnTo>
                    <a:pt x="175" y="185"/>
                  </a:lnTo>
                  <a:lnTo>
                    <a:pt x="182" y="185"/>
                  </a:lnTo>
                  <a:lnTo>
                    <a:pt x="189" y="182"/>
                  </a:lnTo>
                  <a:lnTo>
                    <a:pt x="189" y="182"/>
                  </a:lnTo>
                  <a:lnTo>
                    <a:pt x="205" y="175"/>
                  </a:lnTo>
                  <a:lnTo>
                    <a:pt x="213" y="171"/>
                  </a:lnTo>
                  <a:lnTo>
                    <a:pt x="222" y="168"/>
                  </a:lnTo>
                  <a:lnTo>
                    <a:pt x="229" y="168"/>
                  </a:lnTo>
                  <a:lnTo>
                    <a:pt x="236" y="170"/>
                  </a:lnTo>
                  <a:lnTo>
                    <a:pt x="243" y="173"/>
                  </a:lnTo>
                  <a:lnTo>
                    <a:pt x="250" y="182"/>
                  </a:lnTo>
                  <a:lnTo>
                    <a:pt x="250" y="182"/>
                  </a:lnTo>
                  <a:lnTo>
                    <a:pt x="249" y="185"/>
                  </a:lnTo>
                  <a:lnTo>
                    <a:pt x="247" y="194"/>
                  </a:lnTo>
                  <a:lnTo>
                    <a:pt x="243" y="207"/>
                  </a:lnTo>
                  <a:lnTo>
                    <a:pt x="240" y="212"/>
                  </a:lnTo>
                  <a:lnTo>
                    <a:pt x="234" y="217"/>
                  </a:lnTo>
                  <a:lnTo>
                    <a:pt x="234" y="217"/>
                  </a:lnTo>
                  <a:lnTo>
                    <a:pt x="215" y="235"/>
                  </a:lnTo>
                  <a:lnTo>
                    <a:pt x="208" y="242"/>
                  </a:lnTo>
                  <a:lnTo>
                    <a:pt x="206" y="247"/>
                  </a:lnTo>
                  <a:lnTo>
                    <a:pt x="206" y="247"/>
                  </a:lnTo>
                  <a:lnTo>
                    <a:pt x="208" y="252"/>
                  </a:lnTo>
                  <a:lnTo>
                    <a:pt x="212" y="261"/>
                  </a:lnTo>
                  <a:lnTo>
                    <a:pt x="217" y="270"/>
                  </a:lnTo>
                  <a:lnTo>
                    <a:pt x="227" y="281"/>
                  </a:lnTo>
                  <a:lnTo>
                    <a:pt x="227" y="281"/>
                  </a:lnTo>
                  <a:lnTo>
                    <a:pt x="238" y="289"/>
                  </a:lnTo>
                  <a:lnTo>
                    <a:pt x="247" y="302"/>
                  </a:lnTo>
                  <a:lnTo>
                    <a:pt x="254" y="312"/>
                  </a:lnTo>
                  <a:lnTo>
                    <a:pt x="256" y="321"/>
                  </a:lnTo>
                  <a:lnTo>
                    <a:pt x="256" y="321"/>
                  </a:lnTo>
                  <a:lnTo>
                    <a:pt x="259" y="346"/>
                  </a:lnTo>
                  <a:lnTo>
                    <a:pt x="264" y="365"/>
                  </a:lnTo>
                  <a:lnTo>
                    <a:pt x="264" y="365"/>
                  </a:lnTo>
                  <a:lnTo>
                    <a:pt x="266" y="370"/>
                  </a:lnTo>
                  <a:lnTo>
                    <a:pt x="268" y="381"/>
                  </a:lnTo>
                  <a:lnTo>
                    <a:pt x="268" y="386"/>
                  </a:lnTo>
                  <a:lnTo>
                    <a:pt x="268" y="393"/>
                  </a:lnTo>
                  <a:lnTo>
                    <a:pt x="264" y="400"/>
                  </a:lnTo>
                  <a:lnTo>
                    <a:pt x="261" y="407"/>
                  </a:lnTo>
                  <a:lnTo>
                    <a:pt x="261" y="407"/>
                  </a:lnTo>
                  <a:lnTo>
                    <a:pt x="247" y="423"/>
                  </a:lnTo>
                  <a:lnTo>
                    <a:pt x="231" y="436"/>
                  </a:lnTo>
                  <a:lnTo>
                    <a:pt x="215" y="450"/>
                  </a:lnTo>
                  <a:lnTo>
                    <a:pt x="215" y="450"/>
                  </a:lnTo>
                  <a:lnTo>
                    <a:pt x="212" y="450"/>
                  </a:lnTo>
                  <a:lnTo>
                    <a:pt x="205" y="451"/>
                  </a:lnTo>
                  <a:lnTo>
                    <a:pt x="199" y="451"/>
                  </a:lnTo>
                  <a:lnTo>
                    <a:pt x="194" y="451"/>
                  </a:lnTo>
                  <a:lnTo>
                    <a:pt x="189" y="448"/>
                  </a:lnTo>
                  <a:lnTo>
                    <a:pt x="182" y="443"/>
                  </a:lnTo>
                  <a:lnTo>
                    <a:pt x="182" y="443"/>
                  </a:lnTo>
                  <a:lnTo>
                    <a:pt x="166" y="430"/>
                  </a:lnTo>
                  <a:lnTo>
                    <a:pt x="148" y="416"/>
                  </a:lnTo>
                  <a:lnTo>
                    <a:pt x="129" y="402"/>
                  </a:lnTo>
                  <a:lnTo>
                    <a:pt x="129" y="402"/>
                  </a:lnTo>
                  <a:lnTo>
                    <a:pt x="124" y="402"/>
                  </a:lnTo>
                  <a:lnTo>
                    <a:pt x="120" y="402"/>
                  </a:lnTo>
                  <a:lnTo>
                    <a:pt x="117" y="404"/>
                  </a:lnTo>
                  <a:lnTo>
                    <a:pt x="117" y="404"/>
                  </a:lnTo>
                  <a:lnTo>
                    <a:pt x="92" y="428"/>
                  </a:lnTo>
                  <a:lnTo>
                    <a:pt x="74" y="443"/>
                  </a:lnTo>
                  <a:lnTo>
                    <a:pt x="64" y="450"/>
                  </a:lnTo>
                  <a:lnTo>
                    <a:pt x="64" y="450"/>
                  </a:lnTo>
                  <a:lnTo>
                    <a:pt x="60" y="451"/>
                  </a:lnTo>
                  <a:lnTo>
                    <a:pt x="57" y="457"/>
                  </a:lnTo>
                  <a:lnTo>
                    <a:pt x="55" y="462"/>
                  </a:lnTo>
                  <a:lnTo>
                    <a:pt x="57" y="464"/>
                  </a:lnTo>
                  <a:lnTo>
                    <a:pt x="58" y="467"/>
                  </a:lnTo>
                  <a:lnTo>
                    <a:pt x="58" y="467"/>
                  </a:lnTo>
                  <a:lnTo>
                    <a:pt x="65" y="474"/>
                  </a:lnTo>
                  <a:lnTo>
                    <a:pt x="74" y="485"/>
                  </a:lnTo>
                  <a:lnTo>
                    <a:pt x="80" y="495"/>
                  </a:lnTo>
                  <a:lnTo>
                    <a:pt x="81" y="502"/>
                  </a:lnTo>
                  <a:lnTo>
                    <a:pt x="81" y="502"/>
                  </a:lnTo>
                  <a:lnTo>
                    <a:pt x="81" y="508"/>
                  </a:lnTo>
                  <a:lnTo>
                    <a:pt x="81" y="517"/>
                  </a:lnTo>
                  <a:lnTo>
                    <a:pt x="80" y="522"/>
                  </a:lnTo>
                  <a:lnTo>
                    <a:pt x="76" y="525"/>
                  </a:lnTo>
                  <a:lnTo>
                    <a:pt x="71" y="529"/>
                  </a:lnTo>
                  <a:lnTo>
                    <a:pt x="62" y="531"/>
                  </a:lnTo>
                  <a:lnTo>
                    <a:pt x="62" y="531"/>
                  </a:lnTo>
                  <a:lnTo>
                    <a:pt x="57" y="525"/>
                  </a:lnTo>
                  <a:lnTo>
                    <a:pt x="51" y="520"/>
                  </a:lnTo>
                  <a:lnTo>
                    <a:pt x="44" y="518"/>
                  </a:lnTo>
                  <a:lnTo>
                    <a:pt x="44" y="518"/>
                  </a:lnTo>
                  <a:lnTo>
                    <a:pt x="18" y="515"/>
                  </a:lnTo>
                  <a:lnTo>
                    <a:pt x="18" y="515"/>
                  </a:lnTo>
                  <a:lnTo>
                    <a:pt x="13" y="517"/>
                  </a:lnTo>
                  <a:lnTo>
                    <a:pt x="9" y="520"/>
                  </a:lnTo>
                  <a:lnTo>
                    <a:pt x="4" y="525"/>
                  </a:lnTo>
                  <a:lnTo>
                    <a:pt x="0" y="534"/>
                  </a:lnTo>
                  <a:lnTo>
                    <a:pt x="0" y="534"/>
                  </a:lnTo>
                  <a:lnTo>
                    <a:pt x="36" y="575"/>
                  </a:lnTo>
                  <a:lnTo>
                    <a:pt x="36" y="575"/>
                  </a:lnTo>
                  <a:lnTo>
                    <a:pt x="48" y="591"/>
                  </a:lnTo>
                  <a:lnTo>
                    <a:pt x="55" y="603"/>
                  </a:lnTo>
                  <a:lnTo>
                    <a:pt x="60" y="619"/>
                  </a:lnTo>
                  <a:lnTo>
                    <a:pt x="60" y="619"/>
                  </a:lnTo>
                  <a:lnTo>
                    <a:pt x="67" y="642"/>
                  </a:lnTo>
                  <a:lnTo>
                    <a:pt x="67" y="647"/>
                  </a:lnTo>
                  <a:lnTo>
                    <a:pt x="67" y="647"/>
                  </a:lnTo>
                  <a:lnTo>
                    <a:pt x="78" y="642"/>
                  </a:lnTo>
                  <a:lnTo>
                    <a:pt x="87" y="636"/>
                  </a:lnTo>
                  <a:lnTo>
                    <a:pt x="95" y="628"/>
                  </a:lnTo>
                  <a:lnTo>
                    <a:pt x="95" y="628"/>
                  </a:lnTo>
                  <a:lnTo>
                    <a:pt x="102" y="617"/>
                  </a:lnTo>
                  <a:lnTo>
                    <a:pt x="109" y="605"/>
                  </a:lnTo>
                  <a:lnTo>
                    <a:pt x="113" y="601"/>
                  </a:lnTo>
                  <a:lnTo>
                    <a:pt x="120" y="596"/>
                  </a:lnTo>
                  <a:lnTo>
                    <a:pt x="127" y="594"/>
                  </a:lnTo>
                  <a:lnTo>
                    <a:pt x="138" y="592"/>
                  </a:lnTo>
                  <a:lnTo>
                    <a:pt x="138" y="592"/>
                  </a:lnTo>
                  <a:lnTo>
                    <a:pt x="185" y="592"/>
                  </a:lnTo>
                  <a:lnTo>
                    <a:pt x="206" y="592"/>
                  </a:lnTo>
                  <a:lnTo>
                    <a:pt x="213" y="591"/>
                  </a:lnTo>
                  <a:lnTo>
                    <a:pt x="219" y="589"/>
                  </a:lnTo>
                  <a:lnTo>
                    <a:pt x="219" y="589"/>
                  </a:lnTo>
                  <a:lnTo>
                    <a:pt x="257" y="575"/>
                  </a:lnTo>
                  <a:lnTo>
                    <a:pt x="282" y="562"/>
                  </a:lnTo>
                  <a:lnTo>
                    <a:pt x="293" y="555"/>
                  </a:lnTo>
                  <a:lnTo>
                    <a:pt x="300" y="546"/>
                  </a:lnTo>
                  <a:lnTo>
                    <a:pt x="300" y="546"/>
                  </a:lnTo>
                  <a:lnTo>
                    <a:pt x="307" y="539"/>
                  </a:lnTo>
                  <a:lnTo>
                    <a:pt x="312" y="536"/>
                  </a:lnTo>
                  <a:lnTo>
                    <a:pt x="321" y="531"/>
                  </a:lnTo>
                  <a:lnTo>
                    <a:pt x="330" y="527"/>
                  </a:lnTo>
                  <a:lnTo>
                    <a:pt x="333" y="524"/>
                  </a:lnTo>
                  <a:lnTo>
                    <a:pt x="338" y="517"/>
                  </a:lnTo>
                  <a:lnTo>
                    <a:pt x="338" y="517"/>
                  </a:lnTo>
                  <a:lnTo>
                    <a:pt x="342" y="509"/>
                  </a:lnTo>
                  <a:lnTo>
                    <a:pt x="345" y="502"/>
                  </a:lnTo>
                  <a:lnTo>
                    <a:pt x="347" y="487"/>
                  </a:lnTo>
                  <a:lnTo>
                    <a:pt x="351" y="473"/>
                  </a:lnTo>
                  <a:lnTo>
                    <a:pt x="352" y="465"/>
                  </a:lnTo>
                  <a:lnTo>
                    <a:pt x="356" y="458"/>
                  </a:lnTo>
                  <a:lnTo>
                    <a:pt x="356" y="458"/>
                  </a:lnTo>
                  <a:lnTo>
                    <a:pt x="372" y="430"/>
                  </a:lnTo>
                  <a:lnTo>
                    <a:pt x="379" y="416"/>
                  </a:lnTo>
                  <a:lnTo>
                    <a:pt x="382" y="409"/>
                  </a:lnTo>
                  <a:lnTo>
                    <a:pt x="382" y="404"/>
                  </a:lnTo>
                  <a:lnTo>
                    <a:pt x="382" y="404"/>
                  </a:lnTo>
                  <a:lnTo>
                    <a:pt x="382" y="391"/>
                  </a:lnTo>
                  <a:lnTo>
                    <a:pt x="384" y="381"/>
                  </a:lnTo>
                  <a:lnTo>
                    <a:pt x="386" y="374"/>
                  </a:lnTo>
                  <a:lnTo>
                    <a:pt x="388" y="369"/>
                  </a:lnTo>
                  <a:lnTo>
                    <a:pt x="393" y="363"/>
                  </a:lnTo>
                  <a:lnTo>
                    <a:pt x="398" y="356"/>
                  </a:lnTo>
                  <a:lnTo>
                    <a:pt x="398" y="356"/>
                  </a:lnTo>
                  <a:lnTo>
                    <a:pt x="414" y="344"/>
                  </a:lnTo>
                  <a:lnTo>
                    <a:pt x="428" y="332"/>
                  </a:lnTo>
                  <a:lnTo>
                    <a:pt x="442" y="319"/>
                  </a:lnTo>
                  <a:lnTo>
                    <a:pt x="455" y="309"/>
                  </a:lnTo>
                  <a:lnTo>
                    <a:pt x="455" y="309"/>
                  </a:lnTo>
                  <a:lnTo>
                    <a:pt x="463" y="295"/>
                  </a:lnTo>
                  <a:lnTo>
                    <a:pt x="474" y="279"/>
                  </a:lnTo>
                  <a:lnTo>
                    <a:pt x="481" y="263"/>
                  </a:lnTo>
                  <a:lnTo>
                    <a:pt x="483" y="251"/>
                  </a:lnTo>
                  <a:lnTo>
                    <a:pt x="483" y="251"/>
                  </a:lnTo>
                  <a:lnTo>
                    <a:pt x="486" y="198"/>
                  </a:lnTo>
                  <a:lnTo>
                    <a:pt x="492" y="163"/>
                  </a:lnTo>
                  <a:lnTo>
                    <a:pt x="495" y="140"/>
                  </a:lnTo>
                  <a:lnTo>
                    <a:pt x="495" y="140"/>
                  </a:lnTo>
                  <a:lnTo>
                    <a:pt x="516" y="92"/>
                  </a:lnTo>
                  <a:lnTo>
                    <a:pt x="532" y="55"/>
                  </a:lnTo>
                  <a:lnTo>
                    <a:pt x="532" y="55"/>
                  </a:lnTo>
                  <a:lnTo>
                    <a:pt x="529" y="41"/>
                  </a:lnTo>
                  <a:lnTo>
                    <a:pt x="525" y="30"/>
                  </a:lnTo>
                  <a:lnTo>
                    <a:pt x="525" y="3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4" name="Freeform 30">
              <a:extLst>
                <a:ext uri="{FF2B5EF4-FFF2-40B4-BE49-F238E27FC236}">
                  <a16:creationId xmlns:a16="http://schemas.microsoft.com/office/drawing/2014/main" id="{09BC8BD1-29E7-435D-853F-84B0A231D82F}"/>
                </a:ext>
              </a:extLst>
            </p:cNvPr>
            <p:cNvSpPr>
              <a:spLocks/>
            </p:cNvSpPr>
            <p:nvPr/>
          </p:nvSpPr>
          <p:spPr bwMode="auto">
            <a:xfrm>
              <a:off x="4464874" y="3880514"/>
              <a:ext cx="1199222" cy="1183162"/>
            </a:xfrm>
            <a:custGeom>
              <a:avLst/>
              <a:gdLst/>
              <a:ahLst/>
              <a:cxnLst>
                <a:cxn ang="0">
                  <a:pos x="194" y="798"/>
                </a:cxn>
                <a:cxn ang="0">
                  <a:pos x="319" y="807"/>
                </a:cxn>
                <a:cxn ang="0">
                  <a:pos x="352" y="859"/>
                </a:cxn>
                <a:cxn ang="0">
                  <a:pos x="363" y="911"/>
                </a:cxn>
                <a:cxn ang="0">
                  <a:pos x="432" y="948"/>
                </a:cxn>
                <a:cxn ang="0">
                  <a:pos x="495" y="944"/>
                </a:cxn>
                <a:cxn ang="0">
                  <a:pos x="571" y="895"/>
                </a:cxn>
                <a:cxn ang="0">
                  <a:pos x="634" y="914"/>
                </a:cxn>
                <a:cxn ang="0">
                  <a:pos x="666" y="916"/>
                </a:cxn>
                <a:cxn ang="0">
                  <a:pos x="703" y="942"/>
                </a:cxn>
                <a:cxn ang="0">
                  <a:pos x="687" y="1025"/>
                </a:cxn>
                <a:cxn ang="0">
                  <a:pos x="705" y="1083"/>
                </a:cxn>
                <a:cxn ang="0">
                  <a:pos x="706" y="1138"/>
                </a:cxn>
                <a:cxn ang="0">
                  <a:pos x="747" y="1150"/>
                </a:cxn>
                <a:cxn ang="0">
                  <a:pos x="856" y="1162"/>
                </a:cxn>
                <a:cxn ang="0">
                  <a:pos x="941" y="1206"/>
                </a:cxn>
                <a:cxn ang="0">
                  <a:pos x="1030" y="1235"/>
                </a:cxn>
                <a:cxn ang="0">
                  <a:pos x="1103" y="1254"/>
                </a:cxn>
                <a:cxn ang="0">
                  <a:pos x="1210" y="1324"/>
                </a:cxn>
                <a:cxn ang="0">
                  <a:pos x="1256" y="1295"/>
                </a:cxn>
                <a:cxn ang="0">
                  <a:pos x="1242" y="1263"/>
                </a:cxn>
                <a:cxn ang="0">
                  <a:pos x="1180" y="1247"/>
                </a:cxn>
                <a:cxn ang="0">
                  <a:pos x="1140" y="1215"/>
                </a:cxn>
                <a:cxn ang="0">
                  <a:pos x="1131" y="1140"/>
                </a:cxn>
                <a:cxn ang="0">
                  <a:pos x="1141" y="1037"/>
                </a:cxn>
                <a:cxn ang="0">
                  <a:pos x="1178" y="990"/>
                </a:cxn>
                <a:cxn ang="0">
                  <a:pos x="1312" y="963"/>
                </a:cxn>
                <a:cxn ang="0">
                  <a:pos x="1270" y="852"/>
                </a:cxn>
                <a:cxn ang="0">
                  <a:pos x="1207" y="713"/>
                </a:cxn>
                <a:cxn ang="0">
                  <a:pos x="1222" y="683"/>
                </a:cxn>
                <a:cxn ang="0">
                  <a:pos x="1222" y="606"/>
                </a:cxn>
                <a:cxn ang="0">
                  <a:pos x="1198" y="549"/>
                </a:cxn>
                <a:cxn ang="0">
                  <a:pos x="1222" y="502"/>
                </a:cxn>
                <a:cxn ang="0">
                  <a:pos x="1224" y="467"/>
                </a:cxn>
                <a:cxn ang="0">
                  <a:pos x="1251" y="366"/>
                </a:cxn>
                <a:cxn ang="0">
                  <a:pos x="1332" y="239"/>
                </a:cxn>
                <a:cxn ang="0">
                  <a:pos x="1342" y="153"/>
                </a:cxn>
                <a:cxn ang="0">
                  <a:pos x="1298" y="81"/>
                </a:cxn>
                <a:cxn ang="0">
                  <a:pos x="1226" y="58"/>
                </a:cxn>
                <a:cxn ang="0">
                  <a:pos x="1155" y="55"/>
                </a:cxn>
                <a:cxn ang="0">
                  <a:pos x="891" y="9"/>
                </a:cxn>
                <a:cxn ang="0">
                  <a:pos x="779" y="26"/>
                </a:cxn>
                <a:cxn ang="0">
                  <a:pos x="749" y="70"/>
                </a:cxn>
                <a:cxn ang="0">
                  <a:pos x="713" y="88"/>
                </a:cxn>
                <a:cxn ang="0">
                  <a:pos x="671" y="81"/>
                </a:cxn>
                <a:cxn ang="0">
                  <a:pos x="604" y="67"/>
                </a:cxn>
                <a:cxn ang="0">
                  <a:pos x="565" y="32"/>
                </a:cxn>
                <a:cxn ang="0">
                  <a:pos x="513" y="21"/>
                </a:cxn>
                <a:cxn ang="0">
                  <a:pos x="493" y="40"/>
                </a:cxn>
                <a:cxn ang="0">
                  <a:pos x="456" y="62"/>
                </a:cxn>
                <a:cxn ang="0">
                  <a:pos x="449" y="113"/>
                </a:cxn>
                <a:cxn ang="0">
                  <a:pos x="432" y="255"/>
                </a:cxn>
                <a:cxn ang="0">
                  <a:pos x="405" y="400"/>
                </a:cxn>
                <a:cxn ang="0">
                  <a:pos x="345" y="465"/>
                </a:cxn>
                <a:cxn ang="0">
                  <a:pos x="315" y="512"/>
                </a:cxn>
                <a:cxn ang="0">
                  <a:pos x="293" y="571"/>
                </a:cxn>
                <a:cxn ang="0">
                  <a:pos x="278" y="627"/>
                </a:cxn>
                <a:cxn ang="0">
                  <a:pos x="233" y="667"/>
                </a:cxn>
                <a:cxn ang="0">
                  <a:pos x="141" y="713"/>
                </a:cxn>
                <a:cxn ang="0">
                  <a:pos x="41" y="727"/>
                </a:cxn>
                <a:cxn ang="0">
                  <a:pos x="23" y="754"/>
                </a:cxn>
                <a:cxn ang="0">
                  <a:pos x="23" y="796"/>
                </a:cxn>
              </a:cxnLst>
              <a:rect l="0" t="0" r="r" b="b"/>
              <a:pathLst>
                <a:path w="1344" h="1324">
                  <a:moveTo>
                    <a:pt x="62" y="807"/>
                  </a:moveTo>
                  <a:lnTo>
                    <a:pt x="62" y="807"/>
                  </a:lnTo>
                  <a:lnTo>
                    <a:pt x="106" y="801"/>
                  </a:lnTo>
                  <a:lnTo>
                    <a:pt x="150" y="800"/>
                  </a:lnTo>
                  <a:lnTo>
                    <a:pt x="194" y="798"/>
                  </a:lnTo>
                  <a:lnTo>
                    <a:pt x="194" y="798"/>
                  </a:lnTo>
                  <a:lnTo>
                    <a:pt x="273" y="798"/>
                  </a:lnTo>
                  <a:lnTo>
                    <a:pt x="289" y="798"/>
                  </a:lnTo>
                  <a:lnTo>
                    <a:pt x="303" y="800"/>
                  </a:lnTo>
                  <a:lnTo>
                    <a:pt x="312" y="801"/>
                  </a:lnTo>
                  <a:lnTo>
                    <a:pt x="319" y="807"/>
                  </a:lnTo>
                  <a:lnTo>
                    <a:pt x="319" y="807"/>
                  </a:lnTo>
                  <a:lnTo>
                    <a:pt x="330" y="815"/>
                  </a:lnTo>
                  <a:lnTo>
                    <a:pt x="342" y="828"/>
                  </a:lnTo>
                  <a:lnTo>
                    <a:pt x="347" y="835"/>
                  </a:lnTo>
                  <a:lnTo>
                    <a:pt x="351" y="842"/>
                  </a:lnTo>
                  <a:lnTo>
                    <a:pt x="352" y="849"/>
                  </a:lnTo>
                  <a:lnTo>
                    <a:pt x="352" y="859"/>
                  </a:lnTo>
                  <a:lnTo>
                    <a:pt x="352" y="859"/>
                  </a:lnTo>
                  <a:lnTo>
                    <a:pt x="352" y="868"/>
                  </a:lnTo>
                  <a:lnTo>
                    <a:pt x="352" y="879"/>
                  </a:lnTo>
                  <a:lnTo>
                    <a:pt x="354" y="889"/>
                  </a:lnTo>
                  <a:lnTo>
                    <a:pt x="358" y="900"/>
                  </a:lnTo>
                  <a:lnTo>
                    <a:pt x="363" y="911"/>
                  </a:lnTo>
                  <a:lnTo>
                    <a:pt x="370" y="919"/>
                  </a:lnTo>
                  <a:lnTo>
                    <a:pt x="379" y="926"/>
                  </a:lnTo>
                  <a:lnTo>
                    <a:pt x="391" y="933"/>
                  </a:lnTo>
                  <a:lnTo>
                    <a:pt x="391" y="933"/>
                  </a:lnTo>
                  <a:lnTo>
                    <a:pt x="418" y="944"/>
                  </a:lnTo>
                  <a:lnTo>
                    <a:pt x="432" y="948"/>
                  </a:lnTo>
                  <a:lnTo>
                    <a:pt x="448" y="951"/>
                  </a:lnTo>
                  <a:lnTo>
                    <a:pt x="462" y="953"/>
                  </a:lnTo>
                  <a:lnTo>
                    <a:pt x="474" y="953"/>
                  </a:lnTo>
                  <a:lnTo>
                    <a:pt x="486" y="949"/>
                  </a:lnTo>
                  <a:lnTo>
                    <a:pt x="495" y="944"/>
                  </a:lnTo>
                  <a:lnTo>
                    <a:pt x="495" y="944"/>
                  </a:lnTo>
                  <a:lnTo>
                    <a:pt x="514" y="926"/>
                  </a:lnTo>
                  <a:lnTo>
                    <a:pt x="527" y="916"/>
                  </a:lnTo>
                  <a:lnTo>
                    <a:pt x="541" y="905"/>
                  </a:lnTo>
                  <a:lnTo>
                    <a:pt x="555" y="898"/>
                  </a:lnTo>
                  <a:lnTo>
                    <a:pt x="562" y="895"/>
                  </a:lnTo>
                  <a:lnTo>
                    <a:pt x="571" y="895"/>
                  </a:lnTo>
                  <a:lnTo>
                    <a:pt x="580" y="893"/>
                  </a:lnTo>
                  <a:lnTo>
                    <a:pt x="588" y="895"/>
                  </a:lnTo>
                  <a:lnTo>
                    <a:pt x="597" y="896"/>
                  </a:lnTo>
                  <a:lnTo>
                    <a:pt x="606" y="902"/>
                  </a:lnTo>
                  <a:lnTo>
                    <a:pt x="606" y="902"/>
                  </a:lnTo>
                  <a:lnTo>
                    <a:pt x="634" y="914"/>
                  </a:lnTo>
                  <a:lnTo>
                    <a:pt x="643" y="918"/>
                  </a:lnTo>
                  <a:lnTo>
                    <a:pt x="648" y="918"/>
                  </a:lnTo>
                  <a:lnTo>
                    <a:pt x="657" y="918"/>
                  </a:lnTo>
                  <a:lnTo>
                    <a:pt x="661" y="916"/>
                  </a:lnTo>
                  <a:lnTo>
                    <a:pt x="666" y="916"/>
                  </a:lnTo>
                  <a:lnTo>
                    <a:pt x="666" y="916"/>
                  </a:lnTo>
                  <a:lnTo>
                    <a:pt x="675" y="916"/>
                  </a:lnTo>
                  <a:lnTo>
                    <a:pt x="682" y="918"/>
                  </a:lnTo>
                  <a:lnTo>
                    <a:pt x="689" y="921"/>
                  </a:lnTo>
                  <a:lnTo>
                    <a:pt x="696" y="926"/>
                  </a:lnTo>
                  <a:lnTo>
                    <a:pt x="699" y="933"/>
                  </a:lnTo>
                  <a:lnTo>
                    <a:pt x="703" y="942"/>
                  </a:lnTo>
                  <a:lnTo>
                    <a:pt x="703" y="956"/>
                  </a:lnTo>
                  <a:lnTo>
                    <a:pt x="699" y="972"/>
                  </a:lnTo>
                  <a:lnTo>
                    <a:pt x="699" y="972"/>
                  </a:lnTo>
                  <a:lnTo>
                    <a:pt x="691" y="1002"/>
                  </a:lnTo>
                  <a:lnTo>
                    <a:pt x="687" y="1013"/>
                  </a:lnTo>
                  <a:lnTo>
                    <a:pt x="687" y="1025"/>
                  </a:lnTo>
                  <a:lnTo>
                    <a:pt x="687" y="1036"/>
                  </a:lnTo>
                  <a:lnTo>
                    <a:pt x="689" y="1046"/>
                  </a:lnTo>
                  <a:lnTo>
                    <a:pt x="692" y="1057"/>
                  </a:lnTo>
                  <a:lnTo>
                    <a:pt x="699" y="1071"/>
                  </a:lnTo>
                  <a:lnTo>
                    <a:pt x="699" y="1071"/>
                  </a:lnTo>
                  <a:lnTo>
                    <a:pt x="705" y="1083"/>
                  </a:lnTo>
                  <a:lnTo>
                    <a:pt x="708" y="1094"/>
                  </a:lnTo>
                  <a:lnTo>
                    <a:pt x="706" y="1103"/>
                  </a:lnTo>
                  <a:lnTo>
                    <a:pt x="706" y="1111"/>
                  </a:lnTo>
                  <a:lnTo>
                    <a:pt x="703" y="1124"/>
                  </a:lnTo>
                  <a:lnTo>
                    <a:pt x="703" y="1131"/>
                  </a:lnTo>
                  <a:lnTo>
                    <a:pt x="706" y="1138"/>
                  </a:lnTo>
                  <a:lnTo>
                    <a:pt x="706" y="1138"/>
                  </a:lnTo>
                  <a:lnTo>
                    <a:pt x="710" y="1141"/>
                  </a:lnTo>
                  <a:lnTo>
                    <a:pt x="713" y="1145"/>
                  </a:lnTo>
                  <a:lnTo>
                    <a:pt x="722" y="1148"/>
                  </a:lnTo>
                  <a:lnTo>
                    <a:pt x="735" y="1150"/>
                  </a:lnTo>
                  <a:lnTo>
                    <a:pt x="747" y="1150"/>
                  </a:lnTo>
                  <a:lnTo>
                    <a:pt x="775" y="1150"/>
                  </a:lnTo>
                  <a:lnTo>
                    <a:pt x="789" y="1148"/>
                  </a:lnTo>
                  <a:lnTo>
                    <a:pt x="803" y="1150"/>
                  </a:lnTo>
                  <a:lnTo>
                    <a:pt x="803" y="1150"/>
                  </a:lnTo>
                  <a:lnTo>
                    <a:pt x="828" y="1155"/>
                  </a:lnTo>
                  <a:lnTo>
                    <a:pt x="856" y="1162"/>
                  </a:lnTo>
                  <a:lnTo>
                    <a:pt x="886" y="1173"/>
                  </a:lnTo>
                  <a:lnTo>
                    <a:pt x="902" y="1182"/>
                  </a:lnTo>
                  <a:lnTo>
                    <a:pt x="918" y="1191"/>
                  </a:lnTo>
                  <a:lnTo>
                    <a:pt x="918" y="1191"/>
                  </a:lnTo>
                  <a:lnTo>
                    <a:pt x="932" y="1199"/>
                  </a:lnTo>
                  <a:lnTo>
                    <a:pt x="941" y="1206"/>
                  </a:lnTo>
                  <a:lnTo>
                    <a:pt x="951" y="1217"/>
                  </a:lnTo>
                  <a:lnTo>
                    <a:pt x="958" y="1221"/>
                  </a:lnTo>
                  <a:lnTo>
                    <a:pt x="967" y="1224"/>
                  </a:lnTo>
                  <a:lnTo>
                    <a:pt x="995" y="1229"/>
                  </a:lnTo>
                  <a:lnTo>
                    <a:pt x="995" y="1229"/>
                  </a:lnTo>
                  <a:lnTo>
                    <a:pt x="1030" y="1235"/>
                  </a:lnTo>
                  <a:lnTo>
                    <a:pt x="1057" y="1236"/>
                  </a:lnTo>
                  <a:lnTo>
                    <a:pt x="1067" y="1238"/>
                  </a:lnTo>
                  <a:lnTo>
                    <a:pt x="1080" y="1242"/>
                  </a:lnTo>
                  <a:lnTo>
                    <a:pt x="1090" y="1245"/>
                  </a:lnTo>
                  <a:lnTo>
                    <a:pt x="1103" y="1254"/>
                  </a:lnTo>
                  <a:lnTo>
                    <a:pt x="1103" y="1254"/>
                  </a:lnTo>
                  <a:lnTo>
                    <a:pt x="1133" y="1275"/>
                  </a:lnTo>
                  <a:lnTo>
                    <a:pt x="1166" y="1302"/>
                  </a:lnTo>
                  <a:lnTo>
                    <a:pt x="1182" y="1312"/>
                  </a:lnTo>
                  <a:lnTo>
                    <a:pt x="1196" y="1321"/>
                  </a:lnTo>
                  <a:lnTo>
                    <a:pt x="1207" y="1324"/>
                  </a:lnTo>
                  <a:lnTo>
                    <a:pt x="1210" y="1324"/>
                  </a:lnTo>
                  <a:lnTo>
                    <a:pt x="1214" y="1324"/>
                  </a:lnTo>
                  <a:lnTo>
                    <a:pt x="1214" y="1324"/>
                  </a:lnTo>
                  <a:lnTo>
                    <a:pt x="1229" y="1316"/>
                  </a:lnTo>
                  <a:lnTo>
                    <a:pt x="1240" y="1309"/>
                  </a:lnTo>
                  <a:lnTo>
                    <a:pt x="1249" y="1302"/>
                  </a:lnTo>
                  <a:lnTo>
                    <a:pt x="1256" y="1295"/>
                  </a:lnTo>
                  <a:lnTo>
                    <a:pt x="1258" y="1289"/>
                  </a:lnTo>
                  <a:lnTo>
                    <a:pt x="1258" y="1286"/>
                  </a:lnTo>
                  <a:lnTo>
                    <a:pt x="1256" y="1280"/>
                  </a:lnTo>
                  <a:lnTo>
                    <a:pt x="1254" y="1275"/>
                  </a:lnTo>
                  <a:lnTo>
                    <a:pt x="1249" y="1268"/>
                  </a:lnTo>
                  <a:lnTo>
                    <a:pt x="1242" y="1263"/>
                  </a:lnTo>
                  <a:lnTo>
                    <a:pt x="1242" y="1263"/>
                  </a:lnTo>
                  <a:lnTo>
                    <a:pt x="1226" y="1254"/>
                  </a:lnTo>
                  <a:lnTo>
                    <a:pt x="1214" y="1249"/>
                  </a:lnTo>
                  <a:lnTo>
                    <a:pt x="1201" y="1247"/>
                  </a:lnTo>
                  <a:lnTo>
                    <a:pt x="1191" y="1245"/>
                  </a:lnTo>
                  <a:lnTo>
                    <a:pt x="1180" y="1247"/>
                  </a:lnTo>
                  <a:lnTo>
                    <a:pt x="1170" y="1245"/>
                  </a:lnTo>
                  <a:lnTo>
                    <a:pt x="1161" y="1242"/>
                  </a:lnTo>
                  <a:lnTo>
                    <a:pt x="1152" y="1235"/>
                  </a:lnTo>
                  <a:lnTo>
                    <a:pt x="1152" y="1235"/>
                  </a:lnTo>
                  <a:lnTo>
                    <a:pt x="1145" y="1226"/>
                  </a:lnTo>
                  <a:lnTo>
                    <a:pt x="1140" y="1215"/>
                  </a:lnTo>
                  <a:lnTo>
                    <a:pt x="1138" y="1206"/>
                  </a:lnTo>
                  <a:lnTo>
                    <a:pt x="1136" y="1199"/>
                  </a:lnTo>
                  <a:lnTo>
                    <a:pt x="1136" y="1182"/>
                  </a:lnTo>
                  <a:lnTo>
                    <a:pt x="1134" y="1164"/>
                  </a:lnTo>
                  <a:lnTo>
                    <a:pt x="1134" y="1164"/>
                  </a:lnTo>
                  <a:lnTo>
                    <a:pt x="1131" y="1140"/>
                  </a:lnTo>
                  <a:lnTo>
                    <a:pt x="1131" y="1106"/>
                  </a:lnTo>
                  <a:lnTo>
                    <a:pt x="1131" y="1088"/>
                  </a:lnTo>
                  <a:lnTo>
                    <a:pt x="1133" y="1071"/>
                  </a:lnTo>
                  <a:lnTo>
                    <a:pt x="1136" y="1053"/>
                  </a:lnTo>
                  <a:lnTo>
                    <a:pt x="1141" y="1037"/>
                  </a:lnTo>
                  <a:lnTo>
                    <a:pt x="1141" y="1037"/>
                  </a:lnTo>
                  <a:lnTo>
                    <a:pt x="1148" y="1013"/>
                  </a:lnTo>
                  <a:lnTo>
                    <a:pt x="1152" y="1004"/>
                  </a:lnTo>
                  <a:lnTo>
                    <a:pt x="1155" y="999"/>
                  </a:lnTo>
                  <a:lnTo>
                    <a:pt x="1159" y="993"/>
                  </a:lnTo>
                  <a:lnTo>
                    <a:pt x="1168" y="992"/>
                  </a:lnTo>
                  <a:lnTo>
                    <a:pt x="1178" y="990"/>
                  </a:lnTo>
                  <a:lnTo>
                    <a:pt x="1194" y="990"/>
                  </a:lnTo>
                  <a:lnTo>
                    <a:pt x="1194" y="990"/>
                  </a:lnTo>
                  <a:lnTo>
                    <a:pt x="1312" y="997"/>
                  </a:lnTo>
                  <a:lnTo>
                    <a:pt x="1312" y="997"/>
                  </a:lnTo>
                  <a:lnTo>
                    <a:pt x="1312" y="988"/>
                  </a:lnTo>
                  <a:lnTo>
                    <a:pt x="1312" y="963"/>
                  </a:lnTo>
                  <a:lnTo>
                    <a:pt x="1310" y="948"/>
                  </a:lnTo>
                  <a:lnTo>
                    <a:pt x="1305" y="930"/>
                  </a:lnTo>
                  <a:lnTo>
                    <a:pt x="1298" y="909"/>
                  </a:lnTo>
                  <a:lnTo>
                    <a:pt x="1289" y="889"/>
                  </a:lnTo>
                  <a:lnTo>
                    <a:pt x="1289" y="889"/>
                  </a:lnTo>
                  <a:lnTo>
                    <a:pt x="1270" y="852"/>
                  </a:lnTo>
                  <a:lnTo>
                    <a:pt x="1254" y="822"/>
                  </a:lnTo>
                  <a:lnTo>
                    <a:pt x="1229" y="764"/>
                  </a:lnTo>
                  <a:lnTo>
                    <a:pt x="1229" y="764"/>
                  </a:lnTo>
                  <a:lnTo>
                    <a:pt x="1217" y="738"/>
                  </a:lnTo>
                  <a:lnTo>
                    <a:pt x="1208" y="720"/>
                  </a:lnTo>
                  <a:lnTo>
                    <a:pt x="1207" y="713"/>
                  </a:lnTo>
                  <a:lnTo>
                    <a:pt x="1205" y="706"/>
                  </a:lnTo>
                  <a:lnTo>
                    <a:pt x="1207" y="701"/>
                  </a:lnTo>
                  <a:lnTo>
                    <a:pt x="1212" y="697"/>
                  </a:lnTo>
                  <a:lnTo>
                    <a:pt x="1212" y="697"/>
                  </a:lnTo>
                  <a:lnTo>
                    <a:pt x="1217" y="690"/>
                  </a:lnTo>
                  <a:lnTo>
                    <a:pt x="1222" y="683"/>
                  </a:lnTo>
                  <a:lnTo>
                    <a:pt x="1226" y="673"/>
                  </a:lnTo>
                  <a:lnTo>
                    <a:pt x="1229" y="660"/>
                  </a:lnTo>
                  <a:lnTo>
                    <a:pt x="1231" y="648"/>
                  </a:lnTo>
                  <a:lnTo>
                    <a:pt x="1231" y="634"/>
                  </a:lnTo>
                  <a:lnTo>
                    <a:pt x="1228" y="620"/>
                  </a:lnTo>
                  <a:lnTo>
                    <a:pt x="1222" y="606"/>
                  </a:lnTo>
                  <a:lnTo>
                    <a:pt x="1222" y="606"/>
                  </a:lnTo>
                  <a:lnTo>
                    <a:pt x="1210" y="583"/>
                  </a:lnTo>
                  <a:lnTo>
                    <a:pt x="1203" y="569"/>
                  </a:lnTo>
                  <a:lnTo>
                    <a:pt x="1198" y="560"/>
                  </a:lnTo>
                  <a:lnTo>
                    <a:pt x="1196" y="555"/>
                  </a:lnTo>
                  <a:lnTo>
                    <a:pt x="1198" y="549"/>
                  </a:lnTo>
                  <a:lnTo>
                    <a:pt x="1198" y="549"/>
                  </a:lnTo>
                  <a:lnTo>
                    <a:pt x="1199" y="537"/>
                  </a:lnTo>
                  <a:lnTo>
                    <a:pt x="1205" y="525"/>
                  </a:lnTo>
                  <a:lnTo>
                    <a:pt x="1214" y="514"/>
                  </a:lnTo>
                  <a:lnTo>
                    <a:pt x="1222" y="502"/>
                  </a:lnTo>
                  <a:lnTo>
                    <a:pt x="1222" y="502"/>
                  </a:lnTo>
                  <a:lnTo>
                    <a:pt x="1226" y="497"/>
                  </a:lnTo>
                  <a:lnTo>
                    <a:pt x="1228" y="491"/>
                  </a:lnTo>
                  <a:lnTo>
                    <a:pt x="1228" y="486"/>
                  </a:lnTo>
                  <a:lnTo>
                    <a:pt x="1226" y="481"/>
                  </a:lnTo>
                  <a:lnTo>
                    <a:pt x="1224" y="474"/>
                  </a:lnTo>
                  <a:lnTo>
                    <a:pt x="1224" y="467"/>
                  </a:lnTo>
                  <a:lnTo>
                    <a:pt x="1224" y="458"/>
                  </a:lnTo>
                  <a:lnTo>
                    <a:pt x="1228" y="446"/>
                  </a:lnTo>
                  <a:lnTo>
                    <a:pt x="1228" y="446"/>
                  </a:lnTo>
                  <a:lnTo>
                    <a:pt x="1243" y="396"/>
                  </a:lnTo>
                  <a:lnTo>
                    <a:pt x="1249" y="377"/>
                  </a:lnTo>
                  <a:lnTo>
                    <a:pt x="1251" y="366"/>
                  </a:lnTo>
                  <a:lnTo>
                    <a:pt x="1251" y="366"/>
                  </a:lnTo>
                  <a:lnTo>
                    <a:pt x="1254" y="359"/>
                  </a:lnTo>
                  <a:lnTo>
                    <a:pt x="1263" y="345"/>
                  </a:lnTo>
                  <a:lnTo>
                    <a:pt x="1291" y="306"/>
                  </a:lnTo>
                  <a:lnTo>
                    <a:pt x="1319" y="261"/>
                  </a:lnTo>
                  <a:lnTo>
                    <a:pt x="1332" y="239"/>
                  </a:lnTo>
                  <a:lnTo>
                    <a:pt x="1339" y="222"/>
                  </a:lnTo>
                  <a:lnTo>
                    <a:pt x="1339" y="222"/>
                  </a:lnTo>
                  <a:lnTo>
                    <a:pt x="1342" y="206"/>
                  </a:lnTo>
                  <a:lnTo>
                    <a:pt x="1344" y="190"/>
                  </a:lnTo>
                  <a:lnTo>
                    <a:pt x="1344" y="171"/>
                  </a:lnTo>
                  <a:lnTo>
                    <a:pt x="1342" y="153"/>
                  </a:lnTo>
                  <a:lnTo>
                    <a:pt x="1337" y="136"/>
                  </a:lnTo>
                  <a:lnTo>
                    <a:pt x="1332" y="118"/>
                  </a:lnTo>
                  <a:lnTo>
                    <a:pt x="1321" y="104"/>
                  </a:lnTo>
                  <a:lnTo>
                    <a:pt x="1310" y="92"/>
                  </a:lnTo>
                  <a:lnTo>
                    <a:pt x="1310" y="92"/>
                  </a:lnTo>
                  <a:lnTo>
                    <a:pt x="1298" y="81"/>
                  </a:lnTo>
                  <a:lnTo>
                    <a:pt x="1286" y="74"/>
                  </a:lnTo>
                  <a:lnTo>
                    <a:pt x="1277" y="69"/>
                  </a:lnTo>
                  <a:lnTo>
                    <a:pt x="1266" y="65"/>
                  </a:lnTo>
                  <a:lnTo>
                    <a:pt x="1247" y="62"/>
                  </a:lnTo>
                  <a:lnTo>
                    <a:pt x="1226" y="58"/>
                  </a:lnTo>
                  <a:lnTo>
                    <a:pt x="1226" y="58"/>
                  </a:lnTo>
                  <a:lnTo>
                    <a:pt x="1214" y="58"/>
                  </a:lnTo>
                  <a:lnTo>
                    <a:pt x="1203" y="58"/>
                  </a:lnTo>
                  <a:lnTo>
                    <a:pt x="1184" y="62"/>
                  </a:lnTo>
                  <a:lnTo>
                    <a:pt x="1175" y="62"/>
                  </a:lnTo>
                  <a:lnTo>
                    <a:pt x="1166" y="60"/>
                  </a:lnTo>
                  <a:lnTo>
                    <a:pt x="1155" y="55"/>
                  </a:lnTo>
                  <a:lnTo>
                    <a:pt x="1145" y="46"/>
                  </a:lnTo>
                  <a:lnTo>
                    <a:pt x="1145" y="46"/>
                  </a:lnTo>
                  <a:lnTo>
                    <a:pt x="1110" y="12"/>
                  </a:lnTo>
                  <a:lnTo>
                    <a:pt x="1096" y="0"/>
                  </a:lnTo>
                  <a:lnTo>
                    <a:pt x="1096" y="0"/>
                  </a:lnTo>
                  <a:lnTo>
                    <a:pt x="891" y="9"/>
                  </a:lnTo>
                  <a:lnTo>
                    <a:pt x="891" y="9"/>
                  </a:lnTo>
                  <a:lnTo>
                    <a:pt x="858" y="10"/>
                  </a:lnTo>
                  <a:lnTo>
                    <a:pt x="823" y="16"/>
                  </a:lnTo>
                  <a:lnTo>
                    <a:pt x="805" y="18"/>
                  </a:lnTo>
                  <a:lnTo>
                    <a:pt x="791" y="23"/>
                  </a:lnTo>
                  <a:lnTo>
                    <a:pt x="779" y="26"/>
                  </a:lnTo>
                  <a:lnTo>
                    <a:pt x="770" y="32"/>
                  </a:lnTo>
                  <a:lnTo>
                    <a:pt x="770" y="32"/>
                  </a:lnTo>
                  <a:lnTo>
                    <a:pt x="764" y="39"/>
                  </a:lnTo>
                  <a:lnTo>
                    <a:pt x="761" y="46"/>
                  </a:lnTo>
                  <a:lnTo>
                    <a:pt x="754" y="63"/>
                  </a:lnTo>
                  <a:lnTo>
                    <a:pt x="749" y="70"/>
                  </a:lnTo>
                  <a:lnTo>
                    <a:pt x="743" y="76"/>
                  </a:lnTo>
                  <a:lnTo>
                    <a:pt x="736" y="81"/>
                  </a:lnTo>
                  <a:lnTo>
                    <a:pt x="728" y="84"/>
                  </a:lnTo>
                  <a:lnTo>
                    <a:pt x="728" y="84"/>
                  </a:lnTo>
                  <a:lnTo>
                    <a:pt x="715" y="86"/>
                  </a:lnTo>
                  <a:lnTo>
                    <a:pt x="713" y="88"/>
                  </a:lnTo>
                  <a:lnTo>
                    <a:pt x="699" y="88"/>
                  </a:lnTo>
                  <a:lnTo>
                    <a:pt x="699" y="88"/>
                  </a:lnTo>
                  <a:lnTo>
                    <a:pt x="685" y="88"/>
                  </a:lnTo>
                  <a:lnTo>
                    <a:pt x="680" y="88"/>
                  </a:lnTo>
                  <a:lnTo>
                    <a:pt x="678" y="86"/>
                  </a:lnTo>
                  <a:lnTo>
                    <a:pt x="671" y="81"/>
                  </a:lnTo>
                  <a:lnTo>
                    <a:pt x="657" y="74"/>
                  </a:lnTo>
                  <a:lnTo>
                    <a:pt x="657" y="74"/>
                  </a:lnTo>
                  <a:lnTo>
                    <a:pt x="647" y="72"/>
                  </a:lnTo>
                  <a:lnTo>
                    <a:pt x="638" y="70"/>
                  </a:lnTo>
                  <a:lnTo>
                    <a:pt x="618" y="69"/>
                  </a:lnTo>
                  <a:lnTo>
                    <a:pt x="604" y="67"/>
                  </a:lnTo>
                  <a:lnTo>
                    <a:pt x="597" y="65"/>
                  </a:lnTo>
                  <a:lnTo>
                    <a:pt x="594" y="63"/>
                  </a:lnTo>
                  <a:lnTo>
                    <a:pt x="594" y="63"/>
                  </a:lnTo>
                  <a:lnTo>
                    <a:pt x="585" y="53"/>
                  </a:lnTo>
                  <a:lnTo>
                    <a:pt x="573" y="39"/>
                  </a:lnTo>
                  <a:lnTo>
                    <a:pt x="565" y="32"/>
                  </a:lnTo>
                  <a:lnTo>
                    <a:pt x="558" y="26"/>
                  </a:lnTo>
                  <a:lnTo>
                    <a:pt x="551" y="21"/>
                  </a:lnTo>
                  <a:lnTo>
                    <a:pt x="543" y="21"/>
                  </a:lnTo>
                  <a:lnTo>
                    <a:pt x="543" y="21"/>
                  </a:lnTo>
                  <a:lnTo>
                    <a:pt x="527" y="21"/>
                  </a:lnTo>
                  <a:lnTo>
                    <a:pt x="513" y="21"/>
                  </a:lnTo>
                  <a:lnTo>
                    <a:pt x="509" y="23"/>
                  </a:lnTo>
                  <a:lnTo>
                    <a:pt x="504" y="25"/>
                  </a:lnTo>
                  <a:lnTo>
                    <a:pt x="500" y="30"/>
                  </a:lnTo>
                  <a:lnTo>
                    <a:pt x="497" y="35"/>
                  </a:lnTo>
                  <a:lnTo>
                    <a:pt x="497" y="35"/>
                  </a:lnTo>
                  <a:lnTo>
                    <a:pt x="493" y="40"/>
                  </a:lnTo>
                  <a:lnTo>
                    <a:pt x="490" y="46"/>
                  </a:lnTo>
                  <a:lnTo>
                    <a:pt x="479" y="55"/>
                  </a:lnTo>
                  <a:lnTo>
                    <a:pt x="467" y="58"/>
                  </a:lnTo>
                  <a:lnTo>
                    <a:pt x="460" y="60"/>
                  </a:lnTo>
                  <a:lnTo>
                    <a:pt x="460" y="60"/>
                  </a:lnTo>
                  <a:lnTo>
                    <a:pt x="456" y="62"/>
                  </a:lnTo>
                  <a:lnTo>
                    <a:pt x="455" y="63"/>
                  </a:lnTo>
                  <a:lnTo>
                    <a:pt x="449" y="70"/>
                  </a:lnTo>
                  <a:lnTo>
                    <a:pt x="446" y="81"/>
                  </a:lnTo>
                  <a:lnTo>
                    <a:pt x="446" y="95"/>
                  </a:lnTo>
                  <a:lnTo>
                    <a:pt x="446" y="95"/>
                  </a:lnTo>
                  <a:lnTo>
                    <a:pt x="449" y="113"/>
                  </a:lnTo>
                  <a:lnTo>
                    <a:pt x="453" y="132"/>
                  </a:lnTo>
                  <a:lnTo>
                    <a:pt x="458" y="151"/>
                  </a:lnTo>
                  <a:lnTo>
                    <a:pt x="465" y="176"/>
                  </a:lnTo>
                  <a:lnTo>
                    <a:pt x="433" y="250"/>
                  </a:lnTo>
                  <a:lnTo>
                    <a:pt x="433" y="250"/>
                  </a:lnTo>
                  <a:lnTo>
                    <a:pt x="432" y="255"/>
                  </a:lnTo>
                  <a:lnTo>
                    <a:pt x="428" y="269"/>
                  </a:lnTo>
                  <a:lnTo>
                    <a:pt x="423" y="294"/>
                  </a:lnTo>
                  <a:lnTo>
                    <a:pt x="419" y="331"/>
                  </a:lnTo>
                  <a:lnTo>
                    <a:pt x="416" y="379"/>
                  </a:lnTo>
                  <a:lnTo>
                    <a:pt x="416" y="379"/>
                  </a:lnTo>
                  <a:lnTo>
                    <a:pt x="405" y="400"/>
                  </a:lnTo>
                  <a:lnTo>
                    <a:pt x="396" y="416"/>
                  </a:lnTo>
                  <a:lnTo>
                    <a:pt x="388" y="430"/>
                  </a:lnTo>
                  <a:lnTo>
                    <a:pt x="388" y="430"/>
                  </a:lnTo>
                  <a:lnTo>
                    <a:pt x="361" y="451"/>
                  </a:lnTo>
                  <a:lnTo>
                    <a:pt x="345" y="465"/>
                  </a:lnTo>
                  <a:lnTo>
                    <a:pt x="345" y="465"/>
                  </a:lnTo>
                  <a:lnTo>
                    <a:pt x="331" y="475"/>
                  </a:lnTo>
                  <a:lnTo>
                    <a:pt x="322" y="488"/>
                  </a:lnTo>
                  <a:lnTo>
                    <a:pt x="319" y="495"/>
                  </a:lnTo>
                  <a:lnTo>
                    <a:pt x="317" y="500"/>
                  </a:lnTo>
                  <a:lnTo>
                    <a:pt x="317" y="500"/>
                  </a:lnTo>
                  <a:lnTo>
                    <a:pt x="315" y="512"/>
                  </a:lnTo>
                  <a:lnTo>
                    <a:pt x="314" y="525"/>
                  </a:lnTo>
                  <a:lnTo>
                    <a:pt x="314" y="535"/>
                  </a:lnTo>
                  <a:lnTo>
                    <a:pt x="312" y="541"/>
                  </a:lnTo>
                  <a:lnTo>
                    <a:pt x="310" y="544"/>
                  </a:lnTo>
                  <a:lnTo>
                    <a:pt x="310" y="544"/>
                  </a:lnTo>
                  <a:lnTo>
                    <a:pt x="293" y="571"/>
                  </a:lnTo>
                  <a:lnTo>
                    <a:pt x="285" y="586"/>
                  </a:lnTo>
                  <a:lnTo>
                    <a:pt x="282" y="597"/>
                  </a:lnTo>
                  <a:lnTo>
                    <a:pt x="282" y="597"/>
                  </a:lnTo>
                  <a:lnTo>
                    <a:pt x="282" y="606"/>
                  </a:lnTo>
                  <a:lnTo>
                    <a:pt x="280" y="620"/>
                  </a:lnTo>
                  <a:lnTo>
                    <a:pt x="278" y="627"/>
                  </a:lnTo>
                  <a:lnTo>
                    <a:pt x="275" y="632"/>
                  </a:lnTo>
                  <a:lnTo>
                    <a:pt x="271" y="639"/>
                  </a:lnTo>
                  <a:lnTo>
                    <a:pt x="266" y="643"/>
                  </a:lnTo>
                  <a:lnTo>
                    <a:pt x="266" y="643"/>
                  </a:lnTo>
                  <a:lnTo>
                    <a:pt x="245" y="657"/>
                  </a:lnTo>
                  <a:lnTo>
                    <a:pt x="233" y="667"/>
                  </a:lnTo>
                  <a:lnTo>
                    <a:pt x="233" y="667"/>
                  </a:lnTo>
                  <a:lnTo>
                    <a:pt x="215" y="682"/>
                  </a:lnTo>
                  <a:lnTo>
                    <a:pt x="201" y="689"/>
                  </a:lnTo>
                  <a:lnTo>
                    <a:pt x="189" y="696"/>
                  </a:lnTo>
                  <a:lnTo>
                    <a:pt x="189" y="696"/>
                  </a:lnTo>
                  <a:lnTo>
                    <a:pt x="141" y="713"/>
                  </a:lnTo>
                  <a:lnTo>
                    <a:pt x="81" y="712"/>
                  </a:lnTo>
                  <a:lnTo>
                    <a:pt x="57" y="715"/>
                  </a:lnTo>
                  <a:lnTo>
                    <a:pt x="57" y="715"/>
                  </a:lnTo>
                  <a:lnTo>
                    <a:pt x="51" y="719"/>
                  </a:lnTo>
                  <a:lnTo>
                    <a:pt x="46" y="722"/>
                  </a:lnTo>
                  <a:lnTo>
                    <a:pt x="41" y="727"/>
                  </a:lnTo>
                  <a:lnTo>
                    <a:pt x="41" y="727"/>
                  </a:lnTo>
                  <a:lnTo>
                    <a:pt x="37" y="733"/>
                  </a:lnTo>
                  <a:lnTo>
                    <a:pt x="34" y="740"/>
                  </a:lnTo>
                  <a:lnTo>
                    <a:pt x="28" y="747"/>
                  </a:lnTo>
                  <a:lnTo>
                    <a:pt x="23" y="754"/>
                  </a:lnTo>
                  <a:lnTo>
                    <a:pt x="23" y="754"/>
                  </a:lnTo>
                  <a:lnTo>
                    <a:pt x="0" y="768"/>
                  </a:lnTo>
                  <a:lnTo>
                    <a:pt x="0" y="768"/>
                  </a:lnTo>
                  <a:lnTo>
                    <a:pt x="4" y="773"/>
                  </a:lnTo>
                  <a:lnTo>
                    <a:pt x="9" y="782"/>
                  </a:lnTo>
                  <a:lnTo>
                    <a:pt x="18" y="793"/>
                  </a:lnTo>
                  <a:lnTo>
                    <a:pt x="23" y="796"/>
                  </a:lnTo>
                  <a:lnTo>
                    <a:pt x="28" y="798"/>
                  </a:lnTo>
                  <a:lnTo>
                    <a:pt x="28" y="798"/>
                  </a:lnTo>
                  <a:lnTo>
                    <a:pt x="62" y="807"/>
                  </a:lnTo>
                  <a:lnTo>
                    <a:pt x="62" y="8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5" name="Freeform 31">
              <a:extLst>
                <a:ext uri="{FF2B5EF4-FFF2-40B4-BE49-F238E27FC236}">
                  <a16:creationId xmlns:a16="http://schemas.microsoft.com/office/drawing/2014/main" id="{F60584A8-0E12-4BE1-A85D-6447CB247B68}"/>
                </a:ext>
              </a:extLst>
            </p:cNvPr>
            <p:cNvSpPr>
              <a:spLocks/>
            </p:cNvSpPr>
            <p:nvPr/>
          </p:nvSpPr>
          <p:spPr bwMode="auto">
            <a:xfrm>
              <a:off x="4445244" y="4592552"/>
              <a:ext cx="783420" cy="776283"/>
            </a:xfrm>
            <a:custGeom>
              <a:avLst/>
              <a:gdLst/>
              <a:ahLst/>
              <a:cxnLst>
                <a:cxn ang="0">
                  <a:pos x="770" y="853"/>
                </a:cxn>
                <a:cxn ang="0">
                  <a:pos x="717" y="863"/>
                </a:cxn>
                <a:cxn ang="0">
                  <a:pos x="662" y="868"/>
                </a:cxn>
                <a:cxn ang="0">
                  <a:pos x="617" y="863"/>
                </a:cxn>
                <a:cxn ang="0">
                  <a:pos x="486" y="824"/>
                </a:cxn>
                <a:cxn ang="0">
                  <a:pos x="386" y="812"/>
                </a:cxn>
                <a:cxn ang="0">
                  <a:pos x="196" y="817"/>
                </a:cxn>
                <a:cxn ang="0">
                  <a:pos x="104" y="796"/>
                </a:cxn>
                <a:cxn ang="0">
                  <a:pos x="71" y="798"/>
                </a:cxn>
                <a:cxn ang="0">
                  <a:pos x="30" y="817"/>
                </a:cxn>
                <a:cxn ang="0">
                  <a:pos x="11" y="817"/>
                </a:cxn>
                <a:cxn ang="0">
                  <a:pos x="2" y="777"/>
                </a:cxn>
                <a:cxn ang="0">
                  <a:pos x="21" y="622"/>
                </a:cxn>
                <a:cxn ang="0">
                  <a:pos x="46" y="550"/>
                </a:cxn>
                <a:cxn ang="0">
                  <a:pos x="117" y="479"/>
                </a:cxn>
                <a:cxn ang="0">
                  <a:pos x="138" y="446"/>
                </a:cxn>
                <a:cxn ang="0">
                  <a:pos x="139" y="389"/>
                </a:cxn>
                <a:cxn ang="0">
                  <a:pos x="145" y="372"/>
                </a:cxn>
                <a:cxn ang="0">
                  <a:pos x="154" y="363"/>
                </a:cxn>
                <a:cxn ang="0">
                  <a:pos x="122" y="307"/>
                </a:cxn>
                <a:cxn ang="0">
                  <a:pos x="108" y="250"/>
                </a:cxn>
                <a:cxn ang="0">
                  <a:pos x="111" y="176"/>
                </a:cxn>
                <a:cxn ang="0">
                  <a:pos x="106" y="134"/>
                </a:cxn>
                <a:cxn ang="0">
                  <a:pos x="62" y="37"/>
                </a:cxn>
                <a:cxn ang="0">
                  <a:pos x="64" y="23"/>
                </a:cxn>
                <a:cxn ang="0">
                  <a:pos x="180" y="0"/>
                </a:cxn>
                <a:cxn ang="0">
                  <a:pos x="331" y="5"/>
                </a:cxn>
                <a:cxn ang="0">
                  <a:pos x="368" y="34"/>
                </a:cxn>
                <a:cxn ang="0">
                  <a:pos x="375" y="63"/>
                </a:cxn>
                <a:cxn ang="0">
                  <a:pos x="379" y="99"/>
                </a:cxn>
                <a:cxn ang="0">
                  <a:pos x="395" y="125"/>
                </a:cxn>
                <a:cxn ang="0">
                  <a:pos x="467" y="155"/>
                </a:cxn>
                <a:cxn ang="0">
                  <a:pos x="500" y="157"/>
                </a:cxn>
                <a:cxn ang="0">
                  <a:pos x="543" y="123"/>
                </a:cxn>
                <a:cxn ang="0">
                  <a:pos x="574" y="102"/>
                </a:cxn>
                <a:cxn ang="0">
                  <a:pos x="622" y="102"/>
                </a:cxn>
                <a:cxn ang="0">
                  <a:pos x="675" y="123"/>
                </a:cxn>
                <a:cxn ang="0">
                  <a:pos x="696" y="118"/>
                </a:cxn>
                <a:cxn ang="0">
                  <a:pos x="717" y="127"/>
                </a:cxn>
                <a:cxn ang="0">
                  <a:pos x="728" y="155"/>
                </a:cxn>
                <a:cxn ang="0">
                  <a:pos x="721" y="183"/>
                </a:cxn>
                <a:cxn ang="0">
                  <a:pos x="710" y="229"/>
                </a:cxn>
                <a:cxn ang="0">
                  <a:pos x="722" y="275"/>
                </a:cxn>
                <a:cxn ang="0">
                  <a:pos x="728" y="314"/>
                </a:cxn>
                <a:cxn ang="0">
                  <a:pos x="729" y="344"/>
                </a:cxn>
                <a:cxn ang="0">
                  <a:pos x="745" y="352"/>
                </a:cxn>
                <a:cxn ang="0">
                  <a:pos x="819" y="356"/>
                </a:cxn>
                <a:cxn ang="0">
                  <a:pos x="877" y="365"/>
                </a:cxn>
                <a:cxn ang="0">
                  <a:pos x="868" y="375"/>
                </a:cxn>
                <a:cxn ang="0">
                  <a:pos x="858" y="428"/>
                </a:cxn>
                <a:cxn ang="0">
                  <a:pos x="856" y="484"/>
                </a:cxn>
                <a:cxn ang="0">
                  <a:pos x="846" y="507"/>
                </a:cxn>
                <a:cxn ang="0">
                  <a:pos x="803" y="507"/>
                </a:cxn>
                <a:cxn ang="0">
                  <a:pos x="738" y="504"/>
                </a:cxn>
                <a:cxn ang="0">
                  <a:pos x="717" y="513"/>
                </a:cxn>
                <a:cxn ang="0">
                  <a:pos x="710" y="557"/>
                </a:cxn>
                <a:cxn ang="0">
                  <a:pos x="714" y="655"/>
                </a:cxn>
                <a:cxn ang="0">
                  <a:pos x="710" y="701"/>
                </a:cxn>
                <a:cxn ang="0">
                  <a:pos x="712" y="736"/>
                </a:cxn>
                <a:cxn ang="0">
                  <a:pos x="765" y="803"/>
                </a:cxn>
                <a:cxn ang="0">
                  <a:pos x="789" y="828"/>
                </a:cxn>
                <a:cxn ang="0">
                  <a:pos x="786" y="842"/>
                </a:cxn>
              </a:cxnLst>
              <a:rect l="0" t="0" r="r" b="b"/>
              <a:pathLst>
                <a:path w="879" h="870">
                  <a:moveTo>
                    <a:pt x="786" y="842"/>
                  </a:moveTo>
                  <a:lnTo>
                    <a:pt x="786" y="842"/>
                  </a:lnTo>
                  <a:lnTo>
                    <a:pt x="782" y="846"/>
                  </a:lnTo>
                  <a:lnTo>
                    <a:pt x="770" y="853"/>
                  </a:lnTo>
                  <a:lnTo>
                    <a:pt x="761" y="858"/>
                  </a:lnTo>
                  <a:lnTo>
                    <a:pt x="749" y="860"/>
                  </a:lnTo>
                  <a:lnTo>
                    <a:pt x="735" y="863"/>
                  </a:lnTo>
                  <a:lnTo>
                    <a:pt x="717" y="863"/>
                  </a:lnTo>
                  <a:lnTo>
                    <a:pt x="717" y="863"/>
                  </a:lnTo>
                  <a:lnTo>
                    <a:pt x="701" y="865"/>
                  </a:lnTo>
                  <a:lnTo>
                    <a:pt x="685" y="865"/>
                  </a:lnTo>
                  <a:lnTo>
                    <a:pt x="662" y="868"/>
                  </a:lnTo>
                  <a:lnTo>
                    <a:pt x="652" y="870"/>
                  </a:lnTo>
                  <a:lnTo>
                    <a:pt x="640" y="870"/>
                  </a:lnTo>
                  <a:lnTo>
                    <a:pt x="629" y="868"/>
                  </a:lnTo>
                  <a:lnTo>
                    <a:pt x="617" y="863"/>
                  </a:lnTo>
                  <a:lnTo>
                    <a:pt x="617" y="863"/>
                  </a:lnTo>
                  <a:lnTo>
                    <a:pt x="581" y="851"/>
                  </a:lnTo>
                  <a:lnTo>
                    <a:pt x="537" y="837"/>
                  </a:lnTo>
                  <a:lnTo>
                    <a:pt x="486" y="824"/>
                  </a:lnTo>
                  <a:lnTo>
                    <a:pt x="441" y="814"/>
                  </a:lnTo>
                  <a:lnTo>
                    <a:pt x="441" y="814"/>
                  </a:lnTo>
                  <a:lnTo>
                    <a:pt x="416" y="812"/>
                  </a:lnTo>
                  <a:lnTo>
                    <a:pt x="386" y="812"/>
                  </a:lnTo>
                  <a:lnTo>
                    <a:pt x="316" y="814"/>
                  </a:lnTo>
                  <a:lnTo>
                    <a:pt x="247" y="817"/>
                  </a:lnTo>
                  <a:lnTo>
                    <a:pt x="219" y="817"/>
                  </a:lnTo>
                  <a:lnTo>
                    <a:pt x="196" y="817"/>
                  </a:lnTo>
                  <a:lnTo>
                    <a:pt x="196" y="817"/>
                  </a:lnTo>
                  <a:lnTo>
                    <a:pt x="166" y="812"/>
                  </a:lnTo>
                  <a:lnTo>
                    <a:pt x="143" y="807"/>
                  </a:lnTo>
                  <a:lnTo>
                    <a:pt x="104" y="796"/>
                  </a:lnTo>
                  <a:lnTo>
                    <a:pt x="104" y="796"/>
                  </a:lnTo>
                  <a:lnTo>
                    <a:pt x="94" y="794"/>
                  </a:lnTo>
                  <a:lnTo>
                    <a:pt x="83" y="794"/>
                  </a:lnTo>
                  <a:lnTo>
                    <a:pt x="71" y="798"/>
                  </a:lnTo>
                  <a:lnTo>
                    <a:pt x="60" y="801"/>
                  </a:lnTo>
                  <a:lnTo>
                    <a:pt x="41" y="810"/>
                  </a:lnTo>
                  <a:lnTo>
                    <a:pt x="30" y="817"/>
                  </a:lnTo>
                  <a:lnTo>
                    <a:pt x="30" y="817"/>
                  </a:lnTo>
                  <a:lnTo>
                    <a:pt x="25" y="819"/>
                  </a:lnTo>
                  <a:lnTo>
                    <a:pt x="21" y="821"/>
                  </a:lnTo>
                  <a:lnTo>
                    <a:pt x="16" y="819"/>
                  </a:lnTo>
                  <a:lnTo>
                    <a:pt x="11" y="817"/>
                  </a:lnTo>
                  <a:lnTo>
                    <a:pt x="6" y="812"/>
                  </a:lnTo>
                  <a:lnTo>
                    <a:pt x="2" y="803"/>
                  </a:lnTo>
                  <a:lnTo>
                    <a:pt x="0" y="793"/>
                  </a:lnTo>
                  <a:lnTo>
                    <a:pt x="2" y="777"/>
                  </a:lnTo>
                  <a:lnTo>
                    <a:pt x="2" y="777"/>
                  </a:lnTo>
                  <a:lnTo>
                    <a:pt x="7" y="726"/>
                  </a:lnTo>
                  <a:lnTo>
                    <a:pt x="16" y="655"/>
                  </a:lnTo>
                  <a:lnTo>
                    <a:pt x="21" y="622"/>
                  </a:lnTo>
                  <a:lnTo>
                    <a:pt x="28" y="590"/>
                  </a:lnTo>
                  <a:lnTo>
                    <a:pt x="37" y="565"/>
                  </a:lnTo>
                  <a:lnTo>
                    <a:pt x="41" y="555"/>
                  </a:lnTo>
                  <a:lnTo>
                    <a:pt x="46" y="550"/>
                  </a:lnTo>
                  <a:lnTo>
                    <a:pt x="46" y="550"/>
                  </a:lnTo>
                  <a:lnTo>
                    <a:pt x="69" y="527"/>
                  </a:lnTo>
                  <a:lnTo>
                    <a:pt x="94" y="504"/>
                  </a:lnTo>
                  <a:lnTo>
                    <a:pt x="117" y="479"/>
                  </a:lnTo>
                  <a:lnTo>
                    <a:pt x="125" y="469"/>
                  </a:lnTo>
                  <a:lnTo>
                    <a:pt x="132" y="458"/>
                  </a:lnTo>
                  <a:lnTo>
                    <a:pt x="132" y="458"/>
                  </a:lnTo>
                  <a:lnTo>
                    <a:pt x="138" y="446"/>
                  </a:lnTo>
                  <a:lnTo>
                    <a:pt x="141" y="435"/>
                  </a:lnTo>
                  <a:lnTo>
                    <a:pt x="141" y="423"/>
                  </a:lnTo>
                  <a:lnTo>
                    <a:pt x="141" y="410"/>
                  </a:lnTo>
                  <a:lnTo>
                    <a:pt x="139" y="389"/>
                  </a:lnTo>
                  <a:lnTo>
                    <a:pt x="141" y="381"/>
                  </a:lnTo>
                  <a:lnTo>
                    <a:pt x="143" y="375"/>
                  </a:lnTo>
                  <a:lnTo>
                    <a:pt x="143" y="375"/>
                  </a:lnTo>
                  <a:lnTo>
                    <a:pt x="145" y="372"/>
                  </a:lnTo>
                  <a:lnTo>
                    <a:pt x="148" y="370"/>
                  </a:lnTo>
                  <a:lnTo>
                    <a:pt x="154" y="366"/>
                  </a:lnTo>
                  <a:lnTo>
                    <a:pt x="154" y="365"/>
                  </a:lnTo>
                  <a:lnTo>
                    <a:pt x="154" y="363"/>
                  </a:lnTo>
                  <a:lnTo>
                    <a:pt x="146" y="352"/>
                  </a:lnTo>
                  <a:lnTo>
                    <a:pt x="146" y="352"/>
                  </a:lnTo>
                  <a:lnTo>
                    <a:pt x="134" y="333"/>
                  </a:lnTo>
                  <a:lnTo>
                    <a:pt x="122" y="307"/>
                  </a:lnTo>
                  <a:lnTo>
                    <a:pt x="117" y="294"/>
                  </a:lnTo>
                  <a:lnTo>
                    <a:pt x="111" y="280"/>
                  </a:lnTo>
                  <a:lnTo>
                    <a:pt x="108" y="264"/>
                  </a:lnTo>
                  <a:lnTo>
                    <a:pt x="108" y="250"/>
                  </a:lnTo>
                  <a:lnTo>
                    <a:pt x="108" y="250"/>
                  </a:lnTo>
                  <a:lnTo>
                    <a:pt x="108" y="224"/>
                  </a:lnTo>
                  <a:lnTo>
                    <a:pt x="111" y="201"/>
                  </a:lnTo>
                  <a:lnTo>
                    <a:pt x="111" y="176"/>
                  </a:lnTo>
                  <a:lnTo>
                    <a:pt x="111" y="164"/>
                  </a:lnTo>
                  <a:lnTo>
                    <a:pt x="109" y="150"/>
                  </a:lnTo>
                  <a:lnTo>
                    <a:pt x="109" y="150"/>
                  </a:lnTo>
                  <a:lnTo>
                    <a:pt x="106" y="134"/>
                  </a:lnTo>
                  <a:lnTo>
                    <a:pt x="99" y="116"/>
                  </a:lnTo>
                  <a:lnTo>
                    <a:pt x="83" y="79"/>
                  </a:lnTo>
                  <a:lnTo>
                    <a:pt x="67" y="48"/>
                  </a:lnTo>
                  <a:lnTo>
                    <a:pt x="62" y="37"/>
                  </a:lnTo>
                  <a:lnTo>
                    <a:pt x="60" y="30"/>
                  </a:lnTo>
                  <a:lnTo>
                    <a:pt x="60" y="30"/>
                  </a:lnTo>
                  <a:lnTo>
                    <a:pt x="62" y="26"/>
                  </a:lnTo>
                  <a:lnTo>
                    <a:pt x="64" y="23"/>
                  </a:lnTo>
                  <a:lnTo>
                    <a:pt x="73" y="18"/>
                  </a:lnTo>
                  <a:lnTo>
                    <a:pt x="85" y="11"/>
                  </a:lnTo>
                  <a:lnTo>
                    <a:pt x="180" y="0"/>
                  </a:lnTo>
                  <a:lnTo>
                    <a:pt x="180" y="0"/>
                  </a:lnTo>
                  <a:lnTo>
                    <a:pt x="300" y="2"/>
                  </a:lnTo>
                  <a:lnTo>
                    <a:pt x="300" y="2"/>
                  </a:lnTo>
                  <a:lnTo>
                    <a:pt x="321" y="4"/>
                  </a:lnTo>
                  <a:lnTo>
                    <a:pt x="331" y="5"/>
                  </a:lnTo>
                  <a:lnTo>
                    <a:pt x="342" y="11"/>
                  </a:lnTo>
                  <a:lnTo>
                    <a:pt x="342" y="11"/>
                  </a:lnTo>
                  <a:lnTo>
                    <a:pt x="361" y="25"/>
                  </a:lnTo>
                  <a:lnTo>
                    <a:pt x="368" y="34"/>
                  </a:lnTo>
                  <a:lnTo>
                    <a:pt x="372" y="39"/>
                  </a:lnTo>
                  <a:lnTo>
                    <a:pt x="372" y="39"/>
                  </a:lnTo>
                  <a:lnTo>
                    <a:pt x="375" y="48"/>
                  </a:lnTo>
                  <a:lnTo>
                    <a:pt x="375" y="63"/>
                  </a:lnTo>
                  <a:lnTo>
                    <a:pt x="375" y="63"/>
                  </a:lnTo>
                  <a:lnTo>
                    <a:pt x="375" y="74"/>
                  </a:lnTo>
                  <a:lnTo>
                    <a:pt x="377" y="90"/>
                  </a:lnTo>
                  <a:lnTo>
                    <a:pt x="379" y="99"/>
                  </a:lnTo>
                  <a:lnTo>
                    <a:pt x="382" y="108"/>
                  </a:lnTo>
                  <a:lnTo>
                    <a:pt x="388" y="116"/>
                  </a:lnTo>
                  <a:lnTo>
                    <a:pt x="395" y="125"/>
                  </a:lnTo>
                  <a:lnTo>
                    <a:pt x="395" y="125"/>
                  </a:lnTo>
                  <a:lnTo>
                    <a:pt x="416" y="137"/>
                  </a:lnTo>
                  <a:lnTo>
                    <a:pt x="441" y="146"/>
                  </a:lnTo>
                  <a:lnTo>
                    <a:pt x="453" y="152"/>
                  </a:lnTo>
                  <a:lnTo>
                    <a:pt x="467" y="155"/>
                  </a:lnTo>
                  <a:lnTo>
                    <a:pt x="467" y="155"/>
                  </a:lnTo>
                  <a:lnTo>
                    <a:pt x="472" y="155"/>
                  </a:lnTo>
                  <a:lnTo>
                    <a:pt x="486" y="157"/>
                  </a:lnTo>
                  <a:lnTo>
                    <a:pt x="500" y="157"/>
                  </a:lnTo>
                  <a:lnTo>
                    <a:pt x="507" y="155"/>
                  </a:lnTo>
                  <a:lnTo>
                    <a:pt x="513" y="152"/>
                  </a:lnTo>
                  <a:lnTo>
                    <a:pt x="513" y="152"/>
                  </a:lnTo>
                  <a:lnTo>
                    <a:pt x="543" y="123"/>
                  </a:lnTo>
                  <a:lnTo>
                    <a:pt x="560" y="109"/>
                  </a:lnTo>
                  <a:lnTo>
                    <a:pt x="567" y="106"/>
                  </a:lnTo>
                  <a:lnTo>
                    <a:pt x="574" y="102"/>
                  </a:lnTo>
                  <a:lnTo>
                    <a:pt x="574" y="102"/>
                  </a:lnTo>
                  <a:lnTo>
                    <a:pt x="596" y="97"/>
                  </a:lnTo>
                  <a:lnTo>
                    <a:pt x="608" y="97"/>
                  </a:lnTo>
                  <a:lnTo>
                    <a:pt x="615" y="99"/>
                  </a:lnTo>
                  <a:lnTo>
                    <a:pt x="622" y="102"/>
                  </a:lnTo>
                  <a:lnTo>
                    <a:pt x="622" y="102"/>
                  </a:lnTo>
                  <a:lnTo>
                    <a:pt x="654" y="116"/>
                  </a:lnTo>
                  <a:lnTo>
                    <a:pt x="666" y="122"/>
                  </a:lnTo>
                  <a:lnTo>
                    <a:pt x="675" y="123"/>
                  </a:lnTo>
                  <a:lnTo>
                    <a:pt x="675" y="123"/>
                  </a:lnTo>
                  <a:lnTo>
                    <a:pt x="682" y="122"/>
                  </a:lnTo>
                  <a:lnTo>
                    <a:pt x="691" y="120"/>
                  </a:lnTo>
                  <a:lnTo>
                    <a:pt x="696" y="118"/>
                  </a:lnTo>
                  <a:lnTo>
                    <a:pt x="703" y="120"/>
                  </a:lnTo>
                  <a:lnTo>
                    <a:pt x="710" y="122"/>
                  </a:lnTo>
                  <a:lnTo>
                    <a:pt x="717" y="127"/>
                  </a:lnTo>
                  <a:lnTo>
                    <a:pt x="717" y="127"/>
                  </a:lnTo>
                  <a:lnTo>
                    <a:pt x="722" y="132"/>
                  </a:lnTo>
                  <a:lnTo>
                    <a:pt x="726" y="139"/>
                  </a:lnTo>
                  <a:lnTo>
                    <a:pt x="728" y="148"/>
                  </a:lnTo>
                  <a:lnTo>
                    <a:pt x="728" y="155"/>
                  </a:lnTo>
                  <a:lnTo>
                    <a:pt x="724" y="167"/>
                  </a:lnTo>
                  <a:lnTo>
                    <a:pt x="722" y="176"/>
                  </a:lnTo>
                  <a:lnTo>
                    <a:pt x="722" y="176"/>
                  </a:lnTo>
                  <a:lnTo>
                    <a:pt x="721" y="183"/>
                  </a:lnTo>
                  <a:lnTo>
                    <a:pt x="715" y="199"/>
                  </a:lnTo>
                  <a:lnTo>
                    <a:pt x="710" y="215"/>
                  </a:lnTo>
                  <a:lnTo>
                    <a:pt x="710" y="224"/>
                  </a:lnTo>
                  <a:lnTo>
                    <a:pt x="710" y="229"/>
                  </a:lnTo>
                  <a:lnTo>
                    <a:pt x="710" y="229"/>
                  </a:lnTo>
                  <a:lnTo>
                    <a:pt x="712" y="241"/>
                  </a:lnTo>
                  <a:lnTo>
                    <a:pt x="715" y="252"/>
                  </a:lnTo>
                  <a:lnTo>
                    <a:pt x="722" y="275"/>
                  </a:lnTo>
                  <a:lnTo>
                    <a:pt x="722" y="275"/>
                  </a:lnTo>
                  <a:lnTo>
                    <a:pt x="728" y="294"/>
                  </a:lnTo>
                  <a:lnTo>
                    <a:pt x="728" y="303"/>
                  </a:lnTo>
                  <a:lnTo>
                    <a:pt x="728" y="314"/>
                  </a:lnTo>
                  <a:lnTo>
                    <a:pt x="728" y="314"/>
                  </a:lnTo>
                  <a:lnTo>
                    <a:pt x="726" y="326"/>
                  </a:lnTo>
                  <a:lnTo>
                    <a:pt x="726" y="336"/>
                  </a:lnTo>
                  <a:lnTo>
                    <a:pt x="729" y="344"/>
                  </a:lnTo>
                  <a:lnTo>
                    <a:pt x="733" y="347"/>
                  </a:lnTo>
                  <a:lnTo>
                    <a:pt x="736" y="349"/>
                  </a:lnTo>
                  <a:lnTo>
                    <a:pt x="736" y="349"/>
                  </a:lnTo>
                  <a:lnTo>
                    <a:pt x="745" y="352"/>
                  </a:lnTo>
                  <a:lnTo>
                    <a:pt x="756" y="352"/>
                  </a:lnTo>
                  <a:lnTo>
                    <a:pt x="784" y="354"/>
                  </a:lnTo>
                  <a:lnTo>
                    <a:pt x="784" y="354"/>
                  </a:lnTo>
                  <a:lnTo>
                    <a:pt x="819" y="356"/>
                  </a:lnTo>
                  <a:lnTo>
                    <a:pt x="839" y="358"/>
                  </a:lnTo>
                  <a:lnTo>
                    <a:pt x="861" y="361"/>
                  </a:lnTo>
                  <a:lnTo>
                    <a:pt x="861" y="361"/>
                  </a:lnTo>
                  <a:lnTo>
                    <a:pt x="877" y="365"/>
                  </a:lnTo>
                  <a:lnTo>
                    <a:pt x="879" y="365"/>
                  </a:lnTo>
                  <a:lnTo>
                    <a:pt x="876" y="368"/>
                  </a:lnTo>
                  <a:lnTo>
                    <a:pt x="872" y="370"/>
                  </a:lnTo>
                  <a:lnTo>
                    <a:pt x="868" y="375"/>
                  </a:lnTo>
                  <a:lnTo>
                    <a:pt x="868" y="375"/>
                  </a:lnTo>
                  <a:lnTo>
                    <a:pt x="865" y="389"/>
                  </a:lnTo>
                  <a:lnTo>
                    <a:pt x="860" y="409"/>
                  </a:lnTo>
                  <a:lnTo>
                    <a:pt x="858" y="428"/>
                  </a:lnTo>
                  <a:lnTo>
                    <a:pt x="856" y="447"/>
                  </a:lnTo>
                  <a:lnTo>
                    <a:pt x="856" y="447"/>
                  </a:lnTo>
                  <a:lnTo>
                    <a:pt x="856" y="465"/>
                  </a:lnTo>
                  <a:lnTo>
                    <a:pt x="856" y="484"/>
                  </a:lnTo>
                  <a:lnTo>
                    <a:pt x="856" y="493"/>
                  </a:lnTo>
                  <a:lnTo>
                    <a:pt x="854" y="500"/>
                  </a:lnTo>
                  <a:lnTo>
                    <a:pt x="851" y="506"/>
                  </a:lnTo>
                  <a:lnTo>
                    <a:pt x="846" y="507"/>
                  </a:lnTo>
                  <a:lnTo>
                    <a:pt x="846" y="507"/>
                  </a:lnTo>
                  <a:lnTo>
                    <a:pt x="833" y="509"/>
                  </a:lnTo>
                  <a:lnTo>
                    <a:pt x="821" y="509"/>
                  </a:lnTo>
                  <a:lnTo>
                    <a:pt x="803" y="507"/>
                  </a:lnTo>
                  <a:lnTo>
                    <a:pt x="780" y="507"/>
                  </a:lnTo>
                  <a:lnTo>
                    <a:pt x="780" y="507"/>
                  </a:lnTo>
                  <a:lnTo>
                    <a:pt x="758" y="507"/>
                  </a:lnTo>
                  <a:lnTo>
                    <a:pt x="738" y="504"/>
                  </a:lnTo>
                  <a:lnTo>
                    <a:pt x="731" y="504"/>
                  </a:lnTo>
                  <a:lnTo>
                    <a:pt x="726" y="506"/>
                  </a:lnTo>
                  <a:lnTo>
                    <a:pt x="721" y="507"/>
                  </a:lnTo>
                  <a:lnTo>
                    <a:pt x="717" y="513"/>
                  </a:lnTo>
                  <a:lnTo>
                    <a:pt x="717" y="513"/>
                  </a:lnTo>
                  <a:lnTo>
                    <a:pt x="714" y="520"/>
                  </a:lnTo>
                  <a:lnTo>
                    <a:pt x="712" y="530"/>
                  </a:lnTo>
                  <a:lnTo>
                    <a:pt x="710" y="557"/>
                  </a:lnTo>
                  <a:lnTo>
                    <a:pt x="710" y="606"/>
                  </a:lnTo>
                  <a:lnTo>
                    <a:pt x="710" y="606"/>
                  </a:lnTo>
                  <a:lnTo>
                    <a:pt x="710" y="627"/>
                  </a:lnTo>
                  <a:lnTo>
                    <a:pt x="714" y="655"/>
                  </a:lnTo>
                  <a:lnTo>
                    <a:pt x="714" y="683"/>
                  </a:lnTo>
                  <a:lnTo>
                    <a:pt x="714" y="694"/>
                  </a:lnTo>
                  <a:lnTo>
                    <a:pt x="710" y="701"/>
                  </a:lnTo>
                  <a:lnTo>
                    <a:pt x="710" y="701"/>
                  </a:lnTo>
                  <a:lnTo>
                    <a:pt x="708" y="706"/>
                  </a:lnTo>
                  <a:lnTo>
                    <a:pt x="706" y="712"/>
                  </a:lnTo>
                  <a:lnTo>
                    <a:pt x="708" y="724"/>
                  </a:lnTo>
                  <a:lnTo>
                    <a:pt x="712" y="736"/>
                  </a:lnTo>
                  <a:lnTo>
                    <a:pt x="717" y="743"/>
                  </a:lnTo>
                  <a:lnTo>
                    <a:pt x="717" y="743"/>
                  </a:lnTo>
                  <a:lnTo>
                    <a:pt x="740" y="772"/>
                  </a:lnTo>
                  <a:lnTo>
                    <a:pt x="765" y="803"/>
                  </a:lnTo>
                  <a:lnTo>
                    <a:pt x="765" y="803"/>
                  </a:lnTo>
                  <a:lnTo>
                    <a:pt x="775" y="812"/>
                  </a:lnTo>
                  <a:lnTo>
                    <a:pt x="786" y="823"/>
                  </a:lnTo>
                  <a:lnTo>
                    <a:pt x="789" y="828"/>
                  </a:lnTo>
                  <a:lnTo>
                    <a:pt x="791" y="833"/>
                  </a:lnTo>
                  <a:lnTo>
                    <a:pt x="789" y="838"/>
                  </a:lnTo>
                  <a:lnTo>
                    <a:pt x="786" y="842"/>
                  </a:lnTo>
                  <a:lnTo>
                    <a:pt x="786" y="84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6" name="Freeform 32">
              <a:extLst>
                <a:ext uri="{FF2B5EF4-FFF2-40B4-BE49-F238E27FC236}">
                  <a16:creationId xmlns:a16="http://schemas.microsoft.com/office/drawing/2014/main" id="{AB72520E-63C2-4482-ACD3-671E6349F40C}"/>
                </a:ext>
              </a:extLst>
            </p:cNvPr>
            <p:cNvSpPr>
              <a:spLocks/>
            </p:cNvSpPr>
            <p:nvPr/>
          </p:nvSpPr>
          <p:spPr bwMode="auto">
            <a:xfrm>
              <a:off x="4445244" y="5301021"/>
              <a:ext cx="820896" cy="779852"/>
            </a:xfrm>
            <a:custGeom>
              <a:avLst/>
              <a:gdLst/>
              <a:ahLst/>
              <a:cxnLst>
                <a:cxn ang="0">
                  <a:pos x="280" y="839"/>
                </a:cxn>
                <a:cxn ang="0">
                  <a:pos x="296" y="818"/>
                </a:cxn>
                <a:cxn ang="0">
                  <a:pos x="328" y="825"/>
                </a:cxn>
                <a:cxn ang="0">
                  <a:pos x="353" y="846"/>
                </a:cxn>
                <a:cxn ang="0">
                  <a:pos x="363" y="862"/>
                </a:cxn>
                <a:cxn ang="0">
                  <a:pos x="416" y="876"/>
                </a:cxn>
                <a:cxn ang="0">
                  <a:pos x="481" y="876"/>
                </a:cxn>
                <a:cxn ang="0">
                  <a:pos x="509" y="862"/>
                </a:cxn>
                <a:cxn ang="0">
                  <a:pos x="523" y="779"/>
                </a:cxn>
                <a:cxn ang="0">
                  <a:pos x="525" y="592"/>
                </a:cxn>
                <a:cxn ang="0">
                  <a:pos x="530" y="370"/>
                </a:cxn>
                <a:cxn ang="0">
                  <a:pos x="537" y="346"/>
                </a:cxn>
                <a:cxn ang="0">
                  <a:pos x="569" y="347"/>
                </a:cxn>
                <a:cxn ang="0">
                  <a:pos x="604" y="344"/>
                </a:cxn>
                <a:cxn ang="0">
                  <a:pos x="613" y="270"/>
                </a:cxn>
                <a:cxn ang="0">
                  <a:pos x="613" y="134"/>
                </a:cxn>
                <a:cxn ang="0">
                  <a:pos x="624" y="110"/>
                </a:cxn>
                <a:cxn ang="0">
                  <a:pos x="692" y="87"/>
                </a:cxn>
                <a:cxn ang="0">
                  <a:pos x="754" y="78"/>
                </a:cxn>
                <a:cxn ang="0">
                  <a:pos x="784" y="83"/>
                </a:cxn>
                <a:cxn ang="0">
                  <a:pos x="810" y="103"/>
                </a:cxn>
                <a:cxn ang="0">
                  <a:pos x="830" y="97"/>
                </a:cxn>
                <a:cxn ang="0">
                  <a:pos x="849" y="78"/>
                </a:cxn>
                <a:cxn ang="0">
                  <a:pos x="886" y="67"/>
                </a:cxn>
                <a:cxn ang="0">
                  <a:pos x="914" y="60"/>
                </a:cxn>
                <a:cxn ang="0">
                  <a:pos x="918" y="46"/>
                </a:cxn>
                <a:cxn ang="0">
                  <a:pos x="865" y="37"/>
                </a:cxn>
                <a:cxn ang="0">
                  <a:pos x="844" y="36"/>
                </a:cxn>
                <a:cxn ang="0">
                  <a:pos x="821" y="41"/>
                </a:cxn>
                <a:cxn ang="0">
                  <a:pos x="793" y="44"/>
                </a:cxn>
                <a:cxn ang="0">
                  <a:pos x="768" y="60"/>
                </a:cxn>
                <a:cxn ang="0">
                  <a:pos x="724" y="69"/>
                </a:cxn>
                <a:cxn ang="0">
                  <a:pos x="668" y="74"/>
                </a:cxn>
                <a:cxn ang="0">
                  <a:pos x="613" y="69"/>
                </a:cxn>
                <a:cxn ang="0">
                  <a:pos x="523" y="39"/>
                </a:cxn>
                <a:cxn ang="0">
                  <a:pos x="370" y="16"/>
                </a:cxn>
                <a:cxn ang="0">
                  <a:pos x="284" y="23"/>
                </a:cxn>
                <a:cxn ang="0">
                  <a:pos x="169" y="18"/>
                </a:cxn>
                <a:cxn ang="0">
                  <a:pos x="109" y="2"/>
                </a:cxn>
                <a:cxn ang="0">
                  <a:pos x="67" y="4"/>
                </a:cxn>
                <a:cxn ang="0">
                  <a:pos x="27" y="23"/>
                </a:cxn>
                <a:cxn ang="0">
                  <a:pos x="20" y="36"/>
                </a:cxn>
                <a:cxn ang="0">
                  <a:pos x="2" y="66"/>
                </a:cxn>
                <a:cxn ang="0">
                  <a:pos x="4" y="90"/>
                </a:cxn>
                <a:cxn ang="0">
                  <a:pos x="20" y="127"/>
                </a:cxn>
                <a:cxn ang="0">
                  <a:pos x="65" y="173"/>
                </a:cxn>
                <a:cxn ang="0">
                  <a:pos x="76" y="198"/>
                </a:cxn>
                <a:cxn ang="0">
                  <a:pos x="90" y="245"/>
                </a:cxn>
                <a:cxn ang="0">
                  <a:pos x="120" y="300"/>
                </a:cxn>
                <a:cxn ang="0">
                  <a:pos x="152" y="354"/>
                </a:cxn>
                <a:cxn ang="0">
                  <a:pos x="166" y="416"/>
                </a:cxn>
                <a:cxn ang="0">
                  <a:pos x="164" y="474"/>
                </a:cxn>
                <a:cxn ang="0">
                  <a:pos x="196" y="603"/>
                </a:cxn>
                <a:cxn ang="0">
                  <a:pos x="213" y="672"/>
                </a:cxn>
                <a:cxn ang="0">
                  <a:pos x="215" y="751"/>
                </a:cxn>
                <a:cxn ang="0">
                  <a:pos x="227" y="805"/>
                </a:cxn>
                <a:cxn ang="0">
                  <a:pos x="264" y="851"/>
                </a:cxn>
                <a:cxn ang="0">
                  <a:pos x="280" y="862"/>
                </a:cxn>
              </a:cxnLst>
              <a:rect l="0" t="0" r="r" b="b"/>
              <a:pathLst>
                <a:path w="921" h="876">
                  <a:moveTo>
                    <a:pt x="280" y="862"/>
                  </a:moveTo>
                  <a:lnTo>
                    <a:pt x="280" y="862"/>
                  </a:lnTo>
                  <a:lnTo>
                    <a:pt x="280" y="855"/>
                  </a:lnTo>
                  <a:lnTo>
                    <a:pt x="280" y="839"/>
                  </a:lnTo>
                  <a:lnTo>
                    <a:pt x="284" y="830"/>
                  </a:lnTo>
                  <a:lnTo>
                    <a:pt x="287" y="823"/>
                  </a:lnTo>
                  <a:lnTo>
                    <a:pt x="293" y="819"/>
                  </a:lnTo>
                  <a:lnTo>
                    <a:pt x="296" y="818"/>
                  </a:lnTo>
                  <a:lnTo>
                    <a:pt x="301" y="819"/>
                  </a:lnTo>
                  <a:lnTo>
                    <a:pt x="301" y="819"/>
                  </a:lnTo>
                  <a:lnTo>
                    <a:pt x="317" y="821"/>
                  </a:lnTo>
                  <a:lnTo>
                    <a:pt x="328" y="825"/>
                  </a:lnTo>
                  <a:lnTo>
                    <a:pt x="337" y="830"/>
                  </a:lnTo>
                  <a:lnTo>
                    <a:pt x="347" y="841"/>
                  </a:lnTo>
                  <a:lnTo>
                    <a:pt x="347" y="841"/>
                  </a:lnTo>
                  <a:lnTo>
                    <a:pt x="353" y="846"/>
                  </a:lnTo>
                  <a:lnTo>
                    <a:pt x="354" y="851"/>
                  </a:lnTo>
                  <a:lnTo>
                    <a:pt x="358" y="858"/>
                  </a:lnTo>
                  <a:lnTo>
                    <a:pt x="360" y="860"/>
                  </a:lnTo>
                  <a:lnTo>
                    <a:pt x="363" y="862"/>
                  </a:lnTo>
                  <a:lnTo>
                    <a:pt x="381" y="869"/>
                  </a:lnTo>
                  <a:lnTo>
                    <a:pt x="381" y="869"/>
                  </a:lnTo>
                  <a:lnTo>
                    <a:pt x="407" y="876"/>
                  </a:lnTo>
                  <a:lnTo>
                    <a:pt x="416" y="876"/>
                  </a:lnTo>
                  <a:lnTo>
                    <a:pt x="434" y="876"/>
                  </a:lnTo>
                  <a:lnTo>
                    <a:pt x="434" y="876"/>
                  </a:lnTo>
                  <a:lnTo>
                    <a:pt x="460" y="876"/>
                  </a:lnTo>
                  <a:lnTo>
                    <a:pt x="481" y="876"/>
                  </a:lnTo>
                  <a:lnTo>
                    <a:pt x="492" y="874"/>
                  </a:lnTo>
                  <a:lnTo>
                    <a:pt x="499" y="872"/>
                  </a:lnTo>
                  <a:lnTo>
                    <a:pt x="506" y="867"/>
                  </a:lnTo>
                  <a:lnTo>
                    <a:pt x="509" y="862"/>
                  </a:lnTo>
                  <a:lnTo>
                    <a:pt x="509" y="862"/>
                  </a:lnTo>
                  <a:lnTo>
                    <a:pt x="516" y="841"/>
                  </a:lnTo>
                  <a:lnTo>
                    <a:pt x="520" y="812"/>
                  </a:lnTo>
                  <a:lnTo>
                    <a:pt x="523" y="779"/>
                  </a:lnTo>
                  <a:lnTo>
                    <a:pt x="523" y="751"/>
                  </a:lnTo>
                  <a:lnTo>
                    <a:pt x="523" y="751"/>
                  </a:lnTo>
                  <a:lnTo>
                    <a:pt x="523" y="668"/>
                  </a:lnTo>
                  <a:lnTo>
                    <a:pt x="525" y="592"/>
                  </a:lnTo>
                  <a:lnTo>
                    <a:pt x="525" y="592"/>
                  </a:lnTo>
                  <a:lnTo>
                    <a:pt x="527" y="476"/>
                  </a:lnTo>
                  <a:lnTo>
                    <a:pt x="530" y="370"/>
                  </a:lnTo>
                  <a:lnTo>
                    <a:pt x="530" y="370"/>
                  </a:lnTo>
                  <a:lnTo>
                    <a:pt x="532" y="362"/>
                  </a:lnTo>
                  <a:lnTo>
                    <a:pt x="532" y="353"/>
                  </a:lnTo>
                  <a:lnTo>
                    <a:pt x="534" y="347"/>
                  </a:lnTo>
                  <a:lnTo>
                    <a:pt x="537" y="346"/>
                  </a:lnTo>
                  <a:lnTo>
                    <a:pt x="543" y="344"/>
                  </a:lnTo>
                  <a:lnTo>
                    <a:pt x="552" y="344"/>
                  </a:lnTo>
                  <a:lnTo>
                    <a:pt x="552" y="344"/>
                  </a:lnTo>
                  <a:lnTo>
                    <a:pt x="569" y="347"/>
                  </a:lnTo>
                  <a:lnTo>
                    <a:pt x="585" y="351"/>
                  </a:lnTo>
                  <a:lnTo>
                    <a:pt x="594" y="351"/>
                  </a:lnTo>
                  <a:lnTo>
                    <a:pt x="599" y="349"/>
                  </a:lnTo>
                  <a:lnTo>
                    <a:pt x="604" y="344"/>
                  </a:lnTo>
                  <a:lnTo>
                    <a:pt x="608" y="337"/>
                  </a:lnTo>
                  <a:lnTo>
                    <a:pt x="608" y="337"/>
                  </a:lnTo>
                  <a:lnTo>
                    <a:pt x="611" y="309"/>
                  </a:lnTo>
                  <a:lnTo>
                    <a:pt x="613" y="270"/>
                  </a:lnTo>
                  <a:lnTo>
                    <a:pt x="615" y="214"/>
                  </a:lnTo>
                  <a:lnTo>
                    <a:pt x="615" y="214"/>
                  </a:lnTo>
                  <a:lnTo>
                    <a:pt x="611" y="162"/>
                  </a:lnTo>
                  <a:lnTo>
                    <a:pt x="613" y="134"/>
                  </a:lnTo>
                  <a:lnTo>
                    <a:pt x="615" y="122"/>
                  </a:lnTo>
                  <a:lnTo>
                    <a:pt x="618" y="115"/>
                  </a:lnTo>
                  <a:lnTo>
                    <a:pt x="618" y="115"/>
                  </a:lnTo>
                  <a:lnTo>
                    <a:pt x="624" y="110"/>
                  </a:lnTo>
                  <a:lnTo>
                    <a:pt x="633" y="104"/>
                  </a:lnTo>
                  <a:lnTo>
                    <a:pt x="652" y="96"/>
                  </a:lnTo>
                  <a:lnTo>
                    <a:pt x="675" y="90"/>
                  </a:lnTo>
                  <a:lnTo>
                    <a:pt x="692" y="87"/>
                  </a:lnTo>
                  <a:lnTo>
                    <a:pt x="692" y="87"/>
                  </a:lnTo>
                  <a:lnTo>
                    <a:pt x="714" y="85"/>
                  </a:lnTo>
                  <a:lnTo>
                    <a:pt x="740" y="80"/>
                  </a:lnTo>
                  <a:lnTo>
                    <a:pt x="754" y="78"/>
                  </a:lnTo>
                  <a:lnTo>
                    <a:pt x="766" y="78"/>
                  </a:lnTo>
                  <a:lnTo>
                    <a:pt x="777" y="80"/>
                  </a:lnTo>
                  <a:lnTo>
                    <a:pt x="780" y="81"/>
                  </a:lnTo>
                  <a:lnTo>
                    <a:pt x="784" y="83"/>
                  </a:lnTo>
                  <a:lnTo>
                    <a:pt x="784" y="83"/>
                  </a:lnTo>
                  <a:lnTo>
                    <a:pt x="795" y="94"/>
                  </a:lnTo>
                  <a:lnTo>
                    <a:pt x="805" y="101"/>
                  </a:lnTo>
                  <a:lnTo>
                    <a:pt x="810" y="103"/>
                  </a:lnTo>
                  <a:lnTo>
                    <a:pt x="816" y="103"/>
                  </a:lnTo>
                  <a:lnTo>
                    <a:pt x="823" y="101"/>
                  </a:lnTo>
                  <a:lnTo>
                    <a:pt x="830" y="97"/>
                  </a:lnTo>
                  <a:lnTo>
                    <a:pt x="830" y="97"/>
                  </a:lnTo>
                  <a:lnTo>
                    <a:pt x="835" y="94"/>
                  </a:lnTo>
                  <a:lnTo>
                    <a:pt x="839" y="90"/>
                  </a:lnTo>
                  <a:lnTo>
                    <a:pt x="844" y="83"/>
                  </a:lnTo>
                  <a:lnTo>
                    <a:pt x="849" y="78"/>
                  </a:lnTo>
                  <a:lnTo>
                    <a:pt x="858" y="73"/>
                  </a:lnTo>
                  <a:lnTo>
                    <a:pt x="858" y="73"/>
                  </a:lnTo>
                  <a:lnTo>
                    <a:pt x="874" y="69"/>
                  </a:lnTo>
                  <a:lnTo>
                    <a:pt x="886" y="67"/>
                  </a:lnTo>
                  <a:lnTo>
                    <a:pt x="898" y="66"/>
                  </a:lnTo>
                  <a:lnTo>
                    <a:pt x="907" y="64"/>
                  </a:lnTo>
                  <a:lnTo>
                    <a:pt x="907" y="64"/>
                  </a:lnTo>
                  <a:lnTo>
                    <a:pt x="914" y="60"/>
                  </a:lnTo>
                  <a:lnTo>
                    <a:pt x="920" y="55"/>
                  </a:lnTo>
                  <a:lnTo>
                    <a:pt x="921" y="50"/>
                  </a:lnTo>
                  <a:lnTo>
                    <a:pt x="920" y="48"/>
                  </a:lnTo>
                  <a:lnTo>
                    <a:pt x="918" y="46"/>
                  </a:lnTo>
                  <a:lnTo>
                    <a:pt x="918" y="46"/>
                  </a:lnTo>
                  <a:lnTo>
                    <a:pt x="909" y="43"/>
                  </a:lnTo>
                  <a:lnTo>
                    <a:pt x="895" y="41"/>
                  </a:lnTo>
                  <a:lnTo>
                    <a:pt x="865" y="37"/>
                  </a:lnTo>
                  <a:lnTo>
                    <a:pt x="865" y="37"/>
                  </a:lnTo>
                  <a:lnTo>
                    <a:pt x="851" y="37"/>
                  </a:lnTo>
                  <a:lnTo>
                    <a:pt x="851" y="37"/>
                  </a:lnTo>
                  <a:lnTo>
                    <a:pt x="844" y="36"/>
                  </a:lnTo>
                  <a:lnTo>
                    <a:pt x="837" y="36"/>
                  </a:lnTo>
                  <a:lnTo>
                    <a:pt x="830" y="37"/>
                  </a:lnTo>
                  <a:lnTo>
                    <a:pt x="830" y="37"/>
                  </a:lnTo>
                  <a:lnTo>
                    <a:pt x="821" y="41"/>
                  </a:lnTo>
                  <a:lnTo>
                    <a:pt x="809" y="43"/>
                  </a:lnTo>
                  <a:lnTo>
                    <a:pt x="795" y="44"/>
                  </a:lnTo>
                  <a:lnTo>
                    <a:pt x="795" y="44"/>
                  </a:lnTo>
                  <a:lnTo>
                    <a:pt x="793" y="44"/>
                  </a:lnTo>
                  <a:lnTo>
                    <a:pt x="789" y="46"/>
                  </a:lnTo>
                  <a:lnTo>
                    <a:pt x="789" y="46"/>
                  </a:lnTo>
                  <a:lnTo>
                    <a:pt x="779" y="53"/>
                  </a:lnTo>
                  <a:lnTo>
                    <a:pt x="768" y="60"/>
                  </a:lnTo>
                  <a:lnTo>
                    <a:pt x="768" y="60"/>
                  </a:lnTo>
                  <a:lnTo>
                    <a:pt x="751" y="66"/>
                  </a:lnTo>
                  <a:lnTo>
                    <a:pt x="736" y="67"/>
                  </a:lnTo>
                  <a:lnTo>
                    <a:pt x="724" y="69"/>
                  </a:lnTo>
                  <a:lnTo>
                    <a:pt x="724" y="69"/>
                  </a:lnTo>
                  <a:lnTo>
                    <a:pt x="696" y="71"/>
                  </a:lnTo>
                  <a:lnTo>
                    <a:pt x="668" y="74"/>
                  </a:lnTo>
                  <a:lnTo>
                    <a:pt x="668" y="74"/>
                  </a:lnTo>
                  <a:lnTo>
                    <a:pt x="654" y="76"/>
                  </a:lnTo>
                  <a:lnTo>
                    <a:pt x="640" y="74"/>
                  </a:lnTo>
                  <a:lnTo>
                    <a:pt x="624" y="73"/>
                  </a:lnTo>
                  <a:lnTo>
                    <a:pt x="613" y="69"/>
                  </a:lnTo>
                  <a:lnTo>
                    <a:pt x="613" y="69"/>
                  </a:lnTo>
                  <a:lnTo>
                    <a:pt x="596" y="62"/>
                  </a:lnTo>
                  <a:lnTo>
                    <a:pt x="566" y="52"/>
                  </a:lnTo>
                  <a:lnTo>
                    <a:pt x="523" y="39"/>
                  </a:lnTo>
                  <a:lnTo>
                    <a:pt x="448" y="22"/>
                  </a:lnTo>
                  <a:lnTo>
                    <a:pt x="448" y="22"/>
                  </a:lnTo>
                  <a:lnTo>
                    <a:pt x="409" y="18"/>
                  </a:lnTo>
                  <a:lnTo>
                    <a:pt x="370" y="16"/>
                  </a:lnTo>
                  <a:lnTo>
                    <a:pt x="349" y="18"/>
                  </a:lnTo>
                  <a:lnTo>
                    <a:pt x="328" y="20"/>
                  </a:lnTo>
                  <a:lnTo>
                    <a:pt x="328" y="20"/>
                  </a:lnTo>
                  <a:lnTo>
                    <a:pt x="284" y="23"/>
                  </a:lnTo>
                  <a:lnTo>
                    <a:pt x="243" y="23"/>
                  </a:lnTo>
                  <a:lnTo>
                    <a:pt x="201" y="23"/>
                  </a:lnTo>
                  <a:lnTo>
                    <a:pt x="201" y="23"/>
                  </a:lnTo>
                  <a:lnTo>
                    <a:pt x="169" y="18"/>
                  </a:lnTo>
                  <a:lnTo>
                    <a:pt x="143" y="13"/>
                  </a:lnTo>
                  <a:lnTo>
                    <a:pt x="118" y="6"/>
                  </a:lnTo>
                  <a:lnTo>
                    <a:pt x="118" y="6"/>
                  </a:lnTo>
                  <a:lnTo>
                    <a:pt x="109" y="2"/>
                  </a:lnTo>
                  <a:lnTo>
                    <a:pt x="101" y="0"/>
                  </a:lnTo>
                  <a:lnTo>
                    <a:pt x="85" y="0"/>
                  </a:lnTo>
                  <a:lnTo>
                    <a:pt x="73" y="2"/>
                  </a:lnTo>
                  <a:lnTo>
                    <a:pt x="67" y="4"/>
                  </a:lnTo>
                  <a:lnTo>
                    <a:pt x="67" y="4"/>
                  </a:lnTo>
                  <a:lnTo>
                    <a:pt x="44" y="15"/>
                  </a:lnTo>
                  <a:lnTo>
                    <a:pt x="27" y="23"/>
                  </a:lnTo>
                  <a:lnTo>
                    <a:pt x="27" y="23"/>
                  </a:lnTo>
                  <a:lnTo>
                    <a:pt x="27" y="25"/>
                  </a:lnTo>
                  <a:lnTo>
                    <a:pt x="27" y="25"/>
                  </a:lnTo>
                  <a:lnTo>
                    <a:pt x="25" y="29"/>
                  </a:lnTo>
                  <a:lnTo>
                    <a:pt x="20" y="36"/>
                  </a:lnTo>
                  <a:lnTo>
                    <a:pt x="20" y="36"/>
                  </a:lnTo>
                  <a:lnTo>
                    <a:pt x="11" y="44"/>
                  </a:lnTo>
                  <a:lnTo>
                    <a:pt x="6" y="55"/>
                  </a:lnTo>
                  <a:lnTo>
                    <a:pt x="2" y="66"/>
                  </a:lnTo>
                  <a:lnTo>
                    <a:pt x="0" y="71"/>
                  </a:lnTo>
                  <a:lnTo>
                    <a:pt x="2" y="78"/>
                  </a:lnTo>
                  <a:lnTo>
                    <a:pt x="2" y="78"/>
                  </a:lnTo>
                  <a:lnTo>
                    <a:pt x="4" y="90"/>
                  </a:lnTo>
                  <a:lnTo>
                    <a:pt x="7" y="103"/>
                  </a:lnTo>
                  <a:lnTo>
                    <a:pt x="9" y="111"/>
                  </a:lnTo>
                  <a:lnTo>
                    <a:pt x="13" y="118"/>
                  </a:lnTo>
                  <a:lnTo>
                    <a:pt x="20" y="127"/>
                  </a:lnTo>
                  <a:lnTo>
                    <a:pt x="27" y="134"/>
                  </a:lnTo>
                  <a:lnTo>
                    <a:pt x="27" y="134"/>
                  </a:lnTo>
                  <a:lnTo>
                    <a:pt x="57" y="162"/>
                  </a:lnTo>
                  <a:lnTo>
                    <a:pt x="65" y="173"/>
                  </a:lnTo>
                  <a:lnTo>
                    <a:pt x="69" y="178"/>
                  </a:lnTo>
                  <a:lnTo>
                    <a:pt x="71" y="185"/>
                  </a:lnTo>
                  <a:lnTo>
                    <a:pt x="71" y="185"/>
                  </a:lnTo>
                  <a:lnTo>
                    <a:pt x="76" y="198"/>
                  </a:lnTo>
                  <a:lnTo>
                    <a:pt x="81" y="214"/>
                  </a:lnTo>
                  <a:lnTo>
                    <a:pt x="87" y="228"/>
                  </a:lnTo>
                  <a:lnTo>
                    <a:pt x="90" y="245"/>
                  </a:lnTo>
                  <a:lnTo>
                    <a:pt x="90" y="245"/>
                  </a:lnTo>
                  <a:lnTo>
                    <a:pt x="92" y="254"/>
                  </a:lnTo>
                  <a:lnTo>
                    <a:pt x="94" y="261"/>
                  </a:lnTo>
                  <a:lnTo>
                    <a:pt x="101" y="273"/>
                  </a:lnTo>
                  <a:lnTo>
                    <a:pt x="120" y="300"/>
                  </a:lnTo>
                  <a:lnTo>
                    <a:pt x="120" y="300"/>
                  </a:lnTo>
                  <a:lnTo>
                    <a:pt x="131" y="316"/>
                  </a:lnTo>
                  <a:lnTo>
                    <a:pt x="143" y="335"/>
                  </a:lnTo>
                  <a:lnTo>
                    <a:pt x="152" y="354"/>
                  </a:lnTo>
                  <a:lnTo>
                    <a:pt x="159" y="370"/>
                  </a:lnTo>
                  <a:lnTo>
                    <a:pt x="159" y="370"/>
                  </a:lnTo>
                  <a:lnTo>
                    <a:pt x="164" y="391"/>
                  </a:lnTo>
                  <a:lnTo>
                    <a:pt x="166" y="416"/>
                  </a:lnTo>
                  <a:lnTo>
                    <a:pt x="166" y="441"/>
                  </a:lnTo>
                  <a:lnTo>
                    <a:pt x="164" y="462"/>
                  </a:lnTo>
                  <a:lnTo>
                    <a:pt x="164" y="462"/>
                  </a:lnTo>
                  <a:lnTo>
                    <a:pt x="164" y="474"/>
                  </a:lnTo>
                  <a:lnTo>
                    <a:pt x="166" y="492"/>
                  </a:lnTo>
                  <a:lnTo>
                    <a:pt x="175" y="534"/>
                  </a:lnTo>
                  <a:lnTo>
                    <a:pt x="187" y="576"/>
                  </a:lnTo>
                  <a:lnTo>
                    <a:pt x="196" y="603"/>
                  </a:lnTo>
                  <a:lnTo>
                    <a:pt x="196" y="603"/>
                  </a:lnTo>
                  <a:lnTo>
                    <a:pt x="201" y="619"/>
                  </a:lnTo>
                  <a:lnTo>
                    <a:pt x="208" y="642"/>
                  </a:lnTo>
                  <a:lnTo>
                    <a:pt x="213" y="672"/>
                  </a:lnTo>
                  <a:lnTo>
                    <a:pt x="213" y="691"/>
                  </a:lnTo>
                  <a:lnTo>
                    <a:pt x="213" y="710"/>
                  </a:lnTo>
                  <a:lnTo>
                    <a:pt x="213" y="710"/>
                  </a:lnTo>
                  <a:lnTo>
                    <a:pt x="215" y="751"/>
                  </a:lnTo>
                  <a:lnTo>
                    <a:pt x="217" y="767"/>
                  </a:lnTo>
                  <a:lnTo>
                    <a:pt x="219" y="781"/>
                  </a:lnTo>
                  <a:lnTo>
                    <a:pt x="222" y="795"/>
                  </a:lnTo>
                  <a:lnTo>
                    <a:pt x="227" y="805"/>
                  </a:lnTo>
                  <a:lnTo>
                    <a:pt x="233" y="816"/>
                  </a:lnTo>
                  <a:lnTo>
                    <a:pt x="240" y="825"/>
                  </a:lnTo>
                  <a:lnTo>
                    <a:pt x="240" y="825"/>
                  </a:lnTo>
                  <a:lnTo>
                    <a:pt x="264" y="851"/>
                  </a:lnTo>
                  <a:lnTo>
                    <a:pt x="273" y="858"/>
                  </a:lnTo>
                  <a:lnTo>
                    <a:pt x="277" y="860"/>
                  </a:lnTo>
                  <a:lnTo>
                    <a:pt x="280" y="862"/>
                  </a:lnTo>
                  <a:lnTo>
                    <a:pt x="280" y="86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7" name="Freeform 33">
              <a:extLst>
                <a:ext uri="{FF2B5EF4-FFF2-40B4-BE49-F238E27FC236}">
                  <a16:creationId xmlns:a16="http://schemas.microsoft.com/office/drawing/2014/main" id="{FCB92AB6-D65B-4581-B64F-92D86072E018}"/>
                </a:ext>
              </a:extLst>
            </p:cNvPr>
            <p:cNvSpPr>
              <a:spLocks/>
            </p:cNvSpPr>
            <p:nvPr/>
          </p:nvSpPr>
          <p:spPr bwMode="auto">
            <a:xfrm>
              <a:off x="4695082" y="5632948"/>
              <a:ext cx="1018981" cy="901202"/>
            </a:xfrm>
            <a:custGeom>
              <a:avLst/>
              <a:gdLst/>
              <a:ahLst/>
              <a:cxnLst>
                <a:cxn ang="0">
                  <a:pos x="1143" y="359"/>
                </a:cxn>
                <a:cxn ang="0">
                  <a:pos x="1103" y="465"/>
                </a:cxn>
                <a:cxn ang="0">
                  <a:pos x="1046" y="541"/>
                </a:cxn>
                <a:cxn ang="0">
                  <a:pos x="934" y="680"/>
                </a:cxn>
                <a:cxn ang="0">
                  <a:pos x="833" y="763"/>
                </a:cxn>
                <a:cxn ang="0">
                  <a:pos x="782" y="828"/>
                </a:cxn>
                <a:cxn ang="0">
                  <a:pos x="682" y="909"/>
                </a:cxn>
                <a:cxn ang="0">
                  <a:pos x="634" y="914"/>
                </a:cxn>
                <a:cxn ang="0">
                  <a:pos x="553" y="925"/>
                </a:cxn>
                <a:cxn ang="0">
                  <a:pos x="530" y="930"/>
                </a:cxn>
                <a:cxn ang="0">
                  <a:pos x="493" y="944"/>
                </a:cxn>
                <a:cxn ang="0">
                  <a:pos x="434" y="935"/>
                </a:cxn>
                <a:cxn ang="0">
                  <a:pos x="347" y="942"/>
                </a:cxn>
                <a:cxn ang="0">
                  <a:pos x="310" y="974"/>
                </a:cxn>
                <a:cxn ang="0">
                  <a:pos x="284" y="978"/>
                </a:cxn>
                <a:cxn ang="0">
                  <a:pos x="266" y="1008"/>
                </a:cxn>
                <a:cxn ang="0">
                  <a:pos x="205" y="992"/>
                </a:cxn>
                <a:cxn ang="0">
                  <a:pos x="173" y="965"/>
                </a:cxn>
                <a:cxn ang="0">
                  <a:pos x="134" y="942"/>
                </a:cxn>
                <a:cxn ang="0">
                  <a:pos x="124" y="921"/>
                </a:cxn>
                <a:cxn ang="0">
                  <a:pos x="122" y="886"/>
                </a:cxn>
                <a:cxn ang="0">
                  <a:pos x="90" y="844"/>
                </a:cxn>
                <a:cxn ang="0">
                  <a:pos x="94" y="810"/>
                </a:cxn>
                <a:cxn ang="0">
                  <a:pos x="118" y="749"/>
                </a:cxn>
                <a:cxn ang="0">
                  <a:pos x="101" y="701"/>
                </a:cxn>
                <a:cxn ang="0">
                  <a:pos x="48" y="620"/>
                </a:cxn>
                <a:cxn ang="0">
                  <a:pos x="28" y="543"/>
                </a:cxn>
                <a:cxn ang="0">
                  <a:pos x="13" y="506"/>
                </a:cxn>
                <a:cxn ang="0">
                  <a:pos x="0" y="490"/>
                </a:cxn>
                <a:cxn ang="0">
                  <a:pos x="4" y="456"/>
                </a:cxn>
                <a:cxn ang="0">
                  <a:pos x="41" y="449"/>
                </a:cxn>
                <a:cxn ang="0">
                  <a:pos x="76" y="479"/>
                </a:cxn>
                <a:cxn ang="0">
                  <a:pos x="129" y="504"/>
                </a:cxn>
                <a:cxn ang="0">
                  <a:pos x="227" y="492"/>
                </a:cxn>
                <a:cxn ang="0">
                  <a:pos x="245" y="388"/>
                </a:cxn>
                <a:cxn ang="0">
                  <a:pos x="287" y="206"/>
                </a:cxn>
                <a:cxn ang="0">
                  <a:pos x="312" y="245"/>
                </a:cxn>
                <a:cxn ang="0">
                  <a:pos x="314" y="344"/>
                </a:cxn>
                <a:cxn ang="0">
                  <a:pos x="349" y="381"/>
                </a:cxn>
                <a:cxn ang="0">
                  <a:pos x="414" y="337"/>
                </a:cxn>
                <a:cxn ang="0">
                  <a:pos x="472" y="254"/>
                </a:cxn>
                <a:cxn ang="0">
                  <a:pos x="507" y="261"/>
                </a:cxn>
                <a:cxn ang="0">
                  <a:pos x="560" y="282"/>
                </a:cxn>
                <a:cxn ang="0">
                  <a:pos x="645" y="270"/>
                </a:cxn>
                <a:cxn ang="0">
                  <a:pos x="678" y="210"/>
                </a:cxn>
                <a:cxn ang="0">
                  <a:pos x="714" y="174"/>
                </a:cxn>
                <a:cxn ang="0">
                  <a:pos x="803" y="85"/>
                </a:cxn>
                <a:cxn ang="0">
                  <a:pos x="877" y="28"/>
                </a:cxn>
                <a:cxn ang="0">
                  <a:pos x="916" y="2"/>
                </a:cxn>
                <a:cxn ang="0">
                  <a:pos x="1032" y="34"/>
                </a:cxn>
                <a:cxn ang="0">
                  <a:pos x="1075" y="79"/>
                </a:cxn>
                <a:cxn ang="0">
                  <a:pos x="1096" y="141"/>
                </a:cxn>
                <a:cxn ang="0">
                  <a:pos x="1099" y="194"/>
                </a:cxn>
                <a:cxn ang="0">
                  <a:pos x="1078" y="257"/>
                </a:cxn>
                <a:cxn ang="0">
                  <a:pos x="1087" y="287"/>
                </a:cxn>
              </a:cxnLst>
              <a:rect l="0" t="0" r="r" b="b"/>
              <a:pathLst>
                <a:path w="1143" h="1011">
                  <a:moveTo>
                    <a:pt x="1122" y="322"/>
                  </a:moveTo>
                  <a:lnTo>
                    <a:pt x="1122" y="322"/>
                  </a:lnTo>
                  <a:lnTo>
                    <a:pt x="1127" y="328"/>
                  </a:lnTo>
                  <a:lnTo>
                    <a:pt x="1136" y="342"/>
                  </a:lnTo>
                  <a:lnTo>
                    <a:pt x="1140" y="351"/>
                  </a:lnTo>
                  <a:lnTo>
                    <a:pt x="1143" y="359"/>
                  </a:lnTo>
                  <a:lnTo>
                    <a:pt x="1143" y="370"/>
                  </a:lnTo>
                  <a:lnTo>
                    <a:pt x="1140" y="379"/>
                  </a:lnTo>
                  <a:lnTo>
                    <a:pt x="1140" y="379"/>
                  </a:lnTo>
                  <a:lnTo>
                    <a:pt x="1127" y="407"/>
                  </a:lnTo>
                  <a:lnTo>
                    <a:pt x="1112" y="444"/>
                  </a:lnTo>
                  <a:lnTo>
                    <a:pt x="1103" y="465"/>
                  </a:lnTo>
                  <a:lnTo>
                    <a:pt x="1094" y="483"/>
                  </a:lnTo>
                  <a:lnTo>
                    <a:pt x="1083" y="500"/>
                  </a:lnTo>
                  <a:lnTo>
                    <a:pt x="1075" y="513"/>
                  </a:lnTo>
                  <a:lnTo>
                    <a:pt x="1075" y="513"/>
                  </a:lnTo>
                  <a:lnTo>
                    <a:pt x="1046" y="541"/>
                  </a:lnTo>
                  <a:lnTo>
                    <a:pt x="1046" y="541"/>
                  </a:lnTo>
                  <a:lnTo>
                    <a:pt x="1022" y="578"/>
                  </a:lnTo>
                  <a:lnTo>
                    <a:pt x="995" y="613"/>
                  </a:lnTo>
                  <a:lnTo>
                    <a:pt x="965" y="648"/>
                  </a:lnTo>
                  <a:lnTo>
                    <a:pt x="965" y="648"/>
                  </a:lnTo>
                  <a:lnTo>
                    <a:pt x="950" y="664"/>
                  </a:lnTo>
                  <a:lnTo>
                    <a:pt x="934" y="680"/>
                  </a:lnTo>
                  <a:lnTo>
                    <a:pt x="900" y="705"/>
                  </a:lnTo>
                  <a:lnTo>
                    <a:pt x="870" y="728"/>
                  </a:lnTo>
                  <a:lnTo>
                    <a:pt x="846" y="747"/>
                  </a:lnTo>
                  <a:lnTo>
                    <a:pt x="846" y="747"/>
                  </a:lnTo>
                  <a:lnTo>
                    <a:pt x="839" y="756"/>
                  </a:lnTo>
                  <a:lnTo>
                    <a:pt x="833" y="763"/>
                  </a:lnTo>
                  <a:lnTo>
                    <a:pt x="828" y="773"/>
                  </a:lnTo>
                  <a:lnTo>
                    <a:pt x="821" y="786"/>
                  </a:lnTo>
                  <a:lnTo>
                    <a:pt x="816" y="793"/>
                  </a:lnTo>
                  <a:lnTo>
                    <a:pt x="807" y="803"/>
                  </a:lnTo>
                  <a:lnTo>
                    <a:pt x="807" y="803"/>
                  </a:lnTo>
                  <a:lnTo>
                    <a:pt x="782" y="828"/>
                  </a:lnTo>
                  <a:lnTo>
                    <a:pt x="759" y="851"/>
                  </a:lnTo>
                  <a:lnTo>
                    <a:pt x="735" y="870"/>
                  </a:lnTo>
                  <a:lnTo>
                    <a:pt x="712" y="888"/>
                  </a:lnTo>
                  <a:lnTo>
                    <a:pt x="712" y="888"/>
                  </a:lnTo>
                  <a:lnTo>
                    <a:pt x="694" y="900"/>
                  </a:lnTo>
                  <a:lnTo>
                    <a:pt x="682" y="909"/>
                  </a:lnTo>
                  <a:lnTo>
                    <a:pt x="677" y="911"/>
                  </a:lnTo>
                  <a:lnTo>
                    <a:pt x="671" y="912"/>
                  </a:lnTo>
                  <a:lnTo>
                    <a:pt x="655" y="912"/>
                  </a:lnTo>
                  <a:lnTo>
                    <a:pt x="655" y="912"/>
                  </a:lnTo>
                  <a:lnTo>
                    <a:pt x="645" y="912"/>
                  </a:lnTo>
                  <a:lnTo>
                    <a:pt x="634" y="914"/>
                  </a:lnTo>
                  <a:lnTo>
                    <a:pt x="608" y="920"/>
                  </a:lnTo>
                  <a:lnTo>
                    <a:pt x="571" y="930"/>
                  </a:lnTo>
                  <a:lnTo>
                    <a:pt x="571" y="930"/>
                  </a:lnTo>
                  <a:lnTo>
                    <a:pt x="567" y="930"/>
                  </a:lnTo>
                  <a:lnTo>
                    <a:pt x="562" y="928"/>
                  </a:lnTo>
                  <a:lnTo>
                    <a:pt x="553" y="925"/>
                  </a:lnTo>
                  <a:lnTo>
                    <a:pt x="550" y="921"/>
                  </a:lnTo>
                  <a:lnTo>
                    <a:pt x="544" y="921"/>
                  </a:lnTo>
                  <a:lnTo>
                    <a:pt x="539" y="921"/>
                  </a:lnTo>
                  <a:lnTo>
                    <a:pt x="536" y="925"/>
                  </a:lnTo>
                  <a:lnTo>
                    <a:pt x="536" y="925"/>
                  </a:lnTo>
                  <a:lnTo>
                    <a:pt x="530" y="930"/>
                  </a:lnTo>
                  <a:lnTo>
                    <a:pt x="529" y="935"/>
                  </a:lnTo>
                  <a:lnTo>
                    <a:pt x="522" y="944"/>
                  </a:lnTo>
                  <a:lnTo>
                    <a:pt x="518" y="948"/>
                  </a:lnTo>
                  <a:lnTo>
                    <a:pt x="513" y="949"/>
                  </a:lnTo>
                  <a:lnTo>
                    <a:pt x="504" y="948"/>
                  </a:lnTo>
                  <a:lnTo>
                    <a:pt x="493" y="944"/>
                  </a:lnTo>
                  <a:lnTo>
                    <a:pt x="493" y="944"/>
                  </a:lnTo>
                  <a:lnTo>
                    <a:pt x="474" y="937"/>
                  </a:lnTo>
                  <a:lnTo>
                    <a:pt x="460" y="934"/>
                  </a:lnTo>
                  <a:lnTo>
                    <a:pt x="448" y="934"/>
                  </a:lnTo>
                  <a:lnTo>
                    <a:pt x="434" y="935"/>
                  </a:lnTo>
                  <a:lnTo>
                    <a:pt x="434" y="935"/>
                  </a:lnTo>
                  <a:lnTo>
                    <a:pt x="419" y="939"/>
                  </a:lnTo>
                  <a:lnTo>
                    <a:pt x="407" y="939"/>
                  </a:lnTo>
                  <a:lnTo>
                    <a:pt x="381" y="939"/>
                  </a:lnTo>
                  <a:lnTo>
                    <a:pt x="381" y="939"/>
                  </a:lnTo>
                  <a:lnTo>
                    <a:pt x="365" y="939"/>
                  </a:lnTo>
                  <a:lnTo>
                    <a:pt x="347" y="942"/>
                  </a:lnTo>
                  <a:lnTo>
                    <a:pt x="333" y="948"/>
                  </a:lnTo>
                  <a:lnTo>
                    <a:pt x="326" y="951"/>
                  </a:lnTo>
                  <a:lnTo>
                    <a:pt x="326" y="951"/>
                  </a:lnTo>
                  <a:lnTo>
                    <a:pt x="323" y="958"/>
                  </a:lnTo>
                  <a:lnTo>
                    <a:pt x="317" y="967"/>
                  </a:lnTo>
                  <a:lnTo>
                    <a:pt x="310" y="974"/>
                  </a:lnTo>
                  <a:lnTo>
                    <a:pt x="307" y="978"/>
                  </a:lnTo>
                  <a:lnTo>
                    <a:pt x="301" y="979"/>
                  </a:lnTo>
                  <a:lnTo>
                    <a:pt x="301" y="979"/>
                  </a:lnTo>
                  <a:lnTo>
                    <a:pt x="293" y="978"/>
                  </a:lnTo>
                  <a:lnTo>
                    <a:pt x="287" y="976"/>
                  </a:lnTo>
                  <a:lnTo>
                    <a:pt x="284" y="978"/>
                  </a:lnTo>
                  <a:lnTo>
                    <a:pt x="277" y="983"/>
                  </a:lnTo>
                  <a:lnTo>
                    <a:pt x="277" y="983"/>
                  </a:lnTo>
                  <a:lnTo>
                    <a:pt x="273" y="988"/>
                  </a:lnTo>
                  <a:lnTo>
                    <a:pt x="272" y="993"/>
                  </a:lnTo>
                  <a:lnTo>
                    <a:pt x="268" y="1004"/>
                  </a:lnTo>
                  <a:lnTo>
                    <a:pt x="266" y="1008"/>
                  </a:lnTo>
                  <a:lnTo>
                    <a:pt x="263" y="1009"/>
                  </a:lnTo>
                  <a:lnTo>
                    <a:pt x="259" y="1011"/>
                  </a:lnTo>
                  <a:lnTo>
                    <a:pt x="254" y="1009"/>
                  </a:lnTo>
                  <a:lnTo>
                    <a:pt x="254" y="1009"/>
                  </a:lnTo>
                  <a:lnTo>
                    <a:pt x="229" y="1001"/>
                  </a:lnTo>
                  <a:lnTo>
                    <a:pt x="205" y="992"/>
                  </a:lnTo>
                  <a:lnTo>
                    <a:pt x="205" y="992"/>
                  </a:lnTo>
                  <a:lnTo>
                    <a:pt x="185" y="988"/>
                  </a:lnTo>
                  <a:lnTo>
                    <a:pt x="180" y="983"/>
                  </a:lnTo>
                  <a:lnTo>
                    <a:pt x="176" y="976"/>
                  </a:lnTo>
                  <a:lnTo>
                    <a:pt x="176" y="976"/>
                  </a:lnTo>
                  <a:lnTo>
                    <a:pt x="173" y="965"/>
                  </a:lnTo>
                  <a:lnTo>
                    <a:pt x="173" y="958"/>
                  </a:lnTo>
                  <a:lnTo>
                    <a:pt x="169" y="953"/>
                  </a:lnTo>
                  <a:lnTo>
                    <a:pt x="161" y="949"/>
                  </a:lnTo>
                  <a:lnTo>
                    <a:pt x="161" y="949"/>
                  </a:lnTo>
                  <a:lnTo>
                    <a:pt x="146" y="946"/>
                  </a:lnTo>
                  <a:lnTo>
                    <a:pt x="134" y="942"/>
                  </a:lnTo>
                  <a:lnTo>
                    <a:pt x="127" y="941"/>
                  </a:lnTo>
                  <a:lnTo>
                    <a:pt x="124" y="937"/>
                  </a:lnTo>
                  <a:lnTo>
                    <a:pt x="122" y="935"/>
                  </a:lnTo>
                  <a:lnTo>
                    <a:pt x="120" y="930"/>
                  </a:lnTo>
                  <a:lnTo>
                    <a:pt x="120" y="930"/>
                  </a:lnTo>
                  <a:lnTo>
                    <a:pt x="124" y="921"/>
                  </a:lnTo>
                  <a:lnTo>
                    <a:pt x="129" y="912"/>
                  </a:lnTo>
                  <a:lnTo>
                    <a:pt x="131" y="904"/>
                  </a:lnTo>
                  <a:lnTo>
                    <a:pt x="131" y="900"/>
                  </a:lnTo>
                  <a:lnTo>
                    <a:pt x="129" y="895"/>
                  </a:lnTo>
                  <a:lnTo>
                    <a:pt x="129" y="895"/>
                  </a:lnTo>
                  <a:lnTo>
                    <a:pt x="122" y="886"/>
                  </a:lnTo>
                  <a:lnTo>
                    <a:pt x="111" y="877"/>
                  </a:lnTo>
                  <a:lnTo>
                    <a:pt x="101" y="867"/>
                  </a:lnTo>
                  <a:lnTo>
                    <a:pt x="97" y="860"/>
                  </a:lnTo>
                  <a:lnTo>
                    <a:pt x="95" y="854"/>
                  </a:lnTo>
                  <a:lnTo>
                    <a:pt x="95" y="854"/>
                  </a:lnTo>
                  <a:lnTo>
                    <a:pt x="90" y="844"/>
                  </a:lnTo>
                  <a:lnTo>
                    <a:pt x="85" y="833"/>
                  </a:lnTo>
                  <a:lnTo>
                    <a:pt x="85" y="828"/>
                  </a:lnTo>
                  <a:lnTo>
                    <a:pt x="85" y="823"/>
                  </a:lnTo>
                  <a:lnTo>
                    <a:pt x="88" y="816"/>
                  </a:lnTo>
                  <a:lnTo>
                    <a:pt x="94" y="810"/>
                  </a:lnTo>
                  <a:lnTo>
                    <a:pt x="94" y="810"/>
                  </a:lnTo>
                  <a:lnTo>
                    <a:pt x="101" y="802"/>
                  </a:lnTo>
                  <a:lnTo>
                    <a:pt x="106" y="794"/>
                  </a:lnTo>
                  <a:lnTo>
                    <a:pt x="111" y="786"/>
                  </a:lnTo>
                  <a:lnTo>
                    <a:pt x="115" y="777"/>
                  </a:lnTo>
                  <a:lnTo>
                    <a:pt x="118" y="761"/>
                  </a:lnTo>
                  <a:lnTo>
                    <a:pt x="118" y="749"/>
                  </a:lnTo>
                  <a:lnTo>
                    <a:pt x="118" y="749"/>
                  </a:lnTo>
                  <a:lnTo>
                    <a:pt x="118" y="738"/>
                  </a:lnTo>
                  <a:lnTo>
                    <a:pt x="117" y="728"/>
                  </a:lnTo>
                  <a:lnTo>
                    <a:pt x="111" y="717"/>
                  </a:lnTo>
                  <a:lnTo>
                    <a:pt x="101" y="701"/>
                  </a:lnTo>
                  <a:lnTo>
                    <a:pt x="101" y="701"/>
                  </a:lnTo>
                  <a:lnTo>
                    <a:pt x="73" y="669"/>
                  </a:lnTo>
                  <a:lnTo>
                    <a:pt x="60" y="654"/>
                  </a:lnTo>
                  <a:lnTo>
                    <a:pt x="53" y="645"/>
                  </a:lnTo>
                  <a:lnTo>
                    <a:pt x="53" y="645"/>
                  </a:lnTo>
                  <a:lnTo>
                    <a:pt x="50" y="634"/>
                  </a:lnTo>
                  <a:lnTo>
                    <a:pt x="48" y="620"/>
                  </a:lnTo>
                  <a:lnTo>
                    <a:pt x="46" y="604"/>
                  </a:lnTo>
                  <a:lnTo>
                    <a:pt x="43" y="594"/>
                  </a:lnTo>
                  <a:lnTo>
                    <a:pt x="43" y="594"/>
                  </a:lnTo>
                  <a:lnTo>
                    <a:pt x="39" y="581"/>
                  </a:lnTo>
                  <a:lnTo>
                    <a:pt x="34" y="562"/>
                  </a:lnTo>
                  <a:lnTo>
                    <a:pt x="28" y="543"/>
                  </a:lnTo>
                  <a:lnTo>
                    <a:pt x="25" y="534"/>
                  </a:lnTo>
                  <a:lnTo>
                    <a:pt x="21" y="528"/>
                  </a:lnTo>
                  <a:lnTo>
                    <a:pt x="21" y="528"/>
                  </a:lnTo>
                  <a:lnTo>
                    <a:pt x="16" y="521"/>
                  </a:lnTo>
                  <a:lnTo>
                    <a:pt x="13" y="513"/>
                  </a:lnTo>
                  <a:lnTo>
                    <a:pt x="13" y="506"/>
                  </a:lnTo>
                  <a:lnTo>
                    <a:pt x="14" y="499"/>
                  </a:lnTo>
                  <a:lnTo>
                    <a:pt x="14" y="499"/>
                  </a:lnTo>
                  <a:lnTo>
                    <a:pt x="14" y="495"/>
                  </a:lnTo>
                  <a:lnTo>
                    <a:pt x="13" y="493"/>
                  </a:lnTo>
                  <a:lnTo>
                    <a:pt x="7" y="492"/>
                  </a:lnTo>
                  <a:lnTo>
                    <a:pt x="0" y="490"/>
                  </a:lnTo>
                  <a:lnTo>
                    <a:pt x="0" y="490"/>
                  </a:lnTo>
                  <a:lnTo>
                    <a:pt x="0" y="474"/>
                  </a:lnTo>
                  <a:lnTo>
                    <a:pt x="0" y="463"/>
                  </a:lnTo>
                  <a:lnTo>
                    <a:pt x="2" y="460"/>
                  </a:lnTo>
                  <a:lnTo>
                    <a:pt x="4" y="456"/>
                  </a:lnTo>
                  <a:lnTo>
                    <a:pt x="4" y="456"/>
                  </a:lnTo>
                  <a:lnTo>
                    <a:pt x="7" y="453"/>
                  </a:lnTo>
                  <a:lnTo>
                    <a:pt x="9" y="449"/>
                  </a:lnTo>
                  <a:lnTo>
                    <a:pt x="16" y="446"/>
                  </a:lnTo>
                  <a:lnTo>
                    <a:pt x="30" y="446"/>
                  </a:lnTo>
                  <a:lnTo>
                    <a:pt x="30" y="446"/>
                  </a:lnTo>
                  <a:lnTo>
                    <a:pt x="41" y="449"/>
                  </a:lnTo>
                  <a:lnTo>
                    <a:pt x="55" y="453"/>
                  </a:lnTo>
                  <a:lnTo>
                    <a:pt x="55" y="453"/>
                  </a:lnTo>
                  <a:lnTo>
                    <a:pt x="60" y="456"/>
                  </a:lnTo>
                  <a:lnTo>
                    <a:pt x="65" y="463"/>
                  </a:lnTo>
                  <a:lnTo>
                    <a:pt x="76" y="479"/>
                  </a:lnTo>
                  <a:lnTo>
                    <a:pt x="76" y="479"/>
                  </a:lnTo>
                  <a:lnTo>
                    <a:pt x="80" y="484"/>
                  </a:lnTo>
                  <a:lnTo>
                    <a:pt x="85" y="490"/>
                  </a:lnTo>
                  <a:lnTo>
                    <a:pt x="92" y="493"/>
                  </a:lnTo>
                  <a:lnTo>
                    <a:pt x="101" y="497"/>
                  </a:lnTo>
                  <a:lnTo>
                    <a:pt x="101" y="497"/>
                  </a:lnTo>
                  <a:lnTo>
                    <a:pt x="129" y="504"/>
                  </a:lnTo>
                  <a:lnTo>
                    <a:pt x="203" y="506"/>
                  </a:lnTo>
                  <a:lnTo>
                    <a:pt x="203" y="506"/>
                  </a:lnTo>
                  <a:lnTo>
                    <a:pt x="208" y="506"/>
                  </a:lnTo>
                  <a:lnTo>
                    <a:pt x="217" y="502"/>
                  </a:lnTo>
                  <a:lnTo>
                    <a:pt x="222" y="497"/>
                  </a:lnTo>
                  <a:lnTo>
                    <a:pt x="227" y="492"/>
                  </a:lnTo>
                  <a:lnTo>
                    <a:pt x="233" y="484"/>
                  </a:lnTo>
                  <a:lnTo>
                    <a:pt x="235" y="474"/>
                  </a:lnTo>
                  <a:lnTo>
                    <a:pt x="235" y="474"/>
                  </a:lnTo>
                  <a:lnTo>
                    <a:pt x="242" y="430"/>
                  </a:lnTo>
                  <a:lnTo>
                    <a:pt x="243" y="409"/>
                  </a:lnTo>
                  <a:lnTo>
                    <a:pt x="245" y="388"/>
                  </a:lnTo>
                  <a:lnTo>
                    <a:pt x="245" y="388"/>
                  </a:lnTo>
                  <a:lnTo>
                    <a:pt x="245" y="187"/>
                  </a:lnTo>
                  <a:lnTo>
                    <a:pt x="245" y="187"/>
                  </a:lnTo>
                  <a:lnTo>
                    <a:pt x="254" y="190"/>
                  </a:lnTo>
                  <a:lnTo>
                    <a:pt x="275" y="201"/>
                  </a:lnTo>
                  <a:lnTo>
                    <a:pt x="287" y="206"/>
                  </a:lnTo>
                  <a:lnTo>
                    <a:pt x="298" y="213"/>
                  </a:lnTo>
                  <a:lnTo>
                    <a:pt x="305" y="220"/>
                  </a:lnTo>
                  <a:lnTo>
                    <a:pt x="310" y="227"/>
                  </a:lnTo>
                  <a:lnTo>
                    <a:pt x="310" y="227"/>
                  </a:lnTo>
                  <a:lnTo>
                    <a:pt x="312" y="236"/>
                  </a:lnTo>
                  <a:lnTo>
                    <a:pt x="312" y="245"/>
                  </a:lnTo>
                  <a:lnTo>
                    <a:pt x="312" y="268"/>
                  </a:lnTo>
                  <a:lnTo>
                    <a:pt x="312" y="292"/>
                  </a:lnTo>
                  <a:lnTo>
                    <a:pt x="312" y="317"/>
                  </a:lnTo>
                  <a:lnTo>
                    <a:pt x="312" y="317"/>
                  </a:lnTo>
                  <a:lnTo>
                    <a:pt x="312" y="329"/>
                  </a:lnTo>
                  <a:lnTo>
                    <a:pt x="314" y="344"/>
                  </a:lnTo>
                  <a:lnTo>
                    <a:pt x="317" y="356"/>
                  </a:lnTo>
                  <a:lnTo>
                    <a:pt x="324" y="368"/>
                  </a:lnTo>
                  <a:lnTo>
                    <a:pt x="330" y="373"/>
                  </a:lnTo>
                  <a:lnTo>
                    <a:pt x="335" y="377"/>
                  </a:lnTo>
                  <a:lnTo>
                    <a:pt x="342" y="379"/>
                  </a:lnTo>
                  <a:lnTo>
                    <a:pt x="349" y="381"/>
                  </a:lnTo>
                  <a:lnTo>
                    <a:pt x="358" y="381"/>
                  </a:lnTo>
                  <a:lnTo>
                    <a:pt x="368" y="379"/>
                  </a:lnTo>
                  <a:lnTo>
                    <a:pt x="379" y="375"/>
                  </a:lnTo>
                  <a:lnTo>
                    <a:pt x="393" y="370"/>
                  </a:lnTo>
                  <a:lnTo>
                    <a:pt x="393" y="370"/>
                  </a:lnTo>
                  <a:lnTo>
                    <a:pt x="414" y="337"/>
                  </a:lnTo>
                  <a:lnTo>
                    <a:pt x="434" y="310"/>
                  </a:lnTo>
                  <a:lnTo>
                    <a:pt x="449" y="289"/>
                  </a:lnTo>
                  <a:lnTo>
                    <a:pt x="449" y="289"/>
                  </a:lnTo>
                  <a:lnTo>
                    <a:pt x="460" y="275"/>
                  </a:lnTo>
                  <a:lnTo>
                    <a:pt x="469" y="259"/>
                  </a:lnTo>
                  <a:lnTo>
                    <a:pt x="472" y="254"/>
                  </a:lnTo>
                  <a:lnTo>
                    <a:pt x="478" y="248"/>
                  </a:lnTo>
                  <a:lnTo>
                    <a:pt x="483" y="247"/>
                  </a:lnTo>
                  <a:lnTo>
                    <a:pt x="488" y="247"/>
                  </a:lnTo>
                  <a:lnTo>
                    <a:pt x="488" y="247"/>
                  </a:lnTo>
                  <a:lnTo>
                    <a:pt x="499" y="254"/>
                  </a:lnTo>
                  <a:lnTo>
                    <a:pt x="507" y="261"/>
                  </a:lnTo>
                  <a:lnTo>
                    <a:pt x="520" y="270"/>
                  </a:lnTo>
                  <a:lnTo>
                    <a:pt x="527" y="273"/>
                  </a:lnTo>
                  <a:lnTo>
                    <a:pt x="536" y="277"/>
                  </a:lnTo>
                  <a:lnTo>
                    <a:pt x="536" y="277"/>
                  </a:lnTo>
                  <a:lnTo>
                    <a:pt x="546" y="280"/>
                  </a:lnTo>
                  <a:lnTo>
                    <a:pt x="560" y="282"/>
                  </a:lnTo>
                  <a:lnTo>
                    <a:pt x="576" y="284"/>
                  </a:lnTo>
                  <a:lnTo>
                    <a:pt x="592" y="284"/>
                  </a:lnTo>
                  <a:lnTo>
                    <a:pt x="608" y="282"/>
                  </a:lnTo>
                  <a:lnTo>
                    <a:pt x="624" y="280"/>
                  </a:lnTo>
                  <a:lnTo>
                    <a:pt x="636" y="277"/>
                  </a:lnTo>
                  <a:lnTo>
                    <a:pt x="645" y="270"/>
                  </a:lnTo>
                  <a:lnTo>
                    <a:pt x="645" y="270"/>
                  </a:lnTo>
                  <a:lnTo>
                    <a:pt x="657" y="255"/>
                  </a:lnTo>
                  <a:lnTo>
                    <a:pt x="666" y="241"/>
                  </a:lnTo>
                  <a:lnTo>
                    <a:pt x="673" y="226"/>
                  </a:lnTo>
                  <a:lnTo>
                    <a:pt x="678" y="210"/>
                  </a:lnTo>
                  <a:lnTo>
                    <a:pt x="678" y="210"/>
                  </a:lnTo>
                  <a:lnTo>
                    <a:pt x="680" y="203"/>
                  </a:lnTo>
                  <a:lnTo>
                    <a:pt x="684" y="197"/>
                  </a:lnTo>
                  <a:lnTo>
                    <a:pt x="689" y="190"/>
                  </a:lnTo>
                  <a:lnTo>
                    <a:pt x="694" y="187"/>
                  </a:lnTo>
                  <a:lnTo>
                    <a:pt x="705" y="180"/>
                  </a:lnTo>
                  <a:lnTo>
                    <a:pt x="714" y="174"/>
                  </a:lnTo>
                  <a:lnTo>
                    <a:pt x="714" y="174"/>
                  </a:lnTo>
                  <a:lnTo>
                    <a:pt x="728" y="162"/>
                  </a:lnTo>
                  <a:lnTo>
                    <a:pt x="751" y="137"/>
                  </a:lnTo>
                  <a:lnTo>
                    <a:pt x="777" y="109"/>
                  </a:lnTo>
                  <a:lnTo>
                    <a:pt x="803" y="85"/>
                  </a:lnTo>
                  <a:lnTo>
                    <a:pt x="803" y="85"/>
                  </a:lnTo>
                  <a:lnTo>
                    <a:pt x="837" y="55"/>
                  </a:lnTo>
                  <a:lnTo>
                    <a:pt x="849" y="46"/>
                  </a:lnTo>
                  <a:lnTo>
                    <a:pt x="863" y="37"/>
                  </a:lnTo>
                  <a:lnTo>
                    <a:pt x="863" y="37"/>
                  </a:lnTo>
                  <a:lnTo>
                    <a:pt x="870" y="34"/>
                  </a:lnTo>
                  <a:lnTo>
                    <a:pt x="877" y="28"/>
                  </a:lnTo>
                  <a:lnTo>
                    <a:pt x="890" y="16"/>
                  </a:lnTo>
                  <a:lnTo>
                    <a:pt x="900" y="5"/>
                  </a:lnTo>
                  <a:lnTo>
                    <a:pt x="904" y="2"/>
                  </a:lnTo>
                  <a:lnTo>
                    <a:pt x="907" y="0"/>
                  </a:lnTo>
                  <a:lnTo>
                    <a:pt x="907" y="0"/>
                  </a:lnTo>
                  <a:lnTo>
                    <a:pt x="916" y="2"/>
                  </a:lnTo>
                  <a:lnTo>
                    <a:pt x="934" y="5"/>
                  </a:lnTo>
                  <a:lnTo>
                    <a:pt x="957" y="11"/>
                  </a:lnTo>
                  <a:lnTo>
                    <a:pt x="979" y="18"/>
                  </a:lnTo>
                  <a:lnTo>
                    <a:pt x="979" y="18"/>
                  </a:lnTo>
                  <a:lnTo>
                    <a:pt x="1004" y="27"/>
                  </a:lnTo>
                  <a:lnTo>
                    <a:pt x="1032" y="34"/>
                  </a:lnTo>
                  <a:lnTo>
                    <a:pt x="1064" y="42"/>
                  </a:lnTo>
                  <a:lnTo>
                    <a:pt x="1064" y="42"/>
                  </a:lnTo>
                  <a:lnTo>
                    <a:pt x="1069" y="55"/>
                  </a:lnTo>
                  <a:lnTo>
                    <a:pt x="1071" y="67"/>
                  </a:lnTo>
                  <a:lnTo>
                    <a:pt x="1075" y="79"/>
                  </a:lnTo>
                  <a:lnTo>
                    <a:pt x="1075" y="79"/>
                  </a:lnTo>
                  <a:lnTo>
                    <a:pt x="1075" y="86"/>
                  </a:lnTo>
                  <a:lnTo>
                    <a:pt x="1078" y="95"/>
                  </a:lnTo>
                  <a:lnTo>
                    <a:pt x="1087" y="111"/>
                  </a:lnTo>
                  <a:lnTo>
                    <a:pt x="1090" y="122"/>
                  </a:lnTo>
                  <a:lnTo>
                    <a:pt x="1094" y="130"/>
                  </a:lnTo>
                  <a:lnTo>
                    <a:pt x="1096" y="141"/>
                  </a:lnTo>
                  <a:lnTo>
                    <a:pt x="1096" y="152"/>
                  </a:lnTo>
                  <a:lnTo>
                    <a:pt x="1096" y="152"/>
                  </a:lnTo>
                  <a:lnTo>
                    <a:pt x="1096" y="162"/>
                  </a:lnTo>
                  <a:lnTo>
                    <a:pt x="1096" y="169"/>
                  </a:lnTo>
                  <a:lnTo>
                    <a:pt x="1097" y="182"/>
                  </a:lnTo>
                  <a:lnTo>
                    <a:pt x="1099" y="194"/>
                  </a:lnTo>
                  <a:lnTo>
                    <a:pt x="1097" y="201"/>
                  </a:lnTo>
                  <a:lnTo>
                    <a:pt x="1096" y="208"/>
                  </a:lnTo>
                  <a:lnTo>
                    <a:pt x="1096" y="208"/>
                  </a:lnTo>
                  <a:lnTo>
                    <a:pt x="1083" y="240"/>
                  </a:lnTo>
                  <a:lnTo>
                    <a:pt x="1078" y="250"/>
                  </a:lnTo>
                  <a:lnTo>
                    <a:pt x="1078" y="257"/>
                  </a:lnTo>
                  <a:lnTo>
                    <a:pt x="1078" y="257"/>
                  </a:lnTo>
                  <a:lnTo>
                    <a:pt x="1078" y="264"/>
                  </a:lnTo>
                  <a:lnTo>
                    <a:pt x="1080" y="271"/>
                  </a:lnTo>
                  <a:lnTo>
                    <a:pt x="1082" y="280"/>
                  </a:lnTo>
                  <a:lnTo>
                    <a:pt x="1087" y="287"/>
                  </a:lnTo>
                  <a:lnTo>
                    <a:pt x="1087" y="287"/>
                  </a:lnTo>
                  <a:lnTo>
                    <a:pt x="1108" y="308"/>
                  </a:lnTo>
                  <a:lnTo>
                    <a:pt x="1122" y="322"/>
                  </a:lnTo>
                  <a:lnTo>
                    <a:pt x="1122" y="3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8" name="Freeform 34">
              <a:extLst>
                <a:ext uri="{FF2B5EF4-FFF2-40B4-BE49-F238E27FC236}">
                  <a16:creationId xmlns:a16="http://schemas.microsoft.com/office/drawing/2014/main" id="{7E5D8F2D-F1F7-41DC-B71A-1EF5BF08A595}"/>
                </a:ext>
              </a:extLst>
            </p:cNvPr>
            <p:cNvSpPr>
              <a:spLocks/>
            </p:cNvSpPr>
            <p:nvPr/>
          </p:nvSpPr>
          <p:spPr bwMode="auto">
            <a:xfrm>
              <a:off x="5583792" y="5881002"/>
              <a:ext cx="107073" cy="110643"/>
            </a:xfrm>
            <a:custGeom>
              <a:avLst/>
              <a:gdLst/>
              <a:ahLst/>
              <a:cxnLst>
                <a:cxn ang="0">
                  <a:pos x="120" y="51"/>
                </a:cxn>
                <a:cxn ang="0">
                  <a:pos x="120" y="51"/>
                </a:cxn>
                <a:cxn ang="0">
                  <a:pos x="118" y="59"/>
                </a:cxn>
                <a:cxn ang="0">
                  <a:pos x="116" y="74"/>
                </a:cxn>
                <a:cxn ang="0">
                  <a:pos x="115" y="83"/>
                </a:cxn>
                <a:cxn ang="0">
                  <a:pos x="111" y="92"/>
                </a:cxn>
                <a:cxn ang="0">
                  <a:pos x="107" y="101"/>
                </a:cxn>
                <a:cxn ang="0">
                  <a:pos x="102" y="108"/>
                </a:cxn>
                <a:cxn ang="0">
                  <a:pos x="102" y="108"/>
                </a:cxn>
                <a:cxn ang="0">
                  <a:pos x="93" y="113"/>
                </a:cxn>
                <a:cxn ang="0">
                  <a:pos x="85" y="118"/>
                </a:cxn>
                <a:cxn ang="0">
                  <a:pos x="76" y="122"/>
                </a:cxn>
                <a:cxn ang="0">
                  <a:pos x="67" y="125"/>
                </a:cxn>
                <a:cxn ang="0">
                  <a:pos x="56" y="125"/>
                </a:cxn>
                <a:cxn ang="0">
                  <a:pos x="48" y="125"/>
                </a:cxn>
                <a:cxn ang="0">
                  <a:pos x="39" y="124"/>
                </a:cxn>
                <a:cxn ang="0">
                  <a:pos x="34" y="120"/>
                </a:cxn>
                <a:cxn ang="0">
                  <a:pos x="34" y="120"/>
                </a:cxn>
                <a:cxn ang="0">
                  <a:pos x="21" y="108"/>
                </a:cxn>
                <a:cxn ang="0">
                  <a:pos x="9" y="94"/>
                </a:cxn>
                <a:cxn ang="0">
                  <a:pos x="4" y="85"/>
                </a:cxn>
                <a:cxn ang="0">
                  <a:pos x="2" y="78"/>
                </a:cxn>
                <a:cxn ang="0">
                  <a:pos x="0" y="67"/>
                </a:cxn>
                <a:cxn ang="0">
                  <a:pos x="0" y="59"/>
                </a:cxn>
                <a:cxn ang="0">
                  <a:pos x="0" y="59"/>
                </a:cxn>
                <a:cxn ang="0">
                  <a:pos x="2" y="50"/>
                </a:cxn>
                <a:cxn ang="0">
                  <a:pos x="4" y="39"/>
                </a:cxn>
                <a:cxn ang="0">
                  <a:pos x="9" y="30"/>
                </a:cxn>
                <a:cxn ang="0">
                  <a:pos x="16" y="22"/>
                </a:cxn>
                <a:cxn ang="0">
                  <a:pos x="21" y="14"/>
                </a:cxn>
                <a:cxn ang="0">
                  <a:pos x="30" y="9"/>
                </a:cxn>
                <a:cxn ang="0">
                  <a:pos x="39" y="4"/>
                </a:cxn>
                <a:cxn ang="0">
                  <a:pos x="48" y="0"/>
                </a:cxn>
                <a:cxn ang="0">
                  <a:pos x="48" y="0"/>
                </a:cxn>
                <a:cxn ang="0">
                  <a:pos x="56" y="0"/>
                </a:cxn>
                <a:cxn ang="0">
                  <a:pos x="67" y="2"/>
                </a:cxn>
                <a:cxn ang="0">
                  <a:pos x="78" y="6"/>
                </a:cxn>
                <a:cxn ang="0">
                  <a:pos x="90" y="11"/>
                </a:cxn>
                <a:cxn ang="0">
                  <a:pos x="99" y="18"/>
                </a:cxn>
                <a:cxn ang="0">
                  <a:pos x="107" y="29"/>
                </a:cxn>
                <a:cxn ang="0">
                  <a:pos x="115" y="39"/>
                </a:cxn>
                <a:cxn ang="0">
                  <a:pos x="120" y="51"/>
                </a:cxn>
                <a:cxn ang="0">
                  <a:pos x="120" y="51"/>
                </a:cxn>
              </a:cxnLst>
              <a:rect l="0" t="0" r="r" b="b"/>
              <a:pathLst>
                <a:path w="120" h="125">
                  <a:moveTo>
                    <a:pt x="120" y="51"/>
                  </a:moveTo>
                  <a:lnTo>
                    <a:pt x="120" y="51"/>
                  </a:lnTo>
                  <a:lnTo>
                    <a:pt x="118" y="59"/>
                  </a:lnTo>
                  <a:lnTo>
                    <a:pt x="116" y="74"/>
                  </a:lnTo>
                  <a:lnTo>
                    <a:pt x="115" y="83"/>
                  </a:lnTo>
                  <a:lnTo>
                    <a:pt x="111" y="92"/>
                  </a:lnTo>
                  <a:lnTo>
                    <a:pt x="107" y="101"/>
                  </a:lnTo>
                  <a:lnTo>
                    <a:pt x="102" y="108"/>
                  </a:lnTo>
                  <a:lnTo>
                    <a:pt x="102" y="108"/>
                  </a:lnTo>
                  <a:lnTo>
                    <a:pt x="93" y="113"/>
                  </a:lnTo>
                  <a:lnTo>
                    <a:pt x="85" y="118"/>
                  </a:lnTo>
                  <a:lnTo>
                    <a:pt x="76" y="122"/>
                  </a:lnTo>
                  <a:lnTo>
                    <a:pt x="67" y="125"/>
                  </a:lnTo>
                  <a:lnTo>
                    <a:pt x="56" y="125"/>
                  </a:lnTo>
                  <a:lnTo>
                    <a:pt x="48" y="125"/>
                  </a:lnTo>
                  <a:lnTo>
                    <a:pt x="39" y="124"/>
                  </a:lnTo>
                  <a:lnTo>
                    <a:pt x="34" y="120"/>
                  </a:lnTo>
                  <a:lnTo>
                    <a:pt x="34" y="120"/>
                  </a:lnTo>
                  <a:lnTo>
                    <a:pt x="21" y="108"/>
                  </a:lnTo>
                  <a:lnTo>
                    <a:pt x="9" y="94"/>
                  </a:lnTo>
                  <a:lnTo>
                    <a:pt x="4" y="85"/>
                  </a:lnTo>
                  <a:lnTo>
                    <a:pt x="2" y="78"/>
                  </a:lnTo>
                  <a:lnTo>
                    <a:pt x="0" y="67"/>
                  </a:lnTo>
                  <a:lnTo>
                    <a:pt x="0" y="59"/>
                  </a:lnTo>
                  <a:lnTo>
                    <a:pt x="0" y="59"/>
                  </a:lnTo>
                  <a:lnTo>
                    <a:pt x="2" y="50"/>
                  </a:lnTo>
                  <a:lnTo>
                    <a:pt x="4" y="39"/>
                  </a:lnTo>
                  <a:lnTo>
                    <a:pt x="9" y="30"/>
                  </a:lnTo>
                  <a:lnTo>
                    <a:pt x="16" y="22"/>
                  </a:lnTo>
                  <a:lnTo>
                    <a:pt x="21" y="14"/>
                  </a:lnTo>
                  <a:lnTo>
                    <a:pt x="30" y="9"/>
                  </a:lnTo>
                  <a:lnTo>
                    <a:pt x="39" y="4"/>
                  </a:lnTo>
                  <a:lnTo>
                    <a:pt x="48" y="0"/>
                  </a:lnTo>
                  <a:lnTo>
                    <a:pt x="48" y="0"/>
                  </a:lnTo>
                  <a:lnTo>
                    <a:pt x="56" y="0"/>
                  </a:lnTo>
                  <a:lnTo>
                    <a:pt x="67" y="2"/>
                  </a:lnTo>
                  <a:lnTo>
                    <a:pt x="78" y="6"/>
                  </a:lnTo>
                  <a:lnTo>
                    <a:pt x="90" y="11"/>
                  </a:lnTo>
                  <a:lnTo>
                    <a:pt x="99" y="18"/>
                  </a:lnTo>
                  <a:lnTo>
                    <a:pt x="107" y="29"/>
                  </a:lnTo>
                  <a:lnTo>
                    <a:pt x="115" y="39"/>
                  </a:lnTo>
                  <a:lnTo>
                    <a:pt x="120" y="51"/>
                  </a:lnTo>
                  <a:lnTo>
                    <a:pt x="120" y="5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09" name="Freeform 35">
              <a:extLst>
                <a:ext uri="{FF2B5EF4-FFF2-40B4-BE49-F238E27FC236}">
                  <a16:creationId xmlns:a16="http://schemas.microsoft.com/office/drawing/2014/main" id="{4EF540AB-77A9-47AD-90FF-F98C14AD205E}"/>
                </a:ext>
              </a:extLst>
            </p:cNvPr>
            <p:cNvSpPr>
              <a:spLocks/>
            </p:cNvSpPr>
            <p:nvPr/>
          </p:nvSpPr>
          <p:spPr bwMode="auto">
            <a:xfrm>
              <a:off x="5330385" y="6066596"/>
              <a:ext cx="146334" cy="137411"/>
            </a:xfrm>
            <a:custGeom>
              <a:avLst/>
              <a:gdLst/>
              <a:ahLst/>
              <a:cxnLst>
                <a:cxn ang="0">
                  <a:pos x="126" y="4"/>
                </a:cxn>
                <a:cxn ang="0">
                  <a:pos x="126" y="4"/>
                </a:cxn>
                <a:cxn ang="0">
                  <a:pos x="137" y="7"/>
                </a:cxn>
                <a:cxn ang="0">
                  <a:pos x="144" y="12"/>
                </a:cxn>
                <a:cxn ang="0">
                  <a:pos x="149" y="18"/>
                </a:cxn>
                <a:cxn ang="0">
                  <a:pos x="153" y="25"/>
                </a:cxn>
                <a:cxn ang="0">
                  <a:pos x="158" y="37"/>
                </a:cxn>
                <a:cxn ang="0">
                  <a:pos x="162" y="53"/>
                </a:cxn>
                <a:cxn ang="0">
                  <a:pos x="162" y="53"/>
                </a:cxn>
                <a:cxn ang="0">
                  <a:pos x="163" y="62"/>
                </a:cxn>
                <a:cxn ang="0">
                  <a:pos x="163" y="72"/>
                </a:cxn>
                <a:cxn ang="0">
                  <a:pos x="163" y="83"/>
                </a:cxn>
                <a:cxn ang="0">
                  <a:pos x="162" y="95"/>
                </a:cxn>
                <a:cxn ang="0">
                  <a:pos x="158" y="106"/>
                </a:cxn>
                <a:cxn ang="0">
                  <a:pos x="155" y="114"/>
                </a:cxn>
                <a:cxn ang="0">
                  <a:pos x="149" y="120"/>
                </a:cxn>
                <a:cxn ang="0">
                  <a:pos x="144" y="123"/>
                </a:cxn>
                <a:cxn ang="0">
                  <a:pos x="144" y="123"/>
                </a:cxn>
                <a:cxn ang="0">
                  <a:pos x="130" y="125"/>
                </a:cxn>
                <a:cxn ang="0">
                  <a:pos x="114" y="127"/>
                </a:cxn>
                <a:cxn ang="0">
                  <a:pos x="98" y="130"/>
                </a:cxn>
                <a:cxn ang="0">
                  <a:pos x="91" y="134"/>
                </a:cxn>
                <a:cxn ang="0">
                  <a:pos x="84" y="137"/>
                </a:cxn>
                <a:cxn ang="0">
                  <a:pos x="84" y="137"/>
                </a:cxn>
                <a:cxn ang="0">
                  <a:pos x="68" y="146"/>
                </a:cxn>
                <a:cxn ang="0">
                  <a:pos x="59" y="150"/>
                </a:cxn>
                <a:cxn ang="0">
                  <a:pos x="51" y="151"/>
                </a:cxn>
                <a:cxn ang="0">
                  <a:pos x="42" y="153"/>
                </a:cxn>
                <a:cxn ang="0">
                  <a:pos x="33" y="151"/>
                </a:cxn>
                <a:cxn ang="0">
                  <a:pos x="26" y="148"/>
                </a:cxn>
                <a:cxn ang="0">
                  <a:pos x="21" y="143"/>
                </a:cxn>
                <a:cxn ang="0">
                  <a:pos x="21" y="143"/>
                </a:cxn>
                <a:cxn ang="0">
                  <a:pos x="10" y="127"/>
                </a:cxn>
                <a:cxn ang="0">
                  <a:pos x="3" y="107"/>
                </a:cxn>
                <a:cxn ang="0">
                  <a:pos x="0" y="97"/>
                </a:cxn>
                <a:cxn ang="0">
                  <a:pos x="0" y="88"/>
                </a:cxn>
                <a:cxn ang="0">
                  <a:pos x="1" y="81"/>
                </a:cxn>
                <a:cxn ang="0">
                  <a:pos x="7" y="74"/>
                </a:cxn>
                <a:cxn ang="0">
                  <a:pos x="7" y="74"/>
                </a:cxn>
                <a:cxn ang="0">
                  <a:pos x="29" y="55"/>
                </a:cxn>
                <a:cxn ang="0">
                  <a:pos x="54" y="35"/>
                </a:cxn>
                <a:cxn ang="0">
                  <a:pos x="54" y="35"/>
                </a:cxn>
                <a:cxn ang="0">
                  <a:pos x="68" y="21"/>
                </a:cxn>
                <a:cxn ang="0">
                  <a:pos x="75" y="14"/>
                </a:cxn>
                <a:cxn ang="0">
                  <a:pos x="82" y="9"/>
                </a:cxn>
                <a:cxn ang="0">
                  <a:pos x="91" y="4"/>
                </a:cxn>
                <a:cxn ang="0">
                  <a:pos x="100" y="0"/>
                </a:cxn>
                <a:cxn ang="0">
                  <a:pos x="112" y="0"/>
                </a:cxn>
                <a:cxn ang="0">
                  <a:pos x="126" y="4"/>
                </a:cxn>
                <a:cxn ang="0">
                  <a:pos x="126" y="4"/>
                </a:cxn>
              </a:cxnLst>
              <a:rect l="0" t="0" r="r" b="b"/>
              <a:pathLst>
                <a:path w="163" h="153">
                  <a:moveTo>
                    <a:pt x="126" y="4"/>
                  </a:moveTo>
                  <a:lnTo>
                    <a:pt x="126" y="4"/>
                  </a:lnTo>
                  <a:lnTo>
                    <a:pt x="137" y="7"/>
                  </a:lnTo>
                  <a:lnTo>
                    <a:pt x="144" y="12"/>
                  </a:lnTo>
                  <a:lnTo>
                    <a:pt x="149" y="18"/>
                  </a:lnTo>
                  <a:lnTo>
                    <a:pt x="153" y="25"/>
                  </a:lnTo>
                  <a:lnTo>
                    <a:pt x="158" y="37"/>
                  </a:lnTo>
                  <a:lnTo>
                    <a:pt x="162" y="53"/>
                  </a:lnTo>
                  <a:lnTo>
                    <a:pt x="162" y="53"/>
                  </a:lnTo>
                  <a:lnTo>
                    <a:pt x="163" y="62"/>
                  </a:lnTo>
                  <a:lnTo>
                    <a:pt x="163" y="72"/>
                  </a:lnTo>
                  <a:lnTo>
                    <a:pt x="163" y="83"/>
                  </a:lnTo>
                  <a:lnTo>
                    <a:pt x="162" y="95"/>
                  </a:lnTo>
                  <a:lnTo>
                    <a:pt x="158" y="106"/>
                  </a:lnTo>
                  <a:lnTo>
                    <a:pt x="155" y="114"/>
                  </a:lnTo>
                  <a:lnTo>
                    <a:pt x="149" y="120"/>
                  </a:lnTo>
                  <a:lnTo>
                    <a:pt x="144" y="123"/>
                  </a:lnTo>
                  <a:lnTo>
                    <a:pt x="144" y="123"/>
                  </a:lnTo>
                  <a:lnTo>
                    <a:pt x="130" y="125"/>
                  </a:lnTo>
                  <a:lnTo>
                    <a:pt x="114" y="127"/>
                  </a:lnTo>
                  <a:lnTo>
                    <a:pt x="98" y="130"/>
                  </a:lnTo>
                  <a:lnTo>
                    <a:pt x="91" y="134"/>
                  </a:lnTo>
                  <a:lnTo>
                    <a:pt x="84" y="137"/>
                  </a:lnTo>
                  <a:lnTo>
                    <a:pt x="84" y="137"/>
                  </a:lnTo>
                  <a:lnTo>
                    <a:pt x="68" y="146"/>
                  </a:lnTo>
                  <a:lnTo>
                    <a:pt x="59" y="150"/>
                  </a:lnTo>
                  <a:lnTo>
                    <a:pt x="51" y="151"/>
                  </a:lnTo>
                  <a:lnTo>
                    <a:pt x="42" y="153"/>
                  </a:lnTo>
                  <a:lnTo>
                    <a:pt x="33" y="151"/>
                  </a:lnTo>
                  <a:lnTo>
                    <a:pt x="26" y="148"/>
                  </a:lnTo>
                  <a:lnTo>
                    <a:pt x="21" y="143"/>
                  </a:lnTo>
                  <a:lnTo>
                    <a:pt x="21" y="143"/>
                  </a:lnTo>
                  <a:lnTo>
                    <a:pt x="10" y="127"/>
                  </a:lnTo>
                  <a:lnTo>
                    <a:pt x="3" y="107"/>
                  </a:lnTo>
                  <a:lnTo>
                    <a:pt x="0" y="97"/>
                  </a:lnTo>
                  <a:lnTo>
                    <a:pt x="0" y="88"/>
                  </a:lnTo>
                  <a:lnTo>
                    <a:pt x="1" y="81"/>
                  </a:lnTo>
                  <a:lnTo>
                    <a:pt x="7" y="74"/>
                  </a:lnTo>
                  <a:lnTo>
                    <a:pt x="7" y="74"/>
                  </a:lnTo>
                  <a:lnTo>
                    <a:pt x="29" y="55"/>
                  </a:lnTo>
                  <a:lnTo>
                    <a:pt x="54" y="35"/>
                  </a:lnTo>
                  <a:lnTo>
                    <a:pt x="54" y="35"/>
                  </a:lnTo>
                  <a:lnTo>
                    <a:pt x="68" y="21"/>
                  </a:lnTo>
                  <a:lnTo>
                    <a:pt x="75" y="14"/>
                  </a:lnTo>
                  <a:lnTo>
                    <a:pt x="82" y="9"/>
                  </a:lnTo>
                  <a:lnTo>
                    <a:pt x="91" y="4"/>
                  </a:lnTo>
                  <a:lnTo>
                    <a:pt x="100" y="0"/>
                  </a:lnTo>
                  <a:lnTo>
                    <a:pt x="112" y="0"/>
                  </a:lnTo>
                  <a:lnTo>
                    <a:pt x="126" y="4"/>
                  </a:lnTo>
                  <a:lnTo>
                    <a:pt x="126"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0" name="Freeform 36">
              <a:extLst>
                <a:ext uri="{FF2B5EF4-FFF2-40B4-BE49-F238E27FC236}">
                  <a16:creationId xmlns:a16="http://schemas.microsoft.com/office/drawing/2014/main" id="{C6E6A590-C0B7-46B4-B452-7D2C828CDD50}"/>
                </a:ext>
              </a:extLst>
            </p:cNvPr>
            <p:cNvSpPr>
              <a:spLocks/>
            </p:cNvSpPr>
            <p:nvPr/>
          </p:nvSpPr>
          <p:spPr bwMode="auto">
            <a:xfrm>
              <a:off x="4912798" y="5345635"/>
              <a:ext cx="590688" cy="628164"/>
            </a:xfrm>
            <a:custGeom>
              <a:avLst/>
              <a:gdLst/>
              <a:ahLst/>
              <a:cxnLst>
                <a:cxn ang="0">
                  <a:pos x="7" y="302"/>
                </a:cxn>
                <a:cxn ang="0">
                  <a:pos x="14" y="294"/>
                </a:cxn>
                <a:cxn ang="0">
                  <a:pos x="34" y="292"/>
                </a:cxn>
                <a:cxn ang="0">
                  <a:pos x="62" y="299"/>
                </a:cxn>
                <a:cxn ang="0">
                  <a:pos x="72" y="297"/>
                </a:cxn>
                <a:cxn ang="0">
                  <a:pos x="81" y="285"/>
                </a:cxn>
                <a:cxn ang="0">
                  <a:pos x="90" y="232"/>
                </a:cxn>
                <a:cxn ang="0">
                  <a:pos x="88" y="155"/>
                </a:cxn>
                <a:cxn ang="0">
                  <a:pos x="86" y="91"/>
                </a:cxn>
                <a:cxn ang="0">
                  <a:pos x="99" y="54"/>
                </a:cxn>
                <a:cxn ang="0">
                  <a:pos x="118" y="45"/>
                </a:cxn>
                <a:cxn ang="0">
                  <a:pos x="167" y="35"/>
                </a:cxn>
                <a:cxn ang="0">
                  <a:pos x="227" y="26"/>
                </a:cxn>
                <a:cxn ang="0">
                  <a:pos x="241" y="24"/>
                </a:cxn>
                <a:cxn ang="0">
                  <a:pos x="262" y="37"/>
                </a:cxn>
                <a:cxn ang="0">
                  <a:pos x="277" y="47"/>
                </a:cxn>
                <a:cxn ang="0">
                  <a:pos x="299" y="49"/>
                </a:cxn>
                <a:cxn ang="0">
                  <a:pos x="308" y="42"/>
                </a:cxn>
                <a:cxn ang="0">
                  <a:pos x="336" y="19"/>
                </a:cxn>
                <a:cxn ang="0">
                  <a:pos x="352" y="15"/>
                </a:cxn>
                <a:cxn ang="0">
                  <a:pos x="389" y="8"/>
                </a:cxn>
                <a:cxn ang="0">
                  <a:pos x="400" y="0"/>
                </a:cxn>
                <a:cxn ang="0">
                  <a:pos x="419" y="14"/>
                </a:cxn>
                <a:cxn ang="0">
                  <a:pos x="428" y="24"/>
                </a:cxn>
                <a:cxn ang="0">
                  <a:pos x="446" y="82"/>
                </a:cxn>
                <a:cxn ang="0">
                  <a:pos x="467" y="116"/>
                </a:cxn>
                <a:cxn ang="0">
                  <a:pos x="495" y="140"/>
                </a:cxn>
                <a:cxn ang="0">
                  <a:pos x="528" y="172"/>
                </a:cxn>
                <a:cxn ang="0">
                  <a:pos x="550" y="207"/>
                </a:cxn>
                <a:cxn ang="0">
                  <a:pos x="572" y="239"/>
                </a:cxn>
                <a:cxn ang="0">
                  <a:pos x="595" y="262"/>
                </a:cxn>
                <a:cxn ang="0">
                  <a:pos x="655" y="308"/>
                </a:cxn>
                <a:cxn ang="0">
                  <a:pos x="660" y="317"/>
                </a:cxn>
                <a:cxn ang="0">
                  <a:pos x="625" y="354"/>
                </a:cxn>
                <a:cxn ang="0">
                  <a:pos x="606" y="366"/>
                </a:cxn>
                <a:cxn ang="0">
                  <a:pos x="581" y="383"/>
                </a:cxn>
                <a:cxn ang="0">
                  <a:pos x="513" y="449"/>
                </a:cxn>
                <a:cxn ang="0">
                  <a:pos x="498" y="466"/>
                </a:cxn>
                <a:cxn ang="0">
                  <a:pos x="469" y="494"/>
                </a:cxn>
                <a:cxn ang="0">
                  <a:pos x="446" y="510"/>
                </a:cxn>
                <a:cxn ang="0">
                  <a:pos x="439" y="517"/>
                </a:cxn>
                <a:cxn ang="0">
                  <a:pos x="407" y="583"/>
                </a:cxn>
                <a:cxn ang="0">
                  <a:pos x="388" y="597"/>
                </a:cxn>
                <a:cxn ang="0">
                  <a:pos x="359" y="604"/>
                </a:cxn>
                <a:cxn ang="0">
                  <a:pos x="317" y="600"/>
                </a:cxn>
                <a:cxn ang="0">
                  <a:pos x="268" y="586"/>
                </a:cxn>
                <a:cxn ang="0">
                  <a:pos x="248" y="572"/>
                </a:cxn>
                <a:cxn ang="0">
                  <a:pos x="236" y="567"/>
                </a:cxn>
                <a:cxn ang="0">
                  <a:pos x="227" y="574"/>
                </a:cxn>
                <a:cxn ang="0">
                  <a:pos x="148" y="690"/>
                </a:cxn>
                <a:cxn ang="0">
                  <a:pos x="125" y="699"/>
                </a:cxn>
                <a:cxn ang="0">
                  <a:pos x="93" y="699"/>
                </a:cxn>
                <a:cxn ang="0">
                  <a:pos x="79" y="692"/>
                </a:cxn>
                <a:cxn ang="0">
                  <a:pos x="67" y="662"/>
                </a:cxn>
                <a:cxn ang="0">
                  <a:pos x="65" y="634"/>
                </a:cxn>
                <a:cxn ang="0">
                  <a:pos x="65" y="547"/>
                </a:cxn>
                <a:cxn ang="0">
                  <a:pos x="55" y="537"/>
                </a:cxn>
                <a:cxn ang="0">
                  <a:pos x="7" y="509"/>
                </a:cxn>
              </a:cxnLst>
              <a:rect l="0" t="0" r="r" b="b"/>
              <a:pathLst>
                <a:path w="662" h="702">
                  <a:moveTo>
                    <a:pt x="0" y="507"/>
                  </a:moveTo>
                  <a:lnTo>
                    <a:pt x="7" y="302"/>
                  </a:lnTo>
                  <a:lnTo>
                    <a:pt x="7" y="302"/>
                  </a:lnTo>
                  <a:lnTo>
                    <a:pt x="7" y="301"/>
                  </a:lnTo>
                  <a:lnTo>
                    <a:pt x="9" y="297"/>
                  </a:lnTo>
                  <a:lnTo>
                    <a:pt x="14" y="294"/>
                  </a:lnTo>
                  <a:lnTo>
                    <a:pt x="27" y="292"/>
                  </a:lnTo>
                  <a:lnTo>
                    <a:pt x="27" y="292"/>
                  </a:lnTo>
                  <a:lnTo>
                    <a:pt x="34" y="292"/>
                  </a:lnTo>
                  <a:lnTo>
                    <a:pt x="39" y="292"/>
                  </a:lnTo>
                  <a:lnTo>
                    <a:pt x="51" y="295"/>
                  </a:lnTo>
                  <a:lnTo>
                    <a:pt x="62" y="299"/>
                  </a:lnTo>
                  <a:lnTo>
                    <a:pt x="67" y="299"/>
                  </a:lnTo>
                  <a:lnTo>
                    <a:pt x="72" y="297"/>
                  </a:lnTo>
                  <a:lnTo>
                    <a:pt x="72" y="297"/>
                  </a:lnTo>
                  <a:lnTo>
                    <a:pt x="74" y="295"/>
                  </a:lnTo>
                  <a:lnTo>
                    <a:pt x="78" y="292"/>
                  </a:lnTo>
                  <a:lnTo>
                    <a:pt x="81" y="285"/>
                  </a:lnTo>
                  <a:lnTo>
                    <a:pt x="85" y="273"/>
                  </a:lnTo>
                  <a:lnTo>
                    <a:pt x="86" y="260"/>
                  </a:lnTo>
                  <a:lnTo>
                    <a:pt x="90" y="232"/>
                  </a:lnTo>
                  <a:lnTo>
                    <a:pt x="90" y="213"/>
                  </a:lnTo>
                  <a:lnTo>
                    <a:pt x="90" y="213"/>
                  </a:lnTo>
                  <a:lnTo>
                    <a:pt x="88" y="155"/>
                  </a:lnTo>
                  <a:lnTo>
                    <a:pt x="85" y="103"/>
                  </a:lnTo>
                  <a:lnTo>
                    <a:pt x="85" y="103"/>
                  </a:lnTo>
                  <a:lnTo>
                    <a:pt x="86" y="91"/>
                  </a:lnTo>
                  <a:lnTo>
                    <a:pt x="90" y="75"/>
                  </a:lnTo>
                  <a:lnTo>
                    <a:pt x="95" y="61"/>
                  </a:lnTo>
                  <a:lnTo>
                    <a:pt x="99" y="54"/>
                  </a:lnTo>
                  <a:lnTo>
                    <a:pt x="104" y="51"/>
                  </a:lnTo>
                  <a:lnTo>
                    <a:pt x="104" y="51"/>
                  </a:lnTo>
                  <a:lnTo>
                    <a:pt x="118" y="45"/>
                  </a:lnTo>
                  <a:lnTo>
                    <a:pt x="136" y="42"/>
                  </a:lnTo>
                  <a:lnTo>
                    <a:pt x="167" y="35"/>
                  </a:lnTo>
                  <a:lnTo>
                    <a:pt x="167" y="35"/>
                  </a:lnTo>
                  <a:lnTo>
                    <a:pt x="201" y="31"/>
                  </a:lnTo>
                  <a:lnTo>
                    <a:pt x="218" y="28"/>
                  </a:lnTo>
                  <a:lnTo>
                    <a:pt x="227" y="26"/>
                  </a:lnTo>
                  <a:lnTo>
                    <a:pt x="227" y="26"/>
                  </a:lnTo>
                  <a:lnTo>
                    <a:pt x="233" y="24"/>
                  </a:lnTo>
                  <a:lnTo>
                    <a:pt x="241" y="24"/>
                  </a:lnTo>
                  <a:lnTo>
                    <a:pt x="254" y="26"/>
                  </a:lnTo>
                  <a:lnTo>
                    <a:pt x="254" y="26"/>
                  </a:lnTo>
                  <a:lnTo>
                    <a:pt x="262" y="37"/>
                  </a:lnTo>
                  <a:lnTo>
                    <a:pt x="270" y="44"/>
                  </a:lnTo>
                  <a:lnTo>
                    <a:pt x="277" y="47"/>
                  </a:lnTo>
                  <a:lnTo>
                    <a:pt x="277" y="47"/>
                  </a:lnTo>
                  <a:lnTo>
                    <a:pt x="284" y="49"/>
                  </a:lnTo>
                  <a:lnTo>
                    <a:pt x="291" y="51"/>
                  </a:lnTo>
                  <a:lnTo>
                    <a:pt x="299" y="49"/>
                  </a:lnTo>
                  <a:lnTo>
                    <a:pt x="303" y="47"/>
                  </a:lnTo>
                  <a:lnTo>
                    <a:pt x="308" y="42"/>
                  </a:lnTo>
                  <a:lnTo>
                    <a:pt x="308" y="42"/>
                  </a:lnTo>
                  <a:lnTo>
                    <a:pt x="317" y="33"/>
                  </a:lnTo>
                  <a:lnTo>
                    <a:pt x="326" y="26"/>
                  </a:lnTo>
                  <a:lnTo>
                    <a:pt x="336" y="19"/>
                  </a:lnTo>
                  <a:lnTo>
                    <a:pt x="343" y="17"/>
                  </a:lnTo>
                  <a:lnTo>
                    <a:pt x="352" y="15"/>
                  </a:lnTo>
                  <a:lnTo>
                    <a:pt x="352" y="15"/>
                  </a:lnTo>
                  <a:lnTo>
                    <a:pt x="379" y="14"/>
                  </a:lnTo>
                  <a:lnTo>
                    <a:pt x="386" y="12"/>
                  </a:lnTo>
                  <a:lnTo>
                    <a:pt x="389" y="8"/>
                  </a:lnTo>
                  <a:lnTo>
                    <a:pt x="389" y="8"/>
                  </a:lnTo>
                  <a:lnTo>
                    <a:pt x="400" y="0"/>
                  </a:lnTo>
                  <a:lnTo>
                    <a:pt x="400" y="0"/>
                  </a:lnTo>
                  <a:lnTo>
                    <a:pt x="402" y="1"/>
                  </a:lnTo>
                  <a:lnTo>
                    <a:pt x="410" y="5"/>
                  </a:lnTo>
                  <a:lnTo>
                    <a:pt x="419" y="14"/>
                  </a:lnTo>
                  <a:lnTo>
                    <a:pt x="425" y="19"/>
                  </a:lnTo>
                  <a:lnTo>
                    <a:pt x="428" y="24"/>
                  </a:lnTo>
                  <a:lnTo>
                    <a:pt x="428" y="24"/>
                  </a:lnTo>
                  <a:lnTo>
                    <a:pt x="433" y="44"/>
                  </a:lnTo>
                  <a:lnTo>
                    <a:pt x="440" y="68"/>
                  </a:lnTo>
                  <a:lnTo>
                    <a:pt x="446" y="82"/>
                  </a:lnTo>
                  <a:lnTo>
                    <a:pt x="451" y="95"/>
                  </a:lnTo>
                  <a:lnTo>
                    <a:pt x="458" y="107"/>
                  </a:lnTo>
                  <a:lnTo>
                    <a:pt x="467" y="116"/>
                  </a:lnTo>
                  <a:lnTo>
                    <a:pt x="467" y="116"/>
                  </a:lnTo>
                  <a:lnTo>
                    <a:pt x="481" y="130"/>
                  </a:lnTo>
                  <a:lnTo>
                    <a:pt x="495" y="140"/>
                  </a:lnTo>
                  <a:lnTo>
                    <a:pt x="509" y="155"/>
                  </a:lnTo>
                  <a:lnTo>
                    <a:pt x="528" y="172"/>
                  </a:lnTo>
                  <a:lnTo>
                    <a:pt x="528" y="172"/>
                  </a:lnTo>
                  <a:lnTo>
                    <a:pt x="537" y="183"/>
                  </a:lnTo>
                  <a:lnTo>
                    <a:pt x="544" y="192"/>
                  </a:lnTo>
                  <a:lnTo>
                    <a:pt x="550" y="207"/>
                  </a:lnTo>
                  <a:lnTo>
                    <a:pt x="557" y="221"/>
                  </a:lnTo>
                  <a:lnTo>
                    <a:pt x="564" y="230"/>
                  </a:lnTo>
                  <a:lnTo>
                    <a:pt x="572" y="239"/>
                  </a:lnTo>
                  <a:lnTo>
                    <a:pt x="572" y="239"/>
                  </a:lnTo>
                  <a:lnTo>
                    <a:pt x="583" y="251"/>
                  </a:lnTo>
                  <a:lnTo>
                    <a:pt x="595" y="262"/>
                  </a:lnTo>
                  <a:lnTo>
                    <a:pt x="622" y="281"/>
                  </a:lnTo>
                  <a:lnTo>
                    <a:pt x="643" y="297"/>
                  </a:lnTo>
                  <a:lnTo>
                    <a:pt x="655" y="308"/>
                  </a:lnTo>
                  <a:lnTo>
                    <a:pt x="655" y="308"/>
                  </a:lnTo>
                  <a:lnTo>
                    <a:pt x="659" y="313"/>
                  </a:lnTo>
                  <a:lnTo>
                    <a:pt x="660" y="317"/>
                  </a:lnTo>
                  <a:lnTo>
                    <a:pt x="662" y="320"/>
                  </a:lnTo>
                  <a:lnTo>
                    <a:pt x="662" y="320"/>
                  </a:lnTo>
                  <a:lnTo>
                    <a:pt x="625" y="354"/>
                  </a:lnTo>
                  <a:lnTo>
                    <a:pt x="625" y="354"/>
                  </a:lnTo>
                  <a:lnTo>
                    <a:pt x="618" y="359"/>
                  </a:lnTo>
                  <a:lnTo>
                    <a:pt x="606" y="366"/>
                  </a:lnTo>
                  <a:lnTo>
                    <a:pt x="592" y="375"/>
                  </a:lnTo>
                  <a:lnTo>
                    <a:pt x="581" y="383"/>
                  </a:lnTo>
                  <a:lnTo>
                    <a:pt x="581" y="383"/>
                  </a:lnTo>
                  <a:lnTo>
                    <a:pt x="565" y="399"/>
                  </a:lnTo>
                  <a:lnTo>
                    <a:pt x="539" y="424"/>
                  </a:lnTo>
                  <a:lnTo>
                    <a:pt x="513" y="449"/>
                  </a:lnTo>
                  <a:lnTo>
                    <a:pt x="504" y="459"/>
                  </a:lnTo>
                  <a:lnTo>
                    <a:pt x="498" y="466"/>
                  </a:lnTo>
                  <a:lnTo>
                    <a:pt x="498" y="466"/>
                  </a:lnTo>
                  <a:lnTo>
                    <a:pt x="491" y="477"/>
                  </a:lnTo>
                  <a:lnTo>
                    <a:pt x="481" y="486"/>
                  </a:lnTo>
                  <a:lnTo>
                    <a:pt x="469" y="494"/>
                  </a:lnTo>
                  <a:lnTo>
                    <a:pt x="469" y="494"/>
                  </a:lnTo>
                  <a:lnTo>
                    <a:pt x="454" y="502"/>
                  </a:lnTo>
                  <a:lnTo>
                    <a:pt x="446" y="510"/>
                  </a:lnTo>
                  <a:lnTo>
                    <a:pt x="440" y="514"/>
                  </a:lnTo>
                  <a:lnTo>
                    <a:pt x="439" y="517"/>
                  </a:lnTo>
                  <a:lnTo>
                    <a:pt x="439" y="517"/>
                  </a:lnTo>
                  <a:lnTo>
                    <a:pt x="425" y="553"/>
                  </a:lnTo>
                  <a:lnTo>
                    <a:pt x="414" y="574"/>
                  </a:lnTo>
                  <a:lnTo>
                    <a:pt x="407" y="583"/>
                  </a:lnTo>
                  <a:lnTo>
                    <a:pt x="400" y="590"/>
                  </a:lnTo>
                  <a:lnTo>
                    <a:pt x="400" y="590"/>
                  </a:lnTo>
                  <a:lnTo>
                    <a:pt x="388" y="597"/>
                  </a:lnTo>
                  <a:lnTo>
                    <a:pt x="375" y="602"/>
                  </a:lnTo>
                  <a:lnTo>
                    <a:pt x="366" y="604"/>
                  </a:lnTo>
                  <a:lnTo>
                    <a:pt x="359" y="604"/>
                  </a:lnTo>
                  <a:lnTo>
                    <a:pt x="359" y="604"/>
                  </a:lnTo>
                  <a:lnTo>
                    <a:pt x="340" y="602"/>
                  </a:lnTo>
                  <a:lnTo>
                    <a:pt x="317" y="600"/>
                  </a:lnTo>
                  <a:lnTo>
                    <a:pt x="285" y="595"/>
                  </a:lnTo>
                  <a:lnTo>
                    <a:pt x="285" y="595"/>
                  </a:lnTo>
                  <a:lnTo>
                    <a:pt x="268" y="586"/>
                  </a:lnTo>
                  <a:lnTo>
                    <a:pt x="254" y="575"/>
                  </a:lnTo>
                  <a:lnTo>
                    <a:pt x="254" y="575"/>
                  </a:lnTo>
                  <a:lnTo>
                    <a:pt x="248" y="572"/>
                  </a:lnTo>
                  <a:lnTo>
                    <a:pt x="243" y="567"/>
                  </a:lnTo>
                  <a:lnTo>
                    <a:pt x="240" y="567"/>
                  </a:lnTo>
                  <a:lnTo>
                    <a:pt x="236" y="567"/>
                  </a:lnTo>
                  <a:lnTo>
                    <a:pt x="233" y="570"/>
                  </a:lnTo>
                  <a:lnTo>
                    <a:pt x="227" y="574"/>
                  </a:lnTo>
                  <a:lnTo>
                    <a:pt x="227" y="574"/>
                  </a:lnTo>
                  <a:lnTo>
                    <a:pt x="167" y="660"/>
                  </a:lnTo>
                  <a:lnTo>
                    <a:pt x="167" y="660"/>
                  </a:lnTo>
                  <a:lnTo>
                    <a:pt x="148" y="690"/>
                  </a:lnTo>
                  <a:lnTo>
                    <a:pt x="148" y="690"/>
                  </a:lnTo>
                  <a:lnTo>
                    <a:pt x="141" y="693"/>
                  </a:lnTo>
                  <a:lnTo>
                    <a:pt x="125" y="699"/>
                  </a:lnTo>
                  <a:lnTo>
                    <a:pt x="116" y="701"/>
                  </a:lnTo>
                  <a:lnTo>
                    <a:pt x="104" y="702"/>
                  </a:lnTo>
                  <a:lnTo>
                    <a:pt x="93" y="699"/>
                  </a:lnTo>
                  <a:lnTo>
                    <a:pt x="83" y="693"/>
                  </a:lnTo>
                  <a:lnTo>
                    <a:pt x="83" y="693"/>
                  </a:lnTo>
                  <a:lnTo>
                    <a:pt x="79" y="692"/>
                  </a:lnTo>
                  <a:lnTo>
                    <a:pt x="74" y="681"/>
                  </a:lnTo>
                  <a:lnTo>
                    <a:pt x="71" y="672"/>
                  </a:lnTo>
                  <a:lnTo>
                    <a:pt x="67" y="662"/>
                  </a:lnTo>
                  <a:lnTo>
                    <a:pt x="65" y="649"/>
                  </a:lnTo>
                  <a:lnTo>
                    <a:pt x="65" y="634"/>
                  </a:lnTo>
                  <a:lnTo>
                    <a:pt x="65" y="634"/>
                  </a:lnTo>
                  <a:lnTo>
                    <a:pt x="67" y="577"/>
                  </a:lnTo>
                  <a:lnTo>
                    <a:pt x="67" y="560"/>
                  </a:lnTo>
                  <a:lnTo>
                    <a:pt x="65" y="547"/>
                  </a:lnTo>
                  <a:lnTo>
                    <a:pt x="65" y="547"/>
                  </a:lnTo>
                  <a:lnTo>
                    <a:pt x="62" y="542"/>
                  </a:lnTo>
                  <a:lnTo>
                    <a:pt x="55" y="537"/>
                  </a:lnTo>
                  <a:lnTo>
                    <a:pt x="37" y="524"/>
                  </a:lnTo>
                  <a:lnTo>
                    <a:pt x="16" y="512"/>
                  </a:lnTo>
                  <a:lnTo>
                    <a:pt x="7" y="509"/>
                  </a:lnTo>
                  <a:lnTo>
                    <a:pt x="0" y="507"/>
                  </a:lnTo>
                  <a:lnTo>
                    <a:pt x="0" y="50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1" name="Freeform 37">
              <a:extLst>
                <a:ext uri="{FF2B5EF4-FFF2-40B4-BE49-F238E27FC236}">
                  <a16:creationId xmlns:a16="http://schemas.microsoft.com/office/drawing/2014/main" id="{14B9A7B4-4EEF-44CC-A5F2-EDA33BA02970}"/>
                </a:ext>
              </a:extLst>
            </p:cNvPr>
            <p:cNvSpPr>
              <a:spLocks/>
            </p:cNvSpPr>
            <p:nvPr/>
          </p:nvSpPr>
          <p:spPr bwMode="auto">
            <a:xfrm>
              <a:off x="5565946" y="4895927"/>
              <a:ext cx="679916" cy="1017197"/>
            </a:xfrm>
            <a:custGeom>
              <a:avLst/>
              <a:gdLst/>
              <a:ahLst/>
              <a:cxnLst>
                <a:cxn ang="0">
                  <a:pos x="104" y="1108"/>
                </a:cxn>
                <a:cxn ang="0">
                  <a:pos x="100" y="1081"/>
                </a:cxn>
                <a:cxn ang="0">
                  <a:pos x="121" y="1027"/>
                </a:cxn>
                <a:cxn ang="0">
                  <a:pos x="118" y="977"/>
                </a:cxn>
                <a:cxn ang="0">
                  <a:pos x="100" y="919"/>
                </a:cxn>
                <a:cxn ang="0">
                  <a:pos x="112" y="831"/>
                </a:cxn>
                <a:cxn ang="0">
                  <a:pos x="165" y="736"/>
                </a:cxn>
                <a:cxn ang="0">
                  <a:pos x="204" y="688"/>
                </a:cxn>
                <a:cxn ang="0">
                  <a:pos x="211" y="636"/>
                </a:cxn>
                <a:cxn ang="0">
                  <a:pos x="211" y="546"/>
                </a:cxn>
                <a:cxn ang="0">
                  <a:pos x="206" y="479"/>
                </a:cxn>
                <a:cxn ang="0">
                  <a:pos x="186" y="442"/>
                </a:cxn>
                <a:cxn ang="0">
                  <a:pos x="67" y="393"/>
                </a:cxn>
                <a:cxn ang="0">
                  <a:pos x="8" y="368"/>
                </a:cxn>
                <a:cxn ang="0">
                  <a:pos x="5" y="345"/>
                </a:cxn>
                <a:cxn ang="0">
                  <a:pos x="98" y="285"/>
                </a:cxn>
                <a:cxn ang="0">
                  <a:pos x="195" y="252"/>
                </a:cxn>
                <a:cxn ang="0">
                  <a:pos x="259" y="252"/>
                </a:cxn>
                <a:cxn ang="0">
                  <a:pos x="292" y="273"/>
                </a:cxn>
                <a:cxn ang="0">
                  <a:pos x="320" y="319"/>
                </a:cxn>
                <a:cxn ang="0">
                  <a:pos x="313" y="393"/>
                </a:cxn>
                <a:cxn ang="0">
                  <a:pos x="329" y="444"/>
                </a:cxn>
                <a:cxn ang="0">
                  <a:pos x="354" y="449"/>
                </a:cxn>
                <a:cxn ang="0">
                  <a:pos x="405" y="391"/>
                </a:cxn>
                <a:cxn ang="0">
                  <a:pos x="408" y="329"/>
                </a:cxn>
                <a:cxn ang="0">
                  <a:pos x="389" y="275"/>
                </a:cxn>
                <a:cxn ang="0">
                  <a:pos x="345" y="160"/>
                </a:cxn>
                <a:cxn ang="0">
                  <a:pos x="347" y="67"/>
                </a:cxn>
                <a:cxn ang="0">
                  <a:pos x="421" y="70"/>
                </a:cxn>
                <a:cxn ang="0">
                  <a:pos x="496" y="77"/>
                </a:cxn>
                <a:cxn ang="0">
                  <a:pos x="565" y="63"/>
                </a:cxn>
                <a:cxn ang="0">
                  <a:pos x="685" y="35"/>
                </a:cxn>
                <a:cxn ang="0">
                  <a:pos x="727" y="12"/>
                </a:cxn>
                <a:cxn ang="0">
                  <a:pos x="752" y="0"/>
                </a:cxn>
                <a:cxn ang="0">
                  <a:pos x="760" y="19"/>
                </a:cxn>
                <a:cxn ang="0">
                  <a:pos x="748" y="127"/>
                </a:cxn>
                <a:cxn ang="0">
                  <a:pos x="746" y="213"/>
                </a:cxn>
                <a:cxn ang="0">
                  <a:pos x="736" y="278"/>
                </a:cxn>
                <a:cxn ang="0">
                  <a:pos x="750" y="324"/>
                </a:cxn>
                <a:cxn ang="0">
                  <a:pos x="716" y="384"/>
                </a:cxn>
                <a:cxn ang="0">
                  <a:pos x="635" y="449"/>
                </a:cxn>
                <a:cxn ang="0">
                  <a:pos x="558" y="479"/>
                </a:cxn>
                <a:cxn ang="0">
                  <a:pos x="510" y="507"/>
                </a:cxn>
                <a:cxn ang="0">
                  <a:pos x="470" y="553"/>
                </a:cxn>
                <a:cxn ang="0">
                  <a:pos x="449" y="586"/>
                </a:cxn>
                <a:cxn ang="0">
                  <a:pos x="385" y="634"/>
                </a:cxn>
                <a:cxn ang="0">
                  <a:pos x="338" y="685"/>
                </a:cxn>
                <a:cxn ang="0">
                  <a:pos x="345" y="777"/>
                </a:cxn>
                <a:cxn ang="0">
                  <a:pos x="347" y="889"/>
                </a:cxn>
                <a:cxn ang="0">
                  <a:pos x="333" y="1007"/>
                </a:cxn>
                <a:cxn ang="0">
                  <a:pos x="287" y="1058"/>
                </a:cxn>
                <a:cxn ang="0">
                  <a:pos x="174" y="1097"/>
                </a:cxn>
                <a:cxn ang="0">
                  <a:pos x="144" y="1122"/>
                </a:cxn>
              </a:cxnLst>
              <a:rect l="0" t="0" r="r" b="b"/>
              <a:pathLst>
                <a:path w="760" h="1139">
                  <a:moveTo>
                    <a:pt x="139" y="1139"/>
                  </a:moveTo>
                  <a:lnTo>
                    <a:pt x="139" y="1139"/>
                  </a:lnTo>
                  <a:lnTo>
                    <a:pt x="123" y="1129"/>
                  </a:lnTo>
                  <a:lnTo>
                    <a:pt x="112" y="1118"/>
                  </a:lnTo>
                  <a:lnTo>
                    <a:pt x="104" y="1108"/>
                  </a:lnTo>
                  <a:lnTo>
                    <a:pt x="104" y="1108"/>
                  </a:lnTo>
                  <a:lnTo>
                    <a:pt x="98" y="1095"/>
                  </a:lnTo>
                  <a:lnTo>
                    <a:pt x="98" y="1090"/>
                  </a:lnTo>
                  <a:lnTo>
                    <a:pt x="100" y="1081"/>
                  </a:lnTo>
                  <a:lnTo>
                    <a:pt x="100" y="1081"/>
                  </a:lnTo>
                  <a:lnTo>
                    <a:pt x="104" y="1067"/>
                  </a:lnTo>
                  <a:lnTo>
                    <a:pt x="111" y="1051"/>
                  </a:lnTo>
                  <a:lnTo>
                    <a:pt x="119" y="1035"/>
                  </a:lnTo>
                  <a:lnTo>
                    <a:pt x="121" y="1027"/>
                  </a:lnTo>
                  <a:lnTo>
                    <a:pt x="121" y="1027"/>
                  </a:lnTo>
                  <a:lnTo>
                    <a:pt x="119" y="1011"/>
                  </a:lnTo>
                  <a:lnTo>
                    <a:pt x="118" y="1002"/>
                  </a:lnTo>
                  <a:lnTo>
                    <a:pt x="116" y="993"/>
                  </a:lnTo>
                  <a:lnTo>
                    <a:pt x="116" y="993"/>
                  </a:lnTo>
                  <a:lnTo>
                    <a:pt x="118" y="977"/>
                  </a:lnTo>
                  <a:lnTo>
                    <a:pt x="118" y="969"/>
                  </a:lnTo>
                  <a:lnTo>
                    <a:pt x="118" y="961"/>
                  </a:lnTo>
                  <a:lnTo>
                    <a:pt x="118" y="961"/>
                  </a:lnTo>
                  <a:lnTo>
                    <a:pt x="100" y="919"/>
                  </a:lnTo>
                  <a:lnTo>
                    <a:pt x="100" y="919"/>
                  </a:lnTo>
                  <a:lnTo>
                    <a:pt x="95" y="907"/>
                  </a:lnTo>
                  <a:lnTo>
                    <a:pt x="91" y="889"/>
                  </a:lnTo>
                  <a:lnTo>
                    <a:pt x="86" y="866"/>
                  </a:lnTo>
                  <a:lnTo>
                    <a:pt x="86" y="866"/>
                  </a:lnTo>
                  <a:lnTo>
                    <a:pt x="112" y="831"/>
                  </a:lnTo>
                  <a:lnTo>
                    <a:pt x="132" y="801"/>
                  </a:lnTo>
                  <a:lnTo>
                    <a:pt x="146" y="778"/>
                  </a:lnTo>
                  <a:lnTo>
                    <a:pt x="146" y="778"/>
                  </a:lnTo>
                  <a:lnTo>
                    <a:pt x="158" y="750"/>
                  </a:lnTo>
                  <a:lnTo>
                    <a:pt x="165" y="736"/>
                  </a:lnTo>
                  <a:lnTo>
                    <a:pt x="174" y="722"/>
                  </a:lnTo>
                  <a:lnTo>
                    <a:pt x="174" y="722"/>
                  </a:lnTo>
                  <a:lnTo>
                    <a:pt x="188" y="706"/>
                  </a:lnTo>
                  <a:lnTo>
                    <a:pt x="197" y="699"/>
                  </a:lnTo>
                  <a:lnTo>
                    <a:pt x="204" y="688"/>
                  </a:lnTo>
                  <a:lnTo>
                    <a:pt x="209" y="678"/>
                  </a:lnTo>
                  <a:lnTo>
                    <a:pt x="213" y="666"/>
                  </a:lnTo>
                  <a:lnTo>
                    <a:pt x="213" y="651"/>
                  </a:lnTo>
                  <a:lnTo>
                    <a:pt x="211" y="636"/>
                  </a:lnTo>
                  <a:lnTo>
                    <a:pt x="211" y="636"/>
                  </a:lnTo>
                  <a:lnTo>
                    <a:pt x="207" y="618"/>
                  </a:lnTo>
                  <a:lnTo>
                    <a:pt x="206" y="602"/>
                  </a:lnTo>
                  <a:lnTo>
                    <a:pt x="207" y="586"/>
                  </a:lnTo>
                  <a:lnTo>
                    <a:pt x="207" y="572"/>
                  </a:lnTo>
                  <a:lnTo>
                    <a:pt x="211" y="546"/>
                  </a:lnTo>
                  <a:lnTo>
                    <a:pt x="213" y="535"/>
                  </a:lnTo>
                  <a:lnTo>
                    <a:pt x="213" y="525"/>
                  </a:lnTo>
                  <a:lnTo>
                    <a:pt x="213" y="525"/>
                  </a:lnTo>
                  <a:lnTo>
                    <a:pt x="209" y="504"/>
                  </a:lnTo>
                  <a:lnTo>
                    <a:pt x="206" y="479"/>
                  </a:lnTo>
                  <a:lnTo>
                    <a:pt x="202" y="467"/>
                  </a:lnTo>
                  <a:lnTo>
                    <a:pt x="199" y="456"/>
                  </a:lnTo>
                  <a:lnTo>
                    <a:pt x="193" y="447"/>
                  </a:lnTo>
                  <a:lnTo>
                    <a:pt x="186" y="442"/>
                  </a:lnTo>
                  <a:lnTo>
                    <a:pt x="186" y="442"/>
                  </a:lnTo>
                  <a:lnTo>
                    <a:pt x="167" y="431"/>
                  </a:lnTo>
                  <a:lnTo>
                    <a:pt x="144" y="421"/>
                  </a:lnTo>
                  <a:lnTo>
                    <a:pt x="107" y="405"/>
                  </a:lnTo>
                  <a:lnTo>
                    <a:pt x="107" y="405"/>
                  </a:lnTo>
                  <a:lnTo>
                    <a:pt x="67" y="393"/>
                  </a:lnTo>
                  <a:lnTo>
                    <a:pt x="44" y="384"/>
                  </a:lnTo>
                  <a:lnTo>
                    <a:pt x="30" y="378"/>
                  </a:lnTo>
                  <a:lnTo>
                    <a:pt x="30" y="378"/>
                  </a:lnTo>
                  <a:lnTo>
                    <a:pt x="21" y="373"/>
                  </a:lnTo>
                  <a:lnTo>
                    <a:pt x="8" y="368"/>
                  </a:lnTo>
                  <a:lnTo>
                    <a:pt x="3" y="363"/>
                  </a:lnTo>
                  <a:lnTo>
                    <a:pt x="0" y="357"/>
                  </a:lnTo>
                  <a:lnTo>
                    <a:pt x="0" y="352"/>
                  </a:lnTo>
                  <a:lnTo>
                    <a:pt x="5" y="345"/>
                  </a:lnTo>
                  <a:lnTo>
                    <a:pt x="5" y="345"/>
                  </a:lnTo>
                  <a:lnTo>
                    <a:pt x="12" y="336"/>
                  </a:lnTo>
                  <a:lnTo>
                    <a:pt x="23" y="327"/>
                  </a:lnTo>
                  <a:lnTo>
                    <a:pt x="49" y="312"/>
                  </a:lnTo>
                  <a:lnTo>
                    <a:pt x="75" y="296"/>
                  </a:lnTo>
                  <a:lnTo>
                    <a:pt x="98" y="285"/>
                  </a:lnTo>
                  <a:lnTo>
                    <a:pt x="98" y="285"/>
                  </a:lnTo>
                  <a:lnTo>
                    <a:pt x="149" y="264"/>
                  </a:lnTo>
                  <a:lnTo>
                    <a:pt x="176" y="255"/>
                  </a:lnTo>
                  <a:lnTo>
                    <a:pt x="186" y="252"/>
                  </a:lnTo>
                  <a:lnTo>
                    <a:pt x="195" y="252"/>
                  </a:lnTo>
                  <a:lnTo>
                    <a:pt x="195" y="252"/>
                  </a:lnTo>
                  <a:lnTo>
                    <a:pt x="213" y="252"/>
                  </a:lnTo>
                  <a:lnTo>
                    <a:pt x="230" y="250"/>
                  </a:lnTo>
                  <a:lnTo>
                    <a:pt x="250" y="250"/>
                  </a:lnTo>
                  <a:lnTo>
                    <a:pt x="259" y="252"/>
                  </a:lnTo>
                  <a:lnTo>
                    <a:pt x="267" y="253"/>
                  </a:lnTo>
                  <a:lnTo>
                    <a:pt x="267" y="253"/>
                  </a:lnTo>
                  <a:lnTo>
                    <a:pt x="276" y="257"/>
                  </a:lnTo>
                  <a:lnTo>
                    <a:pt x="283" y="264"/>
                  </a:lnTo>
                  <a:lnTo>
                    <a:pt x="292" y="273"/>
                  </a:lnTo>
                  <a:lnTo>
                    <a:pt x="301" y="282"/>
                  </a:lnTo>
                  <a:lnTo>
                    <a:pt x="315" y="303"/>
                  </a:lnTo>
                  <a:lnTo>
                    <a:pt x="318" y="312"/>
                  </a:lnTo>
                  <a:lnTo>
                    <a:pt x="320" y="319"/>
                  </a:lnTo>
                  <a:lnTo>
                    <a:pt x="320" y="319"/>
                  </a:lnTo>
                  <a:lnTo>
                    <a:pt x="322" y="334"/>
                  </a:lnTo>
                  <a:lnTo>
                    <a:pt x="322" y="334"/>
                  </a:lnTo>
                  <a:lnTo>
                    <a:pt x="313" y="384"/>
                  </a:lnTo>
                  <a:lnTo>
                    <a:pt x="313" y="384"/>
                  </a:lnTo>
                  <a:lnTo>
                    <a:pt x="313" y="393"/>
                  </a:lnTo>
                  <a:lnTo>
                    <a:pt x="313" y="401"/>
                  </a:lnTo>
                  <a:lnTo>
                    <a:pt x="315" y="414"/>
                  </a:lnTo>
                  <a:lnTo>
                    <a:pt x="318" y="424"/>
                  </a:lnTo>
                  <a:lnTo>
                    <a:pt x="324" y="435"/>
                  </a:lnTo>
                  <a:lnTo>
                    <a:pt x="329" y="444"/>
                  </a:lnTo>
                  <a:lnTo>
                    <a:pt x="336" y="449"/>
                  </a:lnTo>
                  <a:lnTo>
                    <a:pt x="340" y="451"/>
                  </a:lnTo>
                  <a:lnTo>
                    <a:pt x="345" y="451"/>
                  </a:lnTo>
                  <a:lnTo>
                    <a:pt x="345" y="451"/>
                  </a:lnTo>
                  <a:lnTo>
                    <a:pt x="354" y="449"/>
                  </a:lnTo>
                  <a:lnTo>
                    <a:pt x="362" y="444"/>
                  </a:lnTo>
                  <a:lnTo>
                    <a:pt x="371" y="438"/>
                  </a:lnTo>
                  <a:lnTo>
                    <a:pt x="378" y="430"/>
                  </a:lnTo>
                  <a:lnTo>
                    <a:pt x="392" y="410"/>
                  </a:lnTo>
                  <a:lnTo>
                    <a:pt x="405" y="391"/>
                  </a:lnTo>
                  <a:lnTo>
                    <a:pt x="405" y="391"/>
                  </a:lnTo>
                  <a:lnTo>
                    <a:pt x="408" y="378"/>
                  </a:lnTo>
                  <a:lnTo>
                    <a:pt x="410" y="364"/>
                  </a:lnTo>
                  <a:lnTo>
                    <a:pt x="410" y="347"/>
                  </a:lnTo>
                  <a:lnTo>
                    <a:pt x="408" y="329"/>
                  </a:lnTo>
                  <a:lnTo>
                    <a:pt x="405" y="312"/>
                  </a:lnTo>
                  <a:lnTo>
                    <a:pt x="399" y="296"/>
                  </a:lnTo>
                  <a:lnTo>
                    <a:pt x="394" y="283"/>
                  </a:lnTo>
                  <a:lnTo>
                    <a:pt x="389" y="275"/>
                  </a:lnTo>
                  <a:lnTo>
                    <a:pt x="389" y="275"/>
                  </a:lnTo>
                  <a:lnTo>
                    <a:pt x="380" y="264"/>
                  </a:lnTo>
                  <a:lnTo>
                    <a:pt x="370" y="241"/>
                  </a:lnTo>
                  <a:lnTo>
                    <a:pt x="359" y="213"/>
                  </a:lnTo>
                  <a:lnTo>
                    <a:pt x="348" y="178"/>
                  </a:lnTo>
                  <a:lnTo>
                    <a:pt x="345" y="160"/>
                  </a:lnTo>
                  <a:lnTo>
                    <a:pt x="343" y="141"/>
                  </a:lnTo>
                  <a:lnTo>
                    <a:pt x="341" y="121"/>
                  </a:lnTo>
                  <a:lnTo>
                    <a:pt x="341" y="104"/>
                  </a:lnTo>
                  <a:lnTo>
                    <a:pt x="343" y="84"/>
                  </a:lnTo>
                  <a:lnTo>
                    <a:pt x="347" y="67"/>
                  </a:lnTo>
                  <a:lnTo>
                    <a:pt x="352" y="51"/>
                  </a:lnTo>
                  <a:lnTo>
                    <a:pt x="361" y="35"/>
                  </a:lnTo>
                  <a:lnTo>
                    <a:pt x="361" y="35"/>
                  </a:lnTo>
                  <a:lnTo>
                    <a:pt x="394" y="56"/>
                  </a:lnTo>
                  <a:lnTo>
                    <a:pt x="421" y="70"/>
                  </a:lnTo>
                  <a:lnTo>
                    <a:pt x="431" y="74"/>
                  </a:lnTo>
                  <a:lnTo>
                    <a:pt x="442" y="77"/>
                  </a:lnTo>
                  <a:lnTo>
                    <a:pt x="442" y="77"/>
                  </a:lnTo>
                  <a:lnTo>
                    <a:pt x="463" y="77"/>
                  </a:lnTo>
                  <a:lnTo>
                    <a:pt x="496" y="77"/>
                  </a:lnTo>
                  <a:lnTo>
                    <a:pt x="514" y="76"/>
                  </a:lnTo>
                  <a:lnTo>
                    <a:pt x="532" y="74"/>
                  </a:lnTo>
                  <a:lnTo>
                    <a:pt x="549" y="68"/>
                  </a:lnTo>
                  <a:lnTo>
                    <a:pt x="565" y="63"/>
                  </a:lnTo>
                  <a:lnTo>
                    <a:pt x="565" y="63"/>
                  </a:lnTo>
                  <a:lnTo>
                    <a:pt x="598" y="53"/>
                  </a:lnTo>
                  <a:lnTo>
                    <a:pt x="630" y="44"/>
                  </a:lnTo>
                  <a:lnTo>
                    <a:pt x="660" y="39"/>
                  </a:lnTo>
                  <a:lnTo>
                    <a:pt x="685" y="35"/>
                  </a:lnTo>
                  <a:lnTo>
                    <a:pt x="685" y="35"/>
                  </a:lnTo>
                  <a:lnTo>
                    <a:pt x="694" y="33"/>
                  </a:lnTo>
                  <a:lnTo>
                    <a:pt x="702" y="31"/>
                  </a:lnTo>
                  <a:lnTo>
                    <a:pt x="711" y="26"/>
                  </a:lnTo>
                  <a:lnTo>
                    <a:pt x="716" y="23"/>
                  </a:lnTo>
                  <a:lnTo>
                    <a:pt x="727" y="12"/>
                  </a:lnTo>
                  <a:lnTo>
                    <a:pt x="734" y="7"/>
                  </a:lnTo>
                  <a:lnTo>
                    <a:pt x="734" y="7"/>
                  </a:lnTo>
                  <a:lnTo>
                    <a:pt x="739" y="2"/>
                  </a:lnTo>
                  <a:lnTo>
                    <a:pt x="748" y="0"/>
                  </a:lnTo>
                  <a:lnTo>
                    <a:pt x="752" y="0"/>
                  </a:lnTo>
                  <a:lnTo>
                    <a:pt x="755" y="2"/>
                  </a:lnTo>
                  <a:lnTo>
                    <a:pt x="759" y="5"/>
                  </a:lnTo>
                  <a:lnTo>
                    <a:pt x="760" y="10"/>
                  </a:lnTo>
                  <a:lnTo>
                    <a:pt x="760" y="10"/>
                  </a:lnTo>
                  <a:lnTo>
                    <a:pt x="760" y="19"/>
                  </a:lnTo>
                  <a:lnTo>
                    <a:pt x="760" y="33"/>
                  </a:lnTo>
                  <a:lnTo>
                    <a:pt x="755" y="67"/>
                  </a:lnTo>
                  <a:lnTo>
                    <a:pt x="750" y="102"/>
                  </a:lnTo>
                  <a:lnTo>
                    <a:pt x="748" y="127"/>
                  </a:lnTo>
                  <a:lnTo>
                    <a:pt x="748" y="127"/>
                  </a:lnTo>
                  <a:lnTo>
                    <a:pt x="750" y="160"/>
                  </a:lnTo>
                  <a:lnTo>
                    <a:pt x="752" y="190"/>
                  </a:lnTo>
                  <a:lnTo>
                    <a:pt x="752" y="190"/>
                  </a:lnTo>
                  <a:lnTo>
                    <a:pt x="750" y="201"/>
                  </a:lnTo>
                  <a:lnTo>
                    <a:pt x="746" y="213"/>
                  </a:lnTo>
                  <a:lnTo>
                    <a:pt x="741" y="225"/>
                  </a:lnTo>
                  <a:lnTo>
                    <a:pt x="738" y="243"/>
                  </a:lnTo>
                  <a:lnTo>
                    <a:pt x="738" y="243"/>
                  </a:lnTo>
                  <a:lnTo>
                    <a:pt x="734" y="260"/>
                  </a:lnTo>
                  <a:lnTo>
                    <a:pt x="736" y="278"/>
                  </a:lnTo>
                  <a:lnTo>
                    <a:pt x="736" y="278"/>
                  </a:lnTo>
                  <a:lnTo>
                    <a:pt x="738" y="294"/>
                  </a:lnTo>
                  <a:lnTo>
                    <a:pt x="741" y="308"/>
                  </a:lnTo>
                  <a:lnTo>
                    <a:pt x="746" y="319"/>
                  </a:lnTo>
                  <a:lnTo>
                    <a:pt x="750" y="324"/>
                  </a:lnTo>
                  <a:lnTo>
                    <a:pt x="750" y="324"/>
                  </a:lnTo>
                  <a:lnTo>
                    <a:pt x="759" y="331"/>
                  </a:lnTo>
                  <a:lnTo>
                    <a:pt x="759" y="331"/>
                  </a:lnTo>
                  <a:lnTo>
                    <a:pt x="743" y="352"/>
                  </a:lnTo>
                  <a:lnTo>
                    <a:pt x="716" y="384"/>
                  </a:lnTo>
                  <a:lnTo>
                    <a:pt x="716" y="384"/>
                  </a:lnTo>
                  <a:lnTo>
                    <a:pt x="702" y="400"/>
                  </a:lnTo>
                  <a:lnTo>
                    <a:pt x="683" y="417"/>
                  </a:lnTo>
                  <a:lnTo>
                    <a:pt x="658" y="435"/>
                  </a:lnTo>
                  <a:lnTo>
                    <a:pt x="635" y="449"/>
                  </a:lnTo>
                  <a:lnTo>
                    <a:pt x="635" y="449"/>
                  </a:lnTo>
                  <a:lnTo>
                    <a:pt x="613" y="459"/>
                  </a:lnTo>
                  <a:lnTo>
                    <a:pt x="590" y="470"/>
                  </a:lnTo>
                  <a:lnTo>
                    <a:pt x="572" y="475"/>
                  </a:lnTo>
                  <a:lnTo>
                    <a:pt x="558" y="479"/>
                  </a:lnTo>
                  <a:lnTo>
                    <a:pt x="558" y="479"/>
                  </a:lnTo>
                  <a:lnTo>
                    <a:pt x="533" y="481"/>
                  </a:lnTo>
                  <a:lnTo>
                    <a:pt x="533" y="481"/>
                  </a:lnTo>
                  <a:lnTo>
                    <a:pt x="523" y="495"/>
                  </a:lnTo>
                  <a:lnTo>
                    <a:pt x="510" y="507"/>
                  </a:lnTo>
                  <a:lnTo>
                    <a:pt x="502" y="521"/>
                  </a:lnTo>
                  <a:lnTo>
                    <a:pt x="502" y="521"/>
                  </a:lnTo>
                  <a:lnTo>
                    <a:pt x="491" y="535"/>
                  </a:lnTo>
                  <a:lnTo>
                    <a:pt x="480" y="544"/>
                  </a:lnTo>
                  <a:lnTo>
                    <a:pt x="470" y="553"/>
                  </a:lnTo>
                  <a:lnTo>
                    <a:pt x="470" y="553"/>
                  </a:lnTo>
                  <a:lnTo>
                    <a:pt x="459" y="569"/>
                  </a:lnTo>
                  <a:lnTo>
                    <a:pt x="452" y="581"/>
                  </a:lnTo>
                  <a:lnTo>
                    <a:pt x="449" y="586"/>
                  </a:lnTo>
                  <a:lnTo>
                    <a:pt x="449" y="586"/>
                  </a:lnTo>
                  <a:lnTo>
                    <a:pt x="424" y="588"/>
                  </a:lnTo>
                  <a:lnTo>
                    <a:pt x="403" y="590"/>
                  </a:lnTo>
                  <a:lnTo>
                    <a:pt x="403" y="613"/>
                  </a:lnTo>
                  <a:lnTo>
                    <a:pt x="403" y="613"/>
                  </a:lnTo>
                  <a:lnTo>
                    <a:pt x="385" y="634"/>
                  </a:lnTo>
                  <a:lnTo>
                    <a:pt x="371" y="650"/>
                  </a:lnTo>
                  <a:lnTo>
                    <a:pt x="364" y="662"/>
                  </a:lnTo>
                  <a:lnTo>
                    <a:pt x="364" y="662"/>
                  </a:lnTo>
                  <a:lnTo>
                    <a:pt x="354" y="671"/>
                  </a:lnTo>
                  <a:lnTo>
                    <a:pt x="338" y="685"/>
                  </a:lnTo>
                  <a:lnTo>
                    <a:pt x="315" y="701"/>
                  </a:lnTo>
                  <a:lnTo>
                    <a:pt x="315" y="701"/>
                  </a:lnTo>
                  <a:lnTo>
                    <a:pt x="329" y="734"/>
                  </a:lnTo>
                  <a:lnTo>
                    <a:pt x="341" y="762"/>
                  </a:lnTo>
                  <a:lnTo>
                    <a:pt x="345" y="777"/>
                  </a:lnTo>
                  <a:lnTo>
                    <a:pt x="347" y="789"/>
                  </a:lnTo>
                  <a:lnTo>
                    <a:pt x="347" y="789"/>
                  </a:lnTo>
                  <a:lnTo>
                    <a:pt x="348" y="805"/>
                  </a:lnTo>
                  <a:lnTo>
                    <a:pt x="348" y="829"/>
                  </a:lnTo>
                  <a:lnTo>
                    <a:pt x="347" y="889"/>
                  </a:lnTo>
                  <a:lnTo>
                    <a:pt x="343" y="969"/>
                  </a:lnTo>
                  <a:lnTo>
                    <a:pt x="343" y="969"/>
                  </a:lnTo>
                  <a:lnTo>
                    <a:pt x="341" y="981"/>
                  </a:lnTo>
                  <a:lnTo>
                    <a:pt x="338" y="993"/>
                  </a:lnTo>
                  <a:lnTo>
                    <a:pt x="333" y="1007"/>
                  </a:lnTo>
                  <a:lnTo>
                    <a:pt x="324" y="1023"/>
                  </a:lnTo>
                  <a:lnTo>
                    <a:pt x="313" y="1039"/>
                  </a:lnTo>
                  <a:lnTo>
                    <a:pt x="304" y="1046"/>
                  </a:lnTo>
                  <a:lnTo>
                    <a:pt x="297" y="1053"/>
                  </a:lnTo>
                  <a:lnTo>
                    <a:pt x="287" y="1058"/>
                  </a:lnTo>
                  <a:lnTo>
                    <a:pt x="276" y="1064"/>
                  </a:lnTo>
                  <a:lnTo>
                    <a:pt x="276" y="1064"/>
                  </a:lnTo>
                  <a:lnTo>
                    <a:pt x="236" y="1078"/>
                  </a:lnTo>
                  <a:lnTo>
                    <a:pt x="200" y="1088"/>
                  </a:lnTo>
                  <a:lnTo>
                    <a:pt x="174" y="1097"/>
                  </a:lnTo>
                  <a:lnTo>
                    <a:pt x="165" y="1101"/>
                  </a:lnTo>
                  <a:lnTo>
                    <a:pt x="160" y="1106"/>
                  </a:lnTo>
                  <a:lnTo>
                    <a:pt x="160" y="1106"/>
                  </a:lnTo>
                  <a:lnTo>
                    <a:pt x="151" y="1115"/>
                  </a:lnTo>
                  <a:lnTo>
                    <a:pt x="144" y="1122"/>
                  </a:lnTo>
                  <a:lnTo>
                    <a:pt x="139" y="1131"/>
                  </a:lnTo>
                  <a:lnTo>
                    <a:pt x="137" y="1134"/>
                  </a:lnTo>
                  <a:lnTo>
                    <a:pt x="139" y="1139"/>
                  </a:lnTo>
                  <a:lnTo>
                    <a:pt x="139" y="1139"/>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2" name="Freeform 38">
              <a:extLst>
                <a:ext uri="{FF2B5EF4-FFF2-40B4-BE49-F238E27FC236}">
                  <a16:creationId xmlns:a16="http://schemas.microsoft.com/office/drawing/2014/main" id="{18A9DB80-7A08-4D09-B2CB-D7959CFCE87E}"/>
                </a:ext>
              </a:extLst>
            </p:cNvPr>
            <p:cNvSpPr>
              <a:spLocks/>
            </p:cNvSpPr>
            <p:nvPr/>
          </p:nvSpPr>
          <p:spPr bwMode="auto">
            <a:xfrm>
              <a:off x="5287555" y="5202871"/>
              <a:ext cx="469338" cy="467554"/>
            </a:xfrm>
            <a:custGeom>
              <a:avLst/>
              <a:gdLst/>
              <a:ahLst/>
              <a:cxnLst>
                <a:cxn ang="0">
                  <a:pos x="0" y="171"/>
                </a:cxn>
                <a:cxn ang="0">
                  <a:pos x="14" y="201"/>
                </a:cxn>
                <a:cxn ang="0">
                  <a:pos x="21" y="231"/>
                </a:cxn>
                <a:cxn ang="0">
                  <a:pos x="34" y="261"/>
                </a:cxn>
                <a:cxn ang="0">
                  <a:pos x="41" y="271"/>
                </a:cxn>
                <a:cxn ang="0">
                  <a:pos x="78" y="303"/>
                </a:cxn>
                <a:cxn ang="0">
                  <a:pos x="104" y="330"/>
                </a:cxn>
                <a:cxn ang="0">
                  <a:pos x="127" y="356"/>
                </a:cxn>
                <a:cxn ang="0">
                  <a:pos x="131" y="365"/>
                </a:cxn>
                <a:cxn ang="0">
                  <a:pos x="148" y="395"/>
                </a:cxn>
                <a:cxn ang="0">
                  <a:pos x="162" y="409"/>
                </a:cxn>
                <a:cxn ang="0">
                  <a:pos x="205" y="442"/>
                </a:cxn>
                <a:cxn ang="0">
                  <a:pos x="234" y="465"/>
                </a:cxn>
                <a:cxn ang="0">
                  <a:pos x="243" y="481"/>
                </a:cxn>
                <a:cxn ang="0">
                  <a:pos x="266" y="485"/>
                </a:cxn>
                <a:cxn ang="0">
                  <a:pos x="298" y="492"/>
                </a:cxn>
                <a:cxn ang="0">
                  <a:pos x="317" y="499"/>
                </a:cxn>
                <a:cxn ang="0">
                  <a:pos x="400" y="523"/>
                </a:cxn>
                <a:cxn ang="0">
                  <a:pos x="442" y="465"/>
                </a:cxn>
                <a:cxn ang="0">
                  <a:pos x="463" y="426"/>
                </a:cxn>
                <a:cxn ang="0">
                  <a:pos x="469" y="412"/>
                </a:cxn>
                <a:cxn ang="0">
                  <a:pos x="481" y="389"/>
                </a:cxn>
                <a:cxn ang="0">
                  <a:pos x="497" y="370"/>
                </a:cxn>
                <a:cxn ang="0">
                  <a:pos x="518" y="347"/>
                </a:cxn>
                <a:cxn ang="0">
                  <a:pos x="523" y="338"/>
                </a:cxn>
                <a:cxn ang="0">
                  <a:pos x="525" y="321"/>
                </a:cxn>
                <a:cxn ang="0">
                  <a:pos x="525" y="293"/>
                </a:cxn>
                <a:cxn ang="0">
                  <a:pos x="523" y="273"/>
                </a:cxn>
                <a:cxn ang="0">
                  <a:pos x="523" y="215"/>
                </a:cxn>
                <a:cxn ang="0">
                  <a:pos x="525" y="196"/>
                </a:cxn>
                <a:cxn ang="0">
                  <a:pos x="521" y="148"/>
                </a:cxn>
                <a:cxn ang="0">
                  <a:pos x="518" y="131"/>
                </a:cxn>
                <a:cxn ang="0">
                  <a:pos x="514" y="118"/>
                </a:cxn>
                <a:cxn ang="0">
                  <a:pos x="507" y="104"/>
                </a:cxn>
                <a:cxn ang="0">
                  <a:pos x="490" y="92"/>
                </a:cxn>
                <a:cxn ang="0">
                  <a:pos x="462" y="79"/>
                </a:cxn>
                <a:cxn ang="0">
                  <a:pos x="375" y="46"/>
                </a:cxn>
                <a:cxn ang="0">
                  <a:pos x="321" y="23"/>
                </a:cxn>
                <a:cxn ang="0">
                  <a:pos x="312" y="11"/>
                </a:cxn>
                <a:cxn ang="0">
                  <a:pos x="314" y="6"/>
                </a:cxn>
                <a:cxn ang="0">
                  <a:pos x="315" y="2"/>
                </a:cxn>
                <a:cxn ang="0">
                  <a:pos x="296" y="2"/>
                </a:cxn>
                <a:cxn ang="0">
                  <a:pos x="261" y="9"/>
                </a:cxn>
                <a:cxn ang="0">
                  <a:pos x="240" y="18"/>
                </a:cxn>
                <a:cxn ang="0">
                  <a:pos x="236" y="21"/>
                </a:cxn>
                <a:cxn ang="0">
                  <a:pos x="220" y="35"/>
                </a:cxn>
                <a:cxn ang="0">
                  <a:pos x="215" y="46"/>
                </a:cxn>
                <a:cxn ang="0">
                  <a:pos x="222" y="60"/>
                </a:cxn>
                <a:cxn ang="0">
                  <a:pos x="231" y="78"/>
                </a:cxn>
                <a:cxn ang="0">
                  <a:pos x="233" y="90"/>
                </a:cxn>
                <a:cxn ang="0">
                  <a:pos x="227" y="102"/>
                </a:cxn>
                <a:cxn ang="0">
                  <a:pos x="212" y="111"/>
                </a:cxn>
                <a:cxn ang="0">
                  <a:pos x="182" y="127"/>
                </a:cxn>
                <a:cxn ang="0">
                  <a:pos x="116" y="166"/>
                </a:cxn>
                <a:cxn ang="0">
                  <a:pos x="94" y="173"/>
                </a:cxn>
                <a:cxn ang="0">
                  <a:pos x="69" y="171"/>
                </a:cxn>
                <a:cxn ang="0">
                  <a:pos x="13" y="168"/>
                </a:cxn>
                <a:cxn ang="0">
                  <a:pos x="2" y="169"/>
                </a:cxn>
                <a:cxn ang="0">
                  <a:pos x="0" y="171"/>
                </a:cxn>
              </a:cxnLst>
              <a:rect l="0" t="0" r="r" b="b"/>
              <a:pathLst>
                <a:path w="527" h="523">
                  <a:moveTo>
                    <a:pt x="0" y="171"/>
                  </a:moveTo>
                  <a:lnTo>
                    <a:pt x="0" y="171"/>
                  </a:lnTo>
                  <a:lnTo>
                    <a:pt x="6" y="182"/>
                  </a:lnTo>
                  <a:lnTo>
                    <a:pt x="14" y="201"/>
                  </a:lnTo>
                  <a:lnTo>
                    <a:pt x="14" y="201"/>
                  </a:lnTo>
                  <a:lnTo>
                    <a:pt x="21" y="231"/>
                  </a:lnTo>
                  <a:lnTo>
                    <a:pt x="34" y="261"/>
                  </a:lnTo>
                  <a:lnTo>
                    <a:pt x="34" y="261"/>
                  </a:lnTo>
                  <a:lnTo>
                    <a:pt x="35" y="266"/>
                  </a:lnTo>
                  <a:lnTo>
                    <a:pt x="41" y="271"/>
                  </a:lnTo>
                  <a:lnTo>
                    <a:pt x="55" y="286"/>
                  </a:lnTo>
                  <a:lnTo>
                    <a:pt x="78" y="303"/>
                  </a:lnTo>
                  <a:lnTo>
                    <a:pt x="78" y="303"/>
                  </a:lnTo>
                  <a:lnTo>
                    <a:pt x="104" y="330"/>
                  </a:lnTo>
                  <a:lnTo>
                    <a:pt x="118" y="345"/>
                  </a:lnTo>
                  <a:lnTo>
                    <a:pt x="127" y="356"/>
                  </a:lnTo>
                  <a:lnTo>
                    <a:pt x="127" y="356"/>
                  </a:lnTo>
                  <a:lnTo>
                    <a:pt x="131" y="365"/>
                  </a:lnTo>
                  <a:lnTo>
                    <a:pt x="138" y="379"/>
                  </a:lnTo>
                  <a:lnTo>
                    <a:pt x="148" y="395"/>
                  </a:lnTo>
                  <a:lnTo>
                    <a:pt x="153" y="402"/>
                  </a:lnTo>
                  <a:lnTo>
                    <a:pt x="162" y="409"/>
                  </a:lnTo>
                  <a:lnTo>
                    <a:pt x="162" y="409"/>
                  </a:lnTo>
                  <a:lnTo>
                    <a:pt x="205" y="442"/>
                  </a:lnTo>
                  <a:lnTo>
                    <a:pt x="226" y="456"/>
                  </a:lnTo>
                  <a:lnTo>
                    <a:pt x="234" y="465"/>
                  </a:lnTo>
                  <a:lnTo>
                    <a:pt x="234" y="465"/>
                  </a:lnTo>
                  <a:lnTo>
                    <a:pt x="243" y="481"/>
                  </a:lnTo>
                  <a:lnTo>
                    <a:pt x="243" y="481"/>
                  </a:lnTo>
                  <a:lnTo>
                    <a:pt x="266" y="485"/>
                  </a:lnTo>
                  <a:lnTo>
                    <a:pt x="286" y="488"/>
                  </a:lnTo>
                  <a:lnTo>
                    <a:pt x="298" y="492"/>
                  </a:lnTo>
                  <a:lnTo>
                    <a:pt x="298" y="492"/>
                  </a:lnTo>
                  <a:lnTo>
                    <a:pt x="317" y="499"/>
                  </a:lnTo>
                  <a:lnTo>
                    <a:pt x="352" y="509"/>
                  </a:lnTo>
                  <a:lnTo>
                    <a:pt x="400" y="523"/>
                  </a:lnTo>
                  <a:lnTo>
                    <a:pt x="442" y="465"/>
                  </a:lnTo>
                  <a:lnTo>
                    <a:pt x="442" y="465"/>
                  </a:lnTo>
                  <a:lnTo>
                    <a:pt x="455" y="444"/>
                  </a:lnTo>
                  <a:lnTo>
                    <a:pt x="463" y="426"/>
                  </a:lnTo>
                  <a:lnTo>
                    <a:pt x="469" y="412"/>
                  </a:lnTo>
                  <a:lnTo>
                    <a:pt x="469" y="412"/>
                  </a:lnTo>
                  <a:lnTo>
                    <a:pt x="474" y="404"/>
                  </a:lnTo>
                  <a:lnTo>
                    <a:pt x="481" y="389"/>
                  </a:lnTo>
                  <a:lnTo>
                    <a:pt x="497" y="370"/>
                  </a:lnTo>
                  <a:lnTo>
                    <a:pt x="497" y="370"/>
                  </a:lnTo>
                  <a:lnTo>
                    <a:pt x="511" y="356"/>
                  </a:lnTo>
                  <a:lnTo>
                    <a:pt x="518" y="347"/>
                  </a:lnTo>
                  <a:lnTo>
                    <a:pt x="521" y="342"/>
                  </a:lnTo>
                  <a:lnTo>
                    <a:pt x="523" y="338"/>
                  </a:lnTo>
                  <a:lnTo>
                    <a:pt x="523" y="338"/>
                  </a:lnTo>
                  <a:lnTo>
                    <a:pt x="525" y="321"/>
                  </a:lnTo>
                  <a:lnTo>
                    <a:pt x="527" y="308"/>
                  </a:lnTo>
                  <a:lnTo>
                    <a:pt x="525" y="293"/>
                  </a:lnTo>
                  <a:lnTo>
                    <a:pt x="525" y="293"/>
                  </a:lnTo>
                  <a:lnTo>
                    <a:pt x="523" y="273"/>
                  </a:lnTo>
                  <a:lnTo>
                    <a:pt x="521" y="252"/>
                  </a:lnTo>
                  <a:lnTo>
                    <a:pt x="523" y="215"/>
                  </a:lnTo>
                  <a:lnTo>
                    <a:pt x="523" y="215"/>
                  </a:lnTo>
                  <a:lnTo>
                    <a:pt x="525" y="196"/>
                  </a:lnTo>
                  <a:lnTo>
                    <a:pt x="523" y="173"/>
                  </a:lnTo>
                  <a:lnTo>
                    <a:pt x="521" y="148"/>
                  </a:lnTo>
                  <a:lnTo>
                    <a:pt x="520" y="138"/>
                  </a:lnTo>
                  <a:lnTo>
                    <a:pt x="518" y="131"/>
                  </a:lnTo>
                  <a:lnTo>
                    <a:pt x="518" y="131"/>
                  </a:lnTo>
                  <a:lnTo>
                    <a:pt x="514" y="118"/>
                  </a:lnTo>
                  <a:lnTo>
                    <a:pt x="509" y="109"/>
                  </a:lnTo>
                  <a:lnTo>
                    <a:pt x="507" y="104"/>
                  </a:lnTo>
                  <a:lnTo>
                    <a:pt x="502" y="101"/>
                  </a:lnTo>
                  <a:lnTo>
                    <a:pt x="490" y="92"/>
                  </a:lnTo>
                  <a:lnTo>
                    <a:pt x="490" y="92"/>
                  </a:lnTo>
                  <a:lnTo>
                    <a:pt x="462" y="79"/>
                  </a:lnTo>
                  <a:lnTo>
                    <a:pt x="425" y="65"/>
                  </a:lnTo>
                  <a:lnTo>
                    <a:pt x="375" y="46"/>
                  </a:lnTo>
                  <a:lnTo>
                    <a:pt x="321" y="23"/>
                  </a:lnTo>
                  <a:lnTo>
                    <a:pt x="321" y="23"/>
                  </a:lnTo>
                  <a:lnTo>
                    <a:pt x="315" y="18"/>
                  </a:lnTo>
                  <a:lnTo>
                    <a:pt x="312" y="11"/>
                  </a:lnTo>
                  <a:lnTo>
                    <a:pt x="312" y="7"/>
                  </a:lnTo>
                  <a:lnTo>
                    <a:pt x="314" y="6"/>
                  </a:lnTo>
                  <a:lnTo>
                    <a:pt x="314" y="6"/>
                  </a:lnTo>
                  <a:lnTo>
                    <a:pt x="315" y="2"/>
                  </a:lnTo>
                  <a:lnTo>
                    <a:pt x="312" y="0"/>
                  </a:lnTo>
                  <a:lnTo>
                    <a:pt x="296" y="2"/>
                  </a:lnTo>
                  <a:lnTo>
                    <a:pt x="296" y="2"/>
                  </a:lnTo>
                  <a:lnTo>
                    <a:pt x="261" y="9"/>
                  </a:lnTo>
                  <a:lnTo>
                    <a:pt x="245" y="14"/>
                  </a:lnTo>
                  <a:lnTo>
                    <a:pt x="240" y="18"/>
                  </a:lnTo>
                  <a:lnTo>
                    <a:pt x="236" y="21"/>
                  </a:lnTo>
                  <a:lnTo>
                    <a:pt x="236" y="21"/>
                  </a:lnTo>
                  <a:lnTo>
                    <a:pt x="227" y="28"/>
                  </a:lnTo>
                  <a:lnTo>
                    <a:pt x="220" y="35"/>
                  </a:lnTo>
                  <a:lnTo>
                    <a:pt x="217" y="41"/>
                  </a:lnTo>
                  <a:lnTo>
                    <a:pt x="215" y="46"/>
                  </a:lnTo>
                  <a:lnTo>
                    <a:pt x="217" y="53"/>
                  </a:lnTo>
                  <a:lnTo>
                    <a:pt x="222" y="60"/>
                  </a:lnTo>
                  <a:lnTo>
                    <a:pt x="222" y="60"/>
                  </a:lnTo>
                  <a:lnTo>
                    <a:pt x="231" y="78"/>
                  </a:lnTo>
                  <a:lnTo>
                    <a:pt x="233" y="85"/>
                  </a:lnTo>
                  <a:lnTo>
                    <a:pt x="233" y="90"/>
                  </a:lnTo>
                  <a:lnTo>
                    <a:pt x="231" y="95"/>
                  </a:lnTo>
                  <a:lnTo>
                    <a:pt x="227" y="102"/>
                  </a:lnTo>
                  <a:lnTo>
                    <a:pt x="220" y="108"/>
                  </a:lnTo>
                  <a:lnTo>
                    <a:pt x="212" y="111"/>
                  </a:lnTo>
                  <a:lnTo>
                    <a:pt x="212" y="111"/>
                  </a:lnTo>
                  <a:lnTo>
                    <a:pt x="182" y="127"/>
                  </a:lnTo>
                  <a:lnTo>
                    <a:pt x="148" y="148"/>
                  </a:lnTo>
                  <a:lnTo>
                    <a:pt x="116" y="166"/>
                  </a:lnTo>
                  <a:lnTo>
                    <a:pt x="102" y="171"/>
                  </a:lnTo>
                  <a:lnTo>
                    <a:pt x="94" y="173"/>
                  </a:lnTo>
                  <a:lnTo>
                    <a:pt x="94" y="173"/>
                  </a:lnTo>
                  <a:lnTo>
                    <a:pt x="69" y="171"/>
                  </a:lnTo>
                  <a:lnTo>
                    <a:pt x="39" y="168"/>
                  </a:lnTo>
                  <a:lnTo>
                    <a:pt x="13" y="168"/>
                  </a:lnTo>
                  <a:lnTo>
                    <a:pt x="4" y="169"/>
                  </a:lnTo>
                  <a:lnTo>
                    <a:pt x="2" y="169"/>
                  </a:lnTo>
                  <a:lnTo>
                    <a:pt x="0" y="171"/>
                  </a:lnTo>
                  <a:lnTo>
                    <a:pt x="0" y="17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3" name="Freeform 39">
              <a:extLst>
                <a:ext uri="{FF2B5EF4-FFF2-40B4-BE49-F238E27FC236}">
                  <a16:creationId xmlns:a16="http://schemas.microsoft.com/office/drawing/2014/main" id="{6CB0869B-633A-4CD7-886F-1E7BD3D1DC55}"/>
                </a:ext>
              </a:extLst>
            </p:cNvPr>
            <p:cNvSpPr>
              <a:spLocks/>
            </p:cNvSpPr>
            <p:nvPr/>
          </p:nvSpPr>
          <p:spPr bwMode="auto">
            <a:xfrm>
              <a:off x="5076978" y="4763870"/>
              <a:ext cx="719176" cy="592473"/>
            </a:xfrm>
            <a:custGeom>
              <a:avLst/>
              <a:gdLst/>
              <a:ahLst/>
              <a:cxnLst>
                <a:cxn ang="0">
                  <a:pos x="458" y="294"/>
                </a:cxn>
                <a:cxn ang="0">
                  <a:pos x="407" y="257"/>
                </a:cxn>
                <a:cxn ang="0">
                  <a:pos x="365" y="245"/>
                </a:cxn>
                <a:cxn ang="0">
                  <a:pos x="319" y="243"/>
                </a:cxn>
                <a:cxn ang="0">
                  <a:pos x="243" y="208"/>
                </a:cxn>
                <a:cxn ang="0">
                  <a:pos x="171" y="171"/>
                </a:cxn>
                <a:cxn ang="0">
                  <a:pos x="160" y="185"/>
                </a:cxn>
                <a:cxn ang="0">
                  <a:pos x="152" y="236"/>
                </a:cxn>
                <a:cxn ang="0">
                  <a:pos x="148" y="283"/>
                </a:cxn>
                <a:cxn ang="0">
                  <a:pos x="139" y="312"/>
                </a:cxn>
                <a:cxn ang="0">
                  <a:pos x="55" y="313"/>
                </a:cxn>
                <a:cxn ang="0">
                  <a:pos x="20" y="310"/>
                </a:cxn>
                <a:cxn ang="0">
                  <a:pos x="4" y="329"/>
                </a:cxn>
                <a:cxn ang="0">
                  <a:pos x="4" y="444"/>
                </a:cxn>
                <a:cxn ang="0">
                  <a:pos x="4" y="502"/>
                </a:cxn>
                <a:cxn ang="0">
                  <a:pos x="0" y="526"/>
                </a:cxn>
                <a:cxn ang="0">
                  <a:pos x="9" y="549"/>
                </a:cxn>
                <a:cxn ang="0">
                  <a:pos x="64" y="618"/>
                </a:cxn>
                <a:cxn ang="0">
                  <a:pos x="79" y="641"/>
                </a:cxn>
                <a:cxn ang="0">
                  <a:pos x="94" y="644"/>
                </a:cxn>
                <a:cxn ang="0">
                  <a:pos x="132" y="636"/>
                </a:cxn>
                <a:cxn ang="0">
                  <a:pos x="146" y="639"/>
                </a:cxn>
                <a:cxn ang="0">
                  <a:pos x="208" y="644"/>
                </a:cxn>
                <a:cxn ang="0">
                  <a:pos x="249" y="660"/>
                </a:cxn>
                <a:cxn ang="0">
                  <a:pos x="330" y="664"/>
                </a:cxn>
                <a:cxn ang="0">
                  <a:pos x="377" y="643"/>
                </a:cxn>
                <a:cxn ang="0">
                  <a:pos x="453" y="599"/>
                </a:cxn>
                <a:cxn ang="0">
                  <a:pos x="467" y="586"/>
                </a:cxn>
                <a:cxn ang="0">
                  <a:pos x="465" y="567"/>
                </a:cxn>
                <a:cxn ang="0">
                  <a:pos x="449" y="535"/>
                </a:cxn>
                <a:cxn ang="0">
                  <a:pos x="458" y="521"/>
                </a:cxn>
                <a:cxn ang="0">
                  <a:pos x="497" y="500"/>
                </a:cxn>
                <a:cxn ang="0">
                  <a:pos x="555" y="493"/>
                </a:cxn>
                <a:cxn ang="0">
                  <a:pos x="606" y="452"/>
                </a:cxn>
                <a:cxn ang="0">
                  <a:pos x="710" y="408"/>
                </a:cxn>
                <a:cxn ang="0">
                  <a:pos x="768" y="398"/>
                </a:cxn>
                <a:cxn ang="0">
                  <a:pos x="770" y="366"/>
                </a:cxn>
                <a:cxn ang="0">
                  <a:pos x="780" y="306"/>
                </a:cxn>
                <a:cxn ang="0">
                  <a:pos x="803" y="260"/>
                </a:cxn>
                <a:cxn ang="0">
                  <a:pos x="807" y="192"/>
                </a:cxn>
                <a:cxn ang="0">
                  <a:pos x="798" y="148"/>
                </a:cxn>
                <a:cxn ang="0">
                  <a:pos x="773" y="81"/>
                </a:cxn>
                <a:cxn ang="0">
                  <a:pos x="743" y="69"/>
                </a:cxn>
                <a:cxn ang="0">
                  <a:pos x="710" y="53"/>
                </a:cxn>
                <a:cxn ang="0">
                  <a:pos x="492" y="0"/>
                </a:cxn>
                <a:cxn ang="0">
                  <a:pos x="481" y="0"/>
                </a:cxn>
                <a:cxn ang="0">
                  <a:pos x="463" y="26"/>
                </a:cxn>
                <a:cxn ang="0">
                  <a:pos x="442" y="130"/>
                </a:cxn>
                <a:cxn ang="0">
                  <a:pos x="448" y="169"/>
                </a:cxn>
                <a:cxn ang="0">
                  <a:pos x="453" y="218"/>
                </a:cxn>
                <a:cxn ang="0">
                  <a:pos x="477" y="252"/>
                </a:cxn>
                <a:cxn ang="0">
                  <a:pos x="523" y="257"/>
                </a:cxn>
                <a:cxn ang="0">
                  <a:pos x="557" y="273"/>
                </a:cxn>
                <a:cxn ang="0">
                  <a:pos x="571" y="297"/>
                </a:cxn>
                <a:cxn ang="0">
                  <a:pos x="539" y="327"/>
                </a:cxn>
              </a:cxnLst>
              <a:rect l="0" t="0" r="r" b="b"/>
              <a:pathLst>
                <a:path w="807" h="664">
                  <a:moveTo>
                    <a:pt x="523" y="334"/>
                  </a:moveTo>
                  <a:lnTo>
                    <a:pt x="523" y="334"/>
                  </a:lnTo>
                  <a:lnTo>
                    <a:pt x="488" y="313"/>
                  </a:lnTo>
                  <a:lnTo>
                    <a:pt x="458" y="294"/>
                  </a:lnTo>
                  <a:lnTo>
                    <a:pt x="432" y="273"/>
                  </a:lnTo>
                  <a:lnTo>
                    <a:pt x="432" y="273"/>
                  </a:lnTo>
                  <a:lnTo>
                    <a:pt x="419" y="264"/>
                  </a:lnTo>
                  <a:lnTo>
                    <a:pt x="407" y="257"/>
                  </a:lnTo>
                  <a:lnTo>
                    <a:pt x="396" y="252"/>
                  </a:lnTo>
                  <a:lnTo>
                    <a:pt x="386" y="248"/>
                  </a:lnTo>
                  <a:lnTo>
                    <a:pt x="372" y="245"/>
                  </a:lnTo>
                  <a:lnTo>
                    <a:pt x="365" y="245"/>
                  </a:lnTo>
                  <a:lnTo>
                    <a:pt x="365" y="245"/>
                  </a:lnTo>
                  <a:lnTo>
                    <a:pt x="345" y="245"/>
                  </a:lnTo>
                  <a:lnTo>
                    <a:pt x="330" y="243"/>
                  </a:lnTo>
                  <a:lnTo>
                    <a:pt x="319" y="243"/>
                  </a:lnTo>
                  <a:lnTo>
                    <a:pt x="319" y="243"/>
                  </a:lnTo>
                  <a:lnTo>
                    <a:pt x="275" y="232"/>
                  </a:lnTo>
                  <a:lnTo>
                    <a:pt x="275" y="232"/>
                  </a:lnTo>
                  <a:lnTo>
                    <a:pt x="243" y="208"/>
                  </a:lnTo>
                  <a:lnTo>
                    <a:pt x="243" y="208"/>
                  </a:lnTo>
                  <a:lnTo>
                    <a:pt x="227" y="197"/>
                  </a:lnTo>
                  <a:lnTo>
                    <a:pt x="205" y="185"/>
                  </a:lnTo>
                  <a:lnTo>
                    <a:pt x="171" y="171"/>
                  </a:lnTo>
                  <a:lnTo>
                    <a:pt x="171" y="171"/>
                  </a:lnTo>
                  <a:lnTo>
                    <a:pt x="168" y="171"/>
                  </a:lnTo>
                  <a:lnTo>
                    <a:pt x="166" y="174"/>
                  </a:lnTo>
                  <a:lnTo>
                    <a:pt x="160" y="185"/>
                  </a:lnTo>
                  <a:lnTo>
                    <a:pt x="155" y="197"/>
                  </a:lnTo>
                  <a:lnTo>
                    <a:pt x="153" y="208"/>
                  </a:lnTo>
                  <a:lnTo>
                    <a:pt x="153" y="208"/>
                  </a:lnTo>
                  <a:lnTo>
                    <a:pt x="152" y="236"/>
                  </a:lnTo>
                  <a:lnTo>
                    <a:pt x="150" y="253"/>
                  </a:lnTo>
                  <a:lnTo>
                    <a:pt x="148" y="269"/>
                  </a:lnTo>
                  <a:lnTo>
                    <a:pt x="148" y="269"/>
                  </a:lnTo>
                  <a:lnTo>
                    <a:pt x="148" y="283"/>
                  </a:lnTo>
                  <a:lnTo>
                    <a:pt x="148" y="297"/>
                  </a:lnTo>
                  <a:lnTo>
                    <a:pt x="148" y="305"/>
                  </a:lnTo>
                  <a:lnTo>
                    <a:pt x="145" y="308"/>
                  </a:lnTo>
                  <a:lnTo>
                    <a:pt x="139" y="312"/>
                  </a:lnTo>
                  <a:lnTo>
                    <a:pt x="132" y="313"/>
                  </a:lnTo>
                  <a:lnTo>
                    <a:pt x="132" y="313"/>
                  </a:lnTo>
                  <a:lnTo>
                    <a:pt x="88" y="315"/>
                  </a:lnTo>
                  <a:lnTo>
                    <a:pt x="55" y="313"/>
                  </a:lnTo>
                  <a:lnTo>
                    <a:pt x="55" y="313"/>
                  </a:lnTo>
                  <a:lnTo>
                    <a:pt x="23" y="310"/>
                  </a:lnTo>
                  <a:lnTo>
                    <a:pt x="23" y="310"/>
                  </a:lnTo>
                  <a:lnTo>
                    <a:pt x="20" y="310"/>
                  </a:lnTo>
                  <a:lnTo>
                    <a:pt x="13" y="313"/>
                  </a:lnTo>
                  <a:lnTo>
                    <a:pt x="9" y="317"/>
                  </a:lnTo>
                  <a:lnTo>
                    <a:pt x="6" y="322"/>
                  </a:lnTo>
                  <a:lnTo>
                    <a:pt x="4" y="329"/>
                  </a:lnTo>
                  <a:lnTo>
                    <a:pt x="2" y="338"/>
                  </a:lnTo>
                  <a:lnTo>
                    <a:pt x="2" y="338"/>
                  </a:lnTo>
                  <a:lnTo>
                    <a:pt x="2" y="400"/>
                  </a:lnTo>
                  <a:lnTo>
                    <a:pt x="4" y="444"/>
                  </a:lnTo>
                  <a:lnTo>
                    <a:pt x="4" y="444"/>
                  </a:lnTo>
                  <a:lnTo>
                    <a:pt x="6" y="474"/>
                  </a:lnTo>
                  <a:lnTo>
                    <a:pt x="6" y="489"/>
                  </a:lnTo>
                  <a:lnTo>
                    <a:pt x="4" y="502"/>
                  </a:lnTo>
                  <a:lnTo>
                    <a:pt x="4" y="502"/>
                  </a:lnTo>
                  <a:lnTo>
                    <a:pt x="2" y="511"/>
                  </a:lnTo>
                  <a:lnTo>
                    <a:pt x="0" y="521"/>
                  </a:lnTo>
                  <a:lnTo>
                    <a:pt x="0" y="526"/>
                  </a:lnTo>
                  <a:lnTo>
                    <a:pt x="2" y="534"/>
                  </a:lnTo>
                  <a:lnTo>
                    <a:pt x="6" y="542"/>
                  </a:lnTo>
                  <a:lnTo>
                    <a:pt x="9" y="549"/>
                  </a:lnTo>
                  <a:lnTo>
                    <a:pt x="9" y="549"/>
                  </a:lnTo>
                  <a:lnTo>
                    <a:pt x="23" y="570"/>
                  </a:lnTo>
                  <a:lnTo>
                    <a:pt x="39" y="592"/>
                  </a:lnTo>
                  <a:lnTo>
                    <a:pt x="55" y="609"/>
                  </a:lnTo>
                  <a:lnTo>
                    <a:pt x="64" y="618"/>
                  </a:lnTo>
                  <a:lnTo>
                    <a:pt x="64" y="618"/>
                  </a:lnTo>
                  <a:lnTo>
                    <a:pt x="69" y="623"/>
                  </a:lnTo>
                  <a:lnTo>
                    <a:pt x="76" y="632"/>
                  </a:lnTo>
                  <a:lnTo>
                    <a:pt x="79" y="641"/>
                  </a:lnTo>
                  <a:lnTo>
                    <a:pt x="81" y="644"/>
                  </a:lnTo>
                  <a:lnTo>
                    <a:pt x="81" y="646"/>
                  </a:lnTo>
                  <a:lnTo>
                    <a:pt x="81" y="646"/>
                  </a:lnTo>
                  <a:lnTo>
                    <a:pt x="94" y="644"/>
                  </a:lnTo>
                  <a:lnTo>
                    <a:pt x="113" y="641"/>
                  </a:lnTo>
                  <a:lnTo>
                    <a:pt x="113" y="641"/>
                  </a:lnTo>
                  <a:lnTo>
                    <a:pt x="127" y="636"/>
                  </a:lnTo>
                  <a:lnTo>
                    <a:pt x="132" y="636"/>
                  </a:lnTo>
                  <a:lnTo>
                    <a:pt x="136" y="637"/>
                  </a:lnTo>
                  <a:lnTo>
                    <a:pt x="136" y="637"/>
                  </a:lnTo>
                  <a:lnTo>
                    <a:pt x="139" y="637"/>
                  </a:lnTo>
                  <a:lnTo>
                    <a:pt x="146" y="639"/>
                  </a:lnTo>
                  <a:lnTo>
                    <a:pt x="166" y="639"/>
                  </a:lnTo>
                  <a:lnTo>
                    <a:pt x="199" y="641"/>
                  </a:lnTo>
                  <a:lnTo>
                    <a:pt x="199" y="641"/>
                  </a:lnTo>
                  <a:lnTo>
                    <a:pt x="208" y="644"/>
                  </a:lnTo>
                  <a:lnTo>
                    <a:pt x="210" y="646"/>
                  </a:lnTo>
                  <a:lnTo>
                    <a:pt x="236" y="662"/>
                  </a:lnTo>
                  <a:lnTo>
                    <a:pt x="236" y="662"/>
                  </a:lnTo>
                  <a:lnTo>
                    <a:pt x="249" y="660"/>
                  </a:lnTo>
                  <a:lnTo>
                    <a:pt x="264" y="659"/>
                  </a:lnTo>
                  <a:lnTo>
                    <a:pt x="293" y="659"/>
                  </a:lnTo>
                  <a:lnTo>
                    <a:pt x="330" y="664"/>
                  </a:lnTo>
                  <a:lnTo>
                    <a:pt x="330" y="664"/>
                  </a:lnTo>
                  <a:lnTo>
                    <a:pt x="345" y="659"/>
                  </a:lnTo>
                  <a:lnTo>
                    <a:pt x="361" y="652"/>
                  </a:lnTo>
                  <a:lnTo>
                    <a:pt x="377" y="643"/>
                  </a:lnTo>
                  <a:lnTo>
                    <a:pt x="377" y="643"/>
                  </a:lnTo>
                  <a:lnTo>
                    <a:pt x="421" y="620"/>
                  </a:lnTo>
                  <a:lnTo>
                    <a:pt x="442" y="607"/>
                  </a:lnTo>
                  <a:lnTo>
                    <a:pt x="449" y="602"/>
                  </a:lnTo>
                  <a:lnTo>
                    <a:pt x="453" y="599"/>
                  </a:lnTo>
                  <a:lnTo>
                    <a:pt x="453" y="599"/>
                  </a:lnTo>
                  <a:lnTo>
                    <a:pt x="458" y="595"/>
                  </a:lnTo>
                  <a:lnTo>
                    <a:pt x="465" y="590"/>
                  </a:lnTo>
                  <a:lnTo>
                    <a:pt x="467" y="586"/>
                  </a:lnTo>
                  <a:lnTo>
                    <a:pt x="469" y="581"/>
                  </a:lnTo>
                  <a:lnTo>
                    <a:pt x="467" y="576"/>
                  </a:lnTo>
                  <a:lnTo>
                    <a:pt x="465" y="567"/>
                  </a:lnTo>
                  <a:lnTo>
                    <a:pt x="465" y="567"/>
                  </a:lnTo>
                  <a:lnTo>
                    <a:pt x="462" y="558"/>
                  </a:lnTo>
                  <a:lnTo>
                    <a:pt x="458" y="551"/>
                  </a:lnTo>
                  <a:lnTo>
                    <a:pt x="451" y="541"/>
                  </a:lnTo>
                  <a:lnTo>
                    <a:pt x="449" y="535"/>
                  </a:lnTo>
                  <a:lnTo>
                    <a:pt x="449" y="532"/>
                  </a:lnTo>
                  <a:lnTo>
                    <a:pt x="453" y="526"/>
                  </a:lnTo>
                  <a:lnTo>
                    <a:pt x="458" y="521"/>
                  </a:lnTo>
                  <a:lnTo>
                    <a:pt x="458" y="521"/>
                  </a:lnTo>
                  <a:lnTo>
                    <a:pt x="472" y="511"/>
                  </a:lnTo>
                  <a:lnTo>
                    <a:pt x="485" y="505"/>
                  </a:lnTo>
                  <a:lnTo>
                    <a:pt x="497" y="500"/>
                  </a:lnTo>
                  <a:lnTo>
                    <a:pt x="497" y="500"/>
                  </a:lnTo>
                  <a:lnTo>
                    <a:pt x="525" y="493"/>
                  </a:lnTo>
                  <a:lnTo>
                    <a:pt x="544" y="491"/>
                  </a:lnTo>
                  <a:lnTo>
                    <a:pt x="551" y="491"/>
                  </a:lnTo>
                  <a:lnTo>
                    <a:pt x="555" y="493"/>
                  </a:lnTo>
                  <a:lnTo>
                    <a:pt x="555" y="493"/>
                  </a:lnTo>
                  <a:lnTo>
                    <a:pt x="569" y="479"/>
                  </a:lnTo>
                  <a:lnTo>
                    <a:pt x="585" y="465"/>
                  </a:lnTo>
                  <a:lnTo>
                    <a:pt x="606" y="452"/>
                  </a:lnTo>
                  <a:lnTo>
                    <a:pt x="606" y="452"/>
                  </a:lnTo>
                  <a:lnTo>
                    <a:pt x="636" y="438"/>
                  </a:lnTo>
                  <a:lnTo>
                    <a:pt x="669" y="424"/>
                  </a:lnTo>
                  <a:lnTo>
                    <a:pt x="710" y="408"/>
                  </a:lnTo>
                  <a:lnTo>
                    <a:pt x="750" y="398"/>
                  </a:lnTo>
                  <a:lnTo>
                    <a:pt x="766" y="398"/>
                  </a:lnTo>
                  <a:lnTo>
                    <a:pt x="766" y="398"/>
                  </a:lnTo>
                  <a:lnTo>
                    <a:pt x="768" y="398"/>
                  </a:lnTo>
                  <a:lnTo>
                    <a:pt x="772" y="393"/>
                  </a:lnTo>
                  <a:lnTo>
                    <a:pt x="772" y="382"/>
                  </a:lnTo>
                  <a:lnTo>
                    <a:pt x="770" y="366"/>
                  </a:lnTo>
                  <a:lnTo>
                    <a:pt x="770" y="366"/>
                  </a:lnTo>
                  <a:lnTo>
                    <a:pt x="768" y="349"/>
                  </a:lnTo>
                  <a:lnTo>
                    <a:pt x="768" y="334"/>
                  </a:lnTo>
                  <a:lnTo>
                    <a:pt x="772" y="322"/>
                  </a:lnTo>
                  <a:lnTo>
                    <a:pt x="780" y="306"/>
                  </a:lnTo>
                  <a:lnTo>
                    <a:pt x="780" y="306"/>
                  </a:lnTo>
                  <a:lnTo>
                    <a:pt x="789" y="290"/>
                  </a:lnTo>
                  <a:lnTo>
                    <a:pt x="798" y="276"/>
                  </a:lnTo>
                  <a:lnTo>
                    <a:pt x="803" y="260"/>
                  </a:lnTo>
                  <a:lnTo>
                    <a:pt x="805" y="252"/>
                  </a:lnTo>
                  <a:lnTo>
                    <a:pt x="805" y="241"/>
                  </a:lnTo>
                  <a:lnTo>
                    <a:pt x="805" y="241"/>
                  </a:lnTo>
                  <a:lnTo>
                    <a:pt x="807" y="192"/>
                  </a:lnTo>
                  <a:lnTo>
                    <a:pt x="805" y="167"/>
                  </a:lnTo>
                  <a:lnTo>
                    <a:pt x="802" y="157"/>
                  </a:lnTo>
                  <a:lnTo>
                    <a:pt x="798" y="148"/>
                  </a:lnTo>
                  <a:lnTo>
                    <a:pt x="798" y="148"/>
                  </a:lnTo>
                  <a:lnTo>
                    <a:pt x="791" y="128"/>
                  </a:lnTo>
                  <a:lnTo>
                    <a:pt x="784" y="105"/>
                  </a:lnTo>
                  <a:lnTo>
                    <a:pt x="777" y="88"/>
                  </a:lnTo>
                  <a:lnTo>
                    <a:pt x="773" y="81"/>
                  </a:lnTo>
                  <a:lnTo>
                    <a:pt x="770" y="77"/>
                  </a:lnTo>
                  <a:lnTo>
                    <a:pt x="770" y="77"/>
                  </a:lnTo>
                  <a:lnTo>
                    <a:pt x="757" y="74"/>
                  </a:lnTo>
                  <a:lnTo>
                    <a:pt x="743" y="69"/>
                  </a:lnTo>
                  <a:lnTo>
                    <a:pt x="726" y="63"/>
                  </a:lnTo>
                  <a:lnTo>
                    <a:pt x="719" y="58"/>
                  </a:lnTo>
                  <a:lnTo>
                    <a:pt x="710" y="53"/>
                  </a:lnTo>
                  <a:lnTo>
                    <a:pt x="710" y="53"/>
                  </a:lnTo>
                  <a:lnTo>
                    <a:pt x="676" y="28"/>
                  </a:lnTo>
                  <a:lnTo>
                    <a:pt x="657" y="14"/>
                  </a:lnTo>
                  <a:lnTo>
                    <a:pt x="627" y="7"/>
                  </a:lnTo>
                  <a:lnTo>
                    <a:pt x="492" y="0"/>
                  </a:lnTo>
                  <a:lnTo>
                    <a:pt x="492" y="0"/>
                  </a:lnTo>
                  <a:lnTo>
                    <a:pt x="488" y="0"/>
                  </a:lnTo>
                  <a:lnTo>
                    <a:pt x="485" y="0"/>
                  </a:lnTo>
                  <a:lnTo>
                    <a:pt x="481" y="0"/>
                  </a:lnTo>
                  <a:lnTo>
                    <a:pt x="476" y="2"/>
                  </a:lnTo>
                  <a:lnTo>
                    <a:pt x="470" y="7"/>
                  </a:lnTo>
                  <a:lnTo>
                    <a:pt x="467" y="14"/>
                  </a:lnTo>
                  <a:lnTo>
                    <a:pt x="463" y="26"/>
                  </a:lnTo>
                  <a:lnTo>
                    <a:pt x="449" y="69"/>
                  </a:lnTo>
                  <a:lnTo>
                    <a:pt x="449" y="69"/>
                  </a:lnTo>
                  <a:lnTo>
                    <a:pt x="444" y="102"/>
                  </a:lnTo>
                  <a:lnTo>
                    <a:pt x="442" y="130"/>
                  </a:lnTo>
                  <a:lnTo>
                    <a:pt x="442" y="142"/>
                  </a:lnTo>
                  <a:lnTo>
                    <a:pt x="444" y="151"/>
                  </a:lnTo>
                  <a:lnTo>
                    <a:pt x="444" y="151"/>
                  </a:lnTo>
                  <a:lnTo>
                    <a:pt x="448" y="169"/>
                  </a:lnTo>
                  <a:lnTo>
                    <a:pt x="449" y="188"/>
                  </a:lnTo>
                  <a:lnTo>
                    <a:pt x="451" y="213"/>
                  </a:lnTo>
                  <a:lnTo>
                    <a:pt x="451" y="213"/>
                  </a:lnTo>
                  <a:lnTo>
                    <a:pt x="453" y="218"/>
                  </a:lnTo>
                  <a:lnTo>
                    <a:pt x="458" y="232"/>
                  </a:lnTo>
                  <a:lnTo>
                    <a:pt x="463" y="239"/>
                  </a:lnTo>
                  <a:lnTo>
                    <a:pt x="469" y="246"/>
                  </a:lnTo>
                  <a:lnTo>
                    <a:pt x="477" y="252"/>
                  </a:lnTo>
                  <a:lnTo>
                    <a:pt x="488" y="255"/>
                  </a:lnTo>
                  <a:lnTo>
                    <a:pt x="488" y="255"/>
                  </a:lnTo>
                  <a:lnTo>
                    <a:pt x="507" y="257"/>
                  </a:lnTo>
                  <a:lnTo>
                    <a:pt x="523" y="257"/>
                  </a:lnTo>
                  <a:lnTo>
                    <a:pt x="530" y="259"/>
                  </a:lnTo>
                  <a:lnTo>
                    <a:pt x="537" y="260"/>
                  </a:lnTo>
                  <a:lnTo>
                    <a:pt x="546" y="266"/>
                  </a:lnTo>
                  <a:lnTo>
                    <a:pt x="557" y="273"/>
                  </a:lnTo>
                  <a:lnTo>
                    <a:pt x="557" y="273"/>
                  </a:lnTo>
                  <a:lnTo>
                    <a:pt x="566" y="282"/>
                  </a:lnTo>
                  <a:lnTo>
                    <a:pt x="571" y="290"/>
                  </a:lnTo>
                  <a:lnTo>
                    <a:pt x="571" y="297"/>
                  </a:lnTo>
                  <a:lnTo>
                    <a:pt x="569" y="305"/>
                  </a:lnTo>
                  <a:lnTo>
                    <a:pt x="562" y="313"/>
                  </a:lnTo>
                  <a:lnTo>
                    <a:pt x="551" y="320"/>
                  </a:lnTo>
                  <a:lnTo>
                    <a:pt x="539" y="327"/>
                  </a:lnTo>
                  <a:lnTo>
                    <a:pt x="523" y="334"/>
                  </a:lnTo>
                  <a:lnTo>
                    <a:pt x="523" y="33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4" name="Freeform 40">
              <a:extLst>
                <a:ext uri="{FF2B5EF4-FFF2-40B4-BE49-F238E27FC236}">
                  <a16:creationId xmlns:a16="http://schemas.microsoft.com/office/drawing/2014/main" id="{B299934F-DD18-499F-A166-7134842021DE}"/>
                </a:ext>
              </a:extLst>
            </p:cNvPr>
            <p:cNvSpPr>
              <a:spLocks/>
            </p:cNvSpPr>
            <p:nvPr/>
          </p:nvSpPr>
          <p:spPr bwMode="auto">
            <a:xfrm>
              <a:off x="5760462" y="4824545"/>
              <a:ext cx="173101" cy="478261"/>
            </a:xfrm>
            <a:custGeom>
              <a:avLst/>
              <a:gdLst/>
              <a:ahLst/>
              <a:cxnLst>
                <a:cxn ang="0">
                  <a:pos x="145" y="116"/>
                </a:cxn>
                <a:cxn ang="0">
                  <a:pos x="106" y="46"/>
                </a:cxn>
                <a:cxn ang="0">
                  <a:pos x="92" y="17"/>
                </a:cxn>
                <a:cxn ang="0">
                  <a:pos x="85" y="7"/>
                </a:cxn>
                <a:cxn ang="0">
                  <a:pos x="72" y="2"/>
                </a:cxn>
                <a:cxn ang="0">
                  <a:pos x="53" y="0"/>
                </a:cxn>
                <a:cxn ang="0">
                  <a:pos x="21" y="2"/>
                </a:cxn>
                <a:cxn ang="0">
                  <a:pos x="7" y="7"/>
                </a:cxn>
                <a:cxn ang="0">
                  <a:pos x="4" y="10"/>
                </a:cxn>
                <a:cxn ang="0">
                  <a:pos x="25" y="58"/>
                </a:cxn>
                <a:cxn ang="0">
                  <a:pos x="32" y="79"/>
                </a:cxn>
                <a:cxn ang="0">
                  <a:pos x="41" y="105"/>
                </a:cxn>
                <a:cxn ang="0">
                  <a:pos x="41" y="116"/>
                </a:cxn>
                <a:cxn ang="0">
                  <a:pos x="39" y="174"/>
                </a:cxn>
                <a:cxn ang="0">
                  <a:pos x="34" y="204"/>
                </a:cxn>
                <a:cxn ang="0">
                  <a:pos x="27" y="218"/>
                </a:cxn>
                <a:cxn ang="0">
                  <a:pos x="11" y="245"/>
                </a:cxn>
                <a:cxn ang="0">
                  <a:pos x="2" y="271"/>
                </a:cxn>
                <a:cxn ang="0">
                  <a:pos x="6" y="299"/>
                </a:cxn>
                <a:cxn ang="0">
                  <a:pos x="4" y="324"/>
                </a:cxn>
                <a:cxn ang="0">
                  <a:pos x="0" y="331"/>
                </a:cxn>
                <a:cxn ang="0">
                  <a:pos x="39" y="331"/>
                </a:cxn>
                <a:cxn ang="0">
                  <a:pos x="60" y="340"/>
                </a:cxn>
                <a:cxn ang="0">
                  <a:pos x="83" y="361"/>
                </a:cxn>
                <a:cxn ang="0">
                  <a:pos x="92" y="371"/>
                </a:cxn>
                <a:cxn ang="0">
                  <a:pos x="102" y="389"/>
                </a:cxn>
                <a:cxn ang="0">
                  <a:pos x="104" y="421"/>
                </a:cxn>
                <a:cxn ang="0">
                  <a:pos x="102" y="433"/>
                </a:cxn>
                <a:cxn ang="0">
                  <a:pos x="97" y="461"/>
                </a:cxn>
                <a:cxn ang="0">
                  <a:pos x="95" y="481"/>
                </a:cxn>
                <a:cxn ang="0">
                  <a:pos x="102" y="507"/>
                </a:cxn>
                <a:cxn ang="0">
                  <a:pos x="108" y="521"/>
                </a:cxn>
                <a:cxn ang="0">
                  <a:pos x="122" y="535"/>
                </a:cxn>
                <a:cxn ang="0">
                  <a:pos x="138" y="532"/>
                </a:cxn>
                <a:cxn ang="0">
                  <a:pos x="155" y="518"/>
                </a:cxn>
                <a:cxn ang="0">
                  <a:pos x="166" y="503"/>
                </a:cxn>
                <a:cxn ang="0">
                  <a:pos x="189" y="468"/>
                </a:cxn>
                <a:cxn ang="0">
                  <a:pos x="194" y="454"/>
                </a:cxn>
                <a:cxn ang="0">
                  <a:pos x="194" y="435"/>
                </a:cxn>
                <a:cxn ang="0">
                  <a:pos x="185" y="380"/>
                </a:cxn>
                <a:cxn ang="0">
                  <a:pos x="178" y="364"/>
                </a:cxn>
                <a:cxn ang="0">
                  <a:pos x="168" y="352"/>
                </a:cxn>
                <a:cxn ang="0">
                  <a:pos x="148" y="313"/>
                </a:cxn>
                <a:cxn ang="0">
                  <a:pos x="136" y="275"/>
                </a:cxn>
                <a:cxn ang="0">
                  <a:pos x="131" y="253"/>
                </a:cxn>
                <a:cxn ang="0">
                  <a:pos x="125" y="209"/>
                </a:cxn>
                <a:cxn ang="0">
                  <a:pos x="127" y="171"/>
                </a:cxn>
                <a:cxn ang="0">
                  <a:pos x="132" y="139"/>
                </a:cxn>
                <a:cxn ang="0">
                  <a:pos x="145" y="116"/>
                </a:cxn>
              </a:cxnLst>
              <a:rect l="0" t="0" r="r" b="b"/>
              <a:pathLst>
                <a:path w="194" h="535">
                  <a:moveTo>
                    <a:pt x="145" y="116"/>
                  </a:moveTo>
                  <a:lnTo>
                    <a:pt x="145" y="116"/>
                  </a:lnTo>
                  <a:lnTo>
                    <a:pt x="106" y="46"/>
                  </a:lnTo>
                  <a:lnTo>
                    <a:pt x="106" y="46"/>
                  </a:lnTo>
                  <a:lnTo>
                    <a:pt x="99" y="30"/>
                  </a:lnTo>
                  <a:lnTo>
                    <a:pt x="92" y="17"/>
                  </a:lnTo>
                  <a:lnTo>
                    <a:pt x="88" y="12"/>
                  </a:lnTo>
                  <a:lnTo>
                    <a:pt x="85" y="7"/>
                  </a:lnTo>
                  <a:lnTo>
                    <a:pt x="80" y="3"/>
                  </a:lnTo>
                  <a:lnTo>
                    <a:pt x="72" y="2"/>
                  </a:lnTo>
                  <a:lnTo>
                    <a:pt x="72" y="2"/>
                  </a:lnTo>
                  <a:lnTo>
                    <a:pt x="53" y="0"/>
                  </a:lnTo>
                  <a:lnTo>
                    <a:pt x="32" y="0"/>
                  </a:lnTo>
                  <a:lnTo>
                    <a:pt x="21" y="2"/>
                  </a:lnTo>
                  <a:lnTo>
                    <a:pt x="13" y="3"/>
                  </a:lnTo>
                  <a:lnTo>
                    <a:pt x="7" y="7"/>
                  </a:lnTo>
                  <a:lnTo>
                    <a:pt x="4" y="10"/>
                  </a:lnTo>
                  <a:lnTo>
                    <a:pt x="4" y="10"/>
                  </a:lnTo>
                  <a:lnTo>
                    <a:pt x="9" y="23"/>
                  </a:lnTo>
                  <a:lnTo>
                    <a:pt x="25" y="58"/>
                  </a:lnTo>
                  <a:lnTo>
                    <a:pt x="25" y="58"/>
                  </a:lnTo>
                  <a:lnTo>
                    <a:pt x="32" y="79"/>
                  </a:lnTo>
                  <a:lnTo>
                    <a:pt x="37" y="95"/>
                  </a:lnTo>
                  <a:lnTo>
                    <a:pt x="41" y="105"/>
                  </a:lnTo>
                  <a:lnTo>
                    <a:pt x="41" y="116"/>
                  </a:lnTo>
                  <a:lnTo>
                    <a:pt x="41" y="116"/>
                  </a:lnTo>
                  <a:lnTo>
                    <a:pt x="39" y="174"/>
                  </a:lnTo>
                  <a:lnTo>
                    <a:pt x="39" y="174"/>
                  </a:lnTo>
                  <a:lnTo>
                    <a:pt x="37" y="190"/>
                  </a:lnTo>
                  <a:lnTo>
                    <a:pt x="34" y="204"/>
                  </a:lnTo>
                  <a:lnTo>
                    <a:pt x="27" y="218"/>
                  </a:lnTo>
                  <a:lnTo>
                    <a:pt x="27" y="218"/>
                  </a:lnTo>
                  <a:lnTo>
                    <a:pt x="18" y="230"/>
                  </a:lnTo>
                  <a:lnTo>
                    <a:pt x="11" y="245"/>
                  </a:lnTo>
                  <a:lnTo>
                    <a:pt x="4" y="259"/>
                  </a:lnTo>
                  <a:lnTo>
                    <a:pt x="2" y="271"/>
                  </a:lnTo>
                  <a:lnTo>
                    <a:pt x="2" y="271"/>
                  </a:lnTo>
                  <a:lnTo>
                    <a:pt x="6" y="299"/>
                  </a:lnTo>
                  <a:lnTo>
                    <a:pt x="6" y="317"/>
                  </a:lnTo>
                  <a:lnTo>
                    <a:pt x="4" y="324"/>
                  </a:lnTo>
                  <a:lnTo>
                    <a:pt x="0" y="331"/>
                  </a:lnTo>
                  <a:lnTo>
                    <a:pt x="0" y="331"/>
                  </a:lnTo>
                  <a:lnTo>
                    <a:pt x="39" y="331"/>
                  </a:lnTo>
                  <a:lnTo>
                    <a:pt x="39" y="331"/>
                  </a:lnTo>
                  <a:lnTo>
                    <a:pt x="50" y="334"/>
                  </a:lnTo>
                  <a:lnTo>
                    <a:pt x="60" y="340"/>
                  </a:lnTo>
                  <a:lnTo>
                    <a:pt x="72" y="348"/>
                  </a:lnTo>
                  <a:lnTo>
                    <a:pt x="83" y="361"/>
                  </a:lnTo>
                  <a:lnTo>
                    <a:pt x="83" y="361"/>
                  </a:lnTo>
                  <a:lnTo>
                    <a:pt x="92" y="371"/>
                  </a:lnTo>
                  <a:lnTo>
                    <a:pt x="99" y="382"/>
                  </a:lnTo>
                  <a:lnTo>
                    <a:pt x="102" y="389"/>
                  </a:lnTo>
                  <a:lnTo>
                    <a:pt x="104" y="398"/>
                  </a:lnTo>
                  <a:lnTo>
                    <a:pt x="104" y="421"/>
                  </a:lnTo>
                  <a:lnTo>
                    <a:pt x="104" y="421"/>
                  </a:lnTo>
                  <a:lnTo>
                    <a:pt x="102" y="433"/>
                  </a:lnTo>
                  <a:lnTo>
                    <a:pt x="101" y="444"/>
                  </a:lnTo>
                  <a:lnTo>
                    <a:pt x="97" y="461"/>
                  </a:lnTo>
                  <a:lnTo>
                    <a:pt x="95" y="470"/>
                  </a:lnTo>
                  <a:lnTo>
                    <a:pt x="95" y="481"/>
                  </a:lnTo>
                  <a:lnTo>
                    <a:pt x="97" y="493"/>
                  </a:lnTo>
                  <a:lnTo>
                    <a:pt x="102" y="507"/>
                  </a:lnTo>
                  <a:lnTo>
                    <a:pt x="102" y="507"/>
                  </a:lnTo>
                  <a:lnTo>
                    <a:pt x="108" y="521"/>
                  </a:lnTo>
                  <a:lnTo>
                    <a:pt x="115" y="530"/>
                  </a:lnTo>
                  <a:lnTo>
                    <a:pt x="122" y="535"/>
                  </a:lnTo>
                  <a:lnTo>
                    <a:pt x="129" y="535"/>
                  </a:lnTo>
                  <a:lnTo>
                    <a:pt x="138" y="532"/>
                  </a:lnTo>
                  <a:lnTo>
                    <a:pt x="143" y="528"/>
                  </a:lnTo>
                  <a:lnTo>
                    <a:pt x="155" y="518"/>
                  </a:lnTo>
                  <a:lnTo>
                    <a:pt x="155" y="518"/>
                  </a:lnTo>
                  <a:lnTo>
                    <a:pt x="166" y="503"/>
                  </a:lnTo>
                  <a:lnTo>
                    <a:pt x="178" y="486"/>
                  </a:lnTo>
                  <a:lnTo>
                    <a:pt x="189" y="468"/>
                  </a:lnTo>
                  <a:lnTo>
                    <a:pt x="192" y="461"/>
                  </a:lnTo>
                  <a:lnTo>
                    <a:pt x="194" y="454"/>
                  </a:lnTo>
                  <a:lnTo>
                    <a:pt x="194" y="454"/>
                  </a:lnTo>
                  <a:lnTo>
                    <a:pt x="194" y="435"/>
                  </a:lnTo>
                  <a:lnTo>
                    <a:pt x="190" y="407"/>
                  </a:lnTo>
                  <a:lnTo>
                    <a:pt x="185" y="380"/>
                  </a:lnTo>
                  <a:lnTo>
                    <a:pt x="182" y="370"/>
                  </a:lnTo>
                  <a:lnTo>
                    <a:pt x="178" y="364"/>
                  </a:lnTo>
                  <a:lnTo>
                    <a:pt x="178" y="364"/>
                  </a:lnTo>
                  <a:lnTo>
                    <a:pt x="168" y="352"/>
                  </a:lnTo>
                  <a:lnTo>
                    <a:pt x="155" y="327"/>
                  </a:lnTo>
                  <a:lnTo>
                    <a:pt x="148" y="313"/>
                  </a:lnTo>
                  <a:lnTo>
                    <a:pt x="141" y="294"/>
                  </a:lnTo>
                  <a:lnTo>
                    <a:pt x="136" y="275"/>
                  </a:lnTo>
                  <a:lnTo>
                    <a:pt x="131" y="253"/>
                  </a:lnTo>
                  <a:lnTo>
                    <a:pt x="131" y="253"/>
                  </a:lnTo>
                  <a:lnTo>
                    <a:pt x="127" y="230"/>
                  </a:lnTo>
                  <a:lnTo>
                    <a:pt x="125" y="209"/>
                  </a:lnTo>
                  <a:lnTo>
                    <a:pt x="125" y="190"/>
                  </a:lnTo>
                  <a:lnTo>
                    <a:pt x="127" y="171"/>
                  </a:lnTo>
                  <a:lnTo>
                    <a:pt x="129" y="155"/>
                  </a:lnTo>
                  <a:lnTo>
                    <a:pt x="132" y="139"/>
                  </a:lnTo>
                  <a:lnTo>
                    <a:pt x="138" y="127"/>
                  </a:lnTo>
                  <a:lnTo>
                    <a:pt x="145" y="116"/>
                  </a:lnTo>
                  <a:lnTo>
                    <a:pt x="145" y="11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5" name="Freeform 41">
              <a:extLst>
                <a:ext uri="{FF2B5EF4-FFF2-40B4-BE49-F238E27FC236}">
                  <a16:creationId xmlns:a16="http://schemas.microsoft.com/office/drawing/2014/main" id="{48B8D908-D6F3-4433-94FA-036DE253D5BE}"/>
                </a:ext>
              </a:extLst>
            </p:cNvPr>
            <p:cNvSpPr>
              <a:spLocks/>
            </p:cNvSpPr>
            <p:nvPr/>
          </p:nvSpPr>
          <p:spPr bwMode="auto">
            <a:xfrm>
              <a:off x="5542746" y="4374836"/>
              <a:ext cx="98150" cy="126704"/>
            </a:xfrm>
            <a:custGeom>
              <a:avLst/>
              <a:gdLst/>
              <a:ahLst/>
              <a:cxnLst>
                <a:cxn ang="0">
                  <a:pos x="4" y="25"/>
                </a:cxn>
                <a:cxn ang="0">
                  <a:pos x="4" y="25"/>
                </a:cxn>
                <a:cxn ang="0">
                  <a:pos x="2" y="21"/>
                </a:cxn>
                <a:cxn ang="0">
                  <a:pos x="0" y="18"/>
                </a:cxn>
                <a:cxn ang="0">
                  <a:pos x="0" y="16"/>
                </a:cxn>
                <a:cxn ang="0">
                  <a:pos x="2" y="14"/>
                </a:cxn>
                <a:cxn ang="0">
                  <a:pos x="4" y="12"/>
                </a:cxn>
                <a:cxn ang="0">
                  <a:pos x="9" y="12"/>
                </a:cxn>
                <a:cxn ang="0">
                  <a:pos x="9" y="12"/>
                </a:cxn>
                <a:cxn ang="0">
                  <a:pos x="21" y="14"/>
                </a:cxn>
                <a:cxn ang="0">
                  <a:pos x="35" y="18"/>
                </a:cxn>
                <a:cxn ang="0">
                  <a:pos x="48" y="19"/>
                </a:cxn>
                <a:cxn ang="0">
                  <a:pos x="53" y="19"/>
                </a:cxn>
                <a:cxn ang="0">
                  <a:pos x="57" y="18"/>
                </a:cxn>
                <a:cxn ang="0">
                  <a:pos x="57" y="18"/>
                </a:cxn>
                <a:cxn ang="0">
                  <a:pos x="60" y="14"/>
                </a:cxn>
                <a:cxn ang="0">
                  <a:pos x="62" y="11"/>
                </a:cxn>
                <a:cxn ang="0">
                  <a:pos x="65" y="4"/>
                </a:cxn>
                <a:cxn ang="0">
                  <a:pos x="67" y="2"/>
                </a:cxn>
                <a:cxn ang="0">
                  <a:pos x="69" y="0"/>
                </a:cxn>
                <a:cxn ang="0">
                  <a:pos x="72" y="0"/>
                </a:cxn>
                <a:cxn ang="0">
                  <a:pos x="78" y="2"/>
                </a:cxn>
                <a:cxn ang="0">
                  <a:pos x="78" y="2"/>
                </a:cxn>
                <a:cxn ang="0">
                  <a:pos x="85" y="5"/>
                </a:cxn>
                <a:cxn ang="0">
                  <a:pos x="92" y="11"/>
                </a:cxn>
                <a:cxn ang="0">
                  <a:pos x="99" y="18"/>
                </a:cxn>
                <a:cxn ang="0">
                  <a:pos x="104" y="25"/>
                </a:cxn>
                <a:cxn ang="0">
                  <a:pos x="108" y="33"/>
                </a:cxn>
                <a:cxn ang="0">
                  <a:pos x="109" y="44"/>
                </a:cxn>
                <a:cxn ang="0">
                  <a:pos x="108" y="55"/>
                </a:cxn>
                <a:cxn ang="0">
                  <a:pos x="104" y="65"/>
                </a:cxn>
                <a:cxn ang="0">
                  <a:pos x="104" y="65"/>
                </a:cxn>
                <a:cxn ang="0">
                  <a:pos x="90" y="90"/>
                </a:cxn>
                <a:cxn ang="0">
                  <a:pos x="74" y="114"/>
                </a:cxn>
                <a:cxn ang="0">
                  <a:pos x="67" y="125"/>
                </a:cxn>
                <a:cxn ang="0">
                  <a:pos x="58" y="134"/>
                </a:cxn>
                <a:cxn ang="0">
                  <a:pos x="51" y="139"/>
                </a:cxn>
                <a:cxn ang="0">
                  <a:pos x="43" y="141"/>
                </a:cxn>
                <a:cxn ang="0">
                  <a:pos x="43" y="141"/>
                </a:cxn>
                <a:cxn ang="0">
                  <a:pos x="30" y="143"/>
                </a:cxn>
                <a:cxn ang="0">
                  <a:pos x="18" y="143"/>
                </a:cxn>
                <a:cxn ang="0">
                  <a:pos x="11" y="143"/>
                </a:cxn>
                <a:cxn ang="0">
                  <a:pos x="9" y="141"/>
                </a:cxn>
                <a:cxn ang="0">
                  <a:pos x="9" y="139"/>
                </a:cxn>
                <a:cxn ang="0">
                  <a:pos x="9" y="139"/>
                </a:cxn>
                <a:cxn ang="0">
                  <a:pos x="13" y="132"/>
                </a:cxn>
                <a:cxn ang="0">
                  <a:pos x="18" y="123"/>
                </a:cxn>
                <a:cxn ang="0">
                  <a:pos x="21" y="111"/>
                </a:cxn>
                <a:cxn ang="0">
                  <a:pos x="21" y="102"/>
                </a:cxn>
                <a:cxn ang="0">
                  <a:pos x="21" y="92"/>
                </a:cxn>
                <a:cxn ang="0">
                  <a:pos x="21" y="92"/>
                </a:cxn>
                <a:cxn ang="0">
                  <a:pos x="20" y="72"/>
                </a:cxn>
                <a:cxn ang="0">
                  <a:pos x="16" y="56"/>
                </a:cxn>
                <a:cxn ang="0">
                  <a:pos x="11" y="41"/>
                </a:cxn>
                <a:cxn ang="0">
                  <a:pos x="4" y="25"/>
                </a:cxn>
                <a:cxn ang="0">
                  <a:pos x="4" y="25"/>
                </a:cxn>
              </a:cxnLst>
              <a:rect l="0" t="0" r="r" b="b"/>
              <a:pathLst>
                <a:path w="109" h="143">
                  <a:moveTo>
                    <a:pt x="4" y="25"/>
                  </a:moveTo>
                  <a:lnTo>
                    <a:pt x="4" y="25"/>
                  </a:lnTo>
                  <a:lnTo>
                    <a:pt x="2" y="21"/>
                  </a:lnTo>
                  <a:lnTo>
                    <a:pt x="0" y="18"/>
                  </a:lnTo>
                  <a:lnTo>
                    <a:pt x="0" y="16"/>
                  </a:lnTo>
                  <a:lnTo>
                    <a:pt x="2" y="14"/>
                  </a:lnTo>
                  <a:lnTo>
                    <a:pt x="4" y="12"/>
                  </a:lnTo>
                  <a:lnTo>
                    <a:pt x="9" y="12"/>
                  </a:lnTo>
                  <a:lnTo>
                    <a:pt x="9" y="12"/>
                  </a:lnTo>
                  <a:lnTo>
                    <a:pt x="21" y="14"/>
                  </a:lnTo>
                  <a:lnTo>
                    <a:pt x="35" y="18"/>
                  </a:lnTo>
                  <a:lnTo>
                    <a:pt x="48" y="19"/>
                  </a:lnTo>
                  <a:lnTo>
                    <a:pt x="53" y="19"/>
                  </a:lnTo>
                  <a:lnTo>
                    <a:pt x="57" y="18"/>
                  </a:lnTo>
                  <a:lnTo>
                    <a:pt x="57" y="18"/>
                  </a:lnTo>
                  <a:lnTo>
                    <a:pt x="60" y="14"/>
                  </a:lnTo>
                  <a:lnTo>
                    <a:pt x="62" y="11"/>
                  </a:lnTo>
                  <a:lnTo>
                    <a:pt x="65" y="4"/>
                  </a:lnTo>
                  <a:lnTo>
                    <a:pt x="67" y="2"/>
                  </a:lnTo>
                  <a:lnTo>
                    <a:pt x="69" y="0"/>
                  </a:lnTo>
                  <a:lnTo>
                    <a:pt x="72" y="0"/>
                  </a:lnTo>
                  <a:lnTo>
                    <a:pt x="78" y="2"/>
                  </a:lnTo>
                  <a:lnTo>
                    <a:pt x="78" y="2"/>
                  </a:lnTo>
                  <a:lnTo>
                    <a:pt x="85" y="5"/>
                  </a:lnTo>
                  <a:lnTo>
                    <a:pt x="92" y="11"/>
                  </a:lnTo>
                  <a:lnTo>
                    <a:pt x="99" y="18"/>
                  </a:lnTo>
                  <a:lnTo>
                    <a:pt x="104" y="25"/>
                  </a:lnTo>
                  <a:lnTo>
                    <a:pt x="108" y="33"/>
                  </a:lnTo>
                  <a:lnTo>
                    <a:pt x="109" y="44"/>
                  </a:lnTo>
                  <a:lnTo>
                    <a:pt x="108" y="55"/>
                  </a:lnTo>
                  <a:lnTo>
                    <a:pt x="104" y="65"/>
                  </a:lnTo>
                  <a:lnTo>
                    <a:pt x="104" y="65"/>
                  </a:lnTo>
                  <a:lnTo>
                    <a:pt x="90" y="90"/>
                  </a:lnTo>
                  <a:lnTo>
                    <a:pt x="74" y="114"/>
                  </a:lnTo>
                  <a:lnTo>
                    <a:pt x="67" y="125"/>
                  </a:lnTo>
                  <a:lnTo>
                    <a:pt x="58" y="134"/>
                  </a:lnTo>
                  <a:lnTo>
                    <a:pt x="51" y="139"/>
                  </a:lnTo>
                  <a:lnTo>
                    <a:pt x="43" y="141"/>
                  </a:lnTo>
                  <a:lnTo>
                    <a:pt x="43" y="141"/>
                  </a:lnTo>
                  <a:lnTo>
                    <a:pt x="30" y="143"/>
                  </a:lnTo>
                  <a:lnTo>
                    <a:pt x="18" y="143"/>
                  </a:lnTo>
                  <a:lnTo>
                    <a:pt x="11" y="143"/>
                  </a:lnTo>
                  <a:lnTo>
                    <a:pt x="9" y="141"/>
                  </a:lnTo>
                  <a:lnTo>
                    <a:pt x="9" y="139"/>
                  </a:lnTo>
                  <a:lnTo>
                    <a:pt x="9" y="139"/>
                  </a:lnTo>
                  <a:lnTo>
                    <a:pt x="13" y="132"/>
                  </a:lnTo>
                  <a:lnTo>
                    <a:pt x="18" y="123"/>
                  </a:lnTo>
                  <a:lnTo>
                    <a:pt x="21" y="111"/>
                  </a:lnTo>
                  <a:lnTo>
                    <a:pt x="21" y="102"/>
                  </a:lnTo>
                  <a:lnTo>
                    <a:pt x="21" y="92"/>
                  </a:lnTo>
                  <a:lnTo>
                    <a:pt x="21" y="92"/>
                  </a:lnTo>
                  <a:lnTo>
                    <a:pt x="20" y="72"/>
                  </a:lnTo>
                  <a:lnTo>
                    <a:pt x="16" y="56"/>
                  </a:lnTo>
                  <a:lnTo>
                    <a:pt x="11" y="41"/>
                  </a:lnTo>
                  <a:lnTo>
                    <a:pt x="4" y="25"/>
                  </a:lnTo>
                  <a:lnTo>
                    <a:pt x="4" y="2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6" name="Freeform 42">
              <a:extLst>
                <a:ext uri="{FF2B5EF4-FFF2-40B4-BE49-F238E27FC236}">
                  <a16:creationId xmlns:a16="http://schemas.microsoft.com/office/drawing/2014/main" id="{9C6D3D6D-0229-4A28-9114-FC735C5050EA}"/>
                </a:ext>
              </a:extLst>
            </p:cNvPr>
            <p:cNvSpPr>
              <a:spLocks/>
            </p:cNvSpPr>
            <p:nvPr/>
          </p:nvSpPr>
          <p:spPr bwMode="auto">
            <a:xfrm>
              <a:off x="5533824" y="4283823"/>
              <a:ext cx="121350" cy="112428"/>
            </a:xfrm>
            <a:custGeom>
              <a:avLst/>
              <a:gdLst/>
              <a:ahLst/>
              <a:cxnLst>
                <a:cxn ang="0">
                  <a:pos x="28" y="35"/>
                </a:cxn>
                <a:cxn ang="0">
                  <a:pos x="28" y="35"/>
                </a:cxn>
                <a:cxn ang="0">
                  <a:pos x="40" y="33"/>
                </a:cxn>
                <a:cxn ang="0">
                  <a:pos x="51" y="28"/>
                </a:cxn>
                <a:cxn ang="0">
                  <a:pos x="61" y="21"/>
                </a:cxn>
                <a:cxn ang="0">
                  <a:pos x="61" y="21"/>
                </a:cxn>
                <a:cxn ang="0">
                  <a:pos x="74" y="14"/>
                </a:cxn>
                <a:cxn ang="0">
                  <a:pos x="86" y="7"/>
                </a:cxn>
                <a:cxn ang="0">
                  <a:pos x="102" y="0"/>
                </a:cxn>
                <a:cxn ang="0">
                  <a:pos x="102" y="0"/>
                </a:cxn>
                <a:cxn ang="0">
                  <a:pos x="118" y="2"/>
                </a:cxn>
                <a:cxn ang="0">
                  <a:pos x="130" y="5"/>
                </a:cxn>
                <a:cxn ang="0">
                  <a:pos x="134" y="9"/>
                </a:cxn>
                <a:cxn ang="0">
                  <a:pos x="135" y="10"/>
                </a:cxn>
                <a:cxn ang="0">
                  <a:pos x="135" y="10"/>
                </a:cxn>
                <a:cxn ang="0">
                  <a:pos x="135" y="19"/>
                </a:cxn>
                <a:cxn ang="0">
                  <a:pos x="132" y="30"/>
                </a:cxn>
                <a:cxn ang="0">
                  <a:pos x="126" y="40"/>
                </a:cxn>
                <a:cxn ang="0">
                  <a:pos x="118" y="53"/>
                </a:cxn>
                <a:cxn ang="0">
                  <a:pos x="118" y="53"/>
                </a:cxn>
                <a:cxn ang="0">
                  <a:pos x="109" y="65"/>
                </a:cxn>
                <a:cxn ang="0">
                  <a:pos x="100" y="79"/>
                </a:cxn>
                <a:cxn ang="0">
                  <a:pos x="95" y="91"/>
                </a:cxn>
                <a:cxn ang="0">
                  <a:pos x="91" y="98"/>
                </a:cxn>
                <a:cxn ang="0">
                  <a:pos x="91" y="98"/>
                </a:cxn>
                <a:cxn ang="0">
                  <a:pos x="91" y="100"/>
                </a:cxn>
                <a:cxn ang="0">
                  <a:pos x="90" y="102"/>
                </a:cxn>
                <a:cxn ang="0">
                  <a:pos x="88" y="104"/>
                </a:cxn>
                <a:cxn ang="0">
                  <a:pos x="88" y="104"/>
                </a:cxn>
                <a:cxn ang="0">
                  <a:pos x="84" y="102"/>
                </a:cxn>
                <a:cxn ang="0">
                  <a:pos x="79" y="100"/>
                </a:cxn>
                <a:cxn ang="0">
                  <a:pos x="77" y="102"/>
                </a:cxn>
                <a:cxn ang="0">
                  <a:pos x="77" y="102"/>
                </a:cxn>
                <a:cxn ang="0">
                  <a:pos x="75" y="107"/>
                </a:cxn>
                <a:cxn ang="0">
                  <a:pos x="72" y="114"/>
                </a:cxn>
                <a:cxn ang="0">
                  <a:pos x="68" y="118"/>
                </a:cxn>
                <a:cxn ang="0">
                  <a:pos x="65" y="120"/>
                </a:cxn>
                <a:cxn ang="0">
                  <a:pos x="60" y="121"/>
                </a:cxn>
                <a:cxn ang="0">
                  <a:pos x="53" y="121"/>
                </a:cxn>
                <a:cxn ang="0">
                  <a:pos x="53" y="121"/>
                </a:cxn>
                <a:cxn ang="0">
                  <a:pos x="37" y="118"/>
                </a:cxn>
                <a:cxn ang="0">
                  <a:pos x="23" y="114"/>
                </a:cxn>
                <a:cxn ang="0">
                  <a:pos x="17" y="114"/>
                </a:cxn>
                <a:cxn ang="0">
                  <a:pos x="14" y="116"/>
                </a:cxn>
                <a:cxn ang="0">
                  <a:pos x="12" y="120"/>
                </a:cxn>
                <a:cxn ang="0">
                  <a:pos x="14" y="127"/>
                </a:cxn>
                <a:cxn ang="0">
                  <a:pos x="14" y="127"/>
                </a:cxn>
                <a:cxn ang="0">
                  <a:pos x="10" y="125"/>
                </a:cxn>
                <a:cxn ang="0">
                  <a:pos x="5" y="120"/>
                </a:cxn>
                <a:cxn ang="0">
                  <a:pos x="1" y="111"/>
                </a:cxn>
                <a:cxn ang="0">
                  <a:pos x="0" y="104"/>
                </a:cxn>
                <a:cxn ang="0">
                  <a:pos x="0" y="98"/>
                </a:cxn>
                <a:cxn ang="0">
                  <a:pos x="0" y="98"/>
                </a:cxn>
                <a:cxn ang="0">
                  <a:pos x="1" y="84"/>
                </a:cxn>
                <a:cxn ang="0">
                  <a:pos x="7" y="72"/>
                </a:cxn>
                <a:cxn ang="0">
                  <a:pos x="19" y="56"/>
                </a:cxn>
                <a:cxn ang="0">
                  <a:pos x="19" y="56"/>
                </a:cxn>
                <a:cxn ang="0">
                  <a:pos x="26" y="46"/>
                </a:cxn>
                <a:cxn ang="0">
                  <a:pos x="30" y="42"/>
                </a:cxn>
                <a:cxn ang="0">
                  <a:pos x="28" y="35"/>
                </a:cxn>
                <a:cxn ang="0">
                  <a:pos x="28" y="35"/>
                </a:cxn>
              </a:cxnLst>
              <a:rect l="0" t="0" r="r" b="b"/>
              <a:pathLst>
                <a:path w="135" h="127">
                  <a:moveTo>
                    <a:pt x="28" y="35"/>
                  </a:moveTo>
                  <a:lnTo>
                    <a:pt x="28" y="35"/>
                  </a:lnTo>
                  <a:lnTo>
                    <a:pt x="40" y="33"/>
                  </a:lnTo>
                  <a:lnTo>
                    <a:pt x="51" y="28"/>
                  </a:lnTo>
                  <a:lnTo>
                    <a:pt x="61" y="21"/>
                  </a:lnTo>
                  <a:lnTo>
                    <a:pt x="61" y="21"/>
                  </a:lnTo>
                  <a:lnTo>
                    <a:pt x="74" y="14"/>
                  </a:lnTo>
                  <a:lnTo>
                    <a:pt x="86" y="7"/>
                  </a:lnTo>
                  <a:lnTo>
                    <a:pt x="102" y="0"/>
                  </a:lnTo>
                  <a:lnTo>
                    <a:pt x="102" y="0"/>
                  </a:lnTo>
                  <a:lnTo>
                    <a:pt x="118" y="2"/>
                  </a:lnTo>
                  <a:lnTo>
                    <a:pt x="130" y="5"/>
                  </a:lnTo>
                  <a:lnTo>
                    <a:pt x="134" y="9"/>
                  </a:lnTo>
                  <a:lnTo>
                    <a:pt x="135" y="10"/>
                  </a:lnTo>
                  <a:lnTo>
                    <a:pt x="135" y="10"/>
                  </a:lnTo>
                  <a:lnTo>
                    <a:pt x="135" y="19"/>
                  </a:lnTo>
                  <a:lnTo>
                    <a:pt x="132" y="30"/>
                  </a:lnTo>
                  <a:lnTo>
                    <a:pt x="126" y="40"/>
                  </a:lnTo>
                  <a:lnTo>
                    <a:pt x="118" y="53"/>
                  </a:lnTo>
                  <a:lnTo>
                    <a:pt x="118" y="53"/>
                  </a:lnTo>
                  <a:lnTo>
                    <a:pt x="109" y="65"/>
                  </a:lnTo>
                  <a:lnTo>
                    <a:pt x="100" y="79"/>
                  </a:lnTo>
                  <a:lnTo>
                    <a:pt x="95" y="91"/>
                  </a:lnTo>
                  <a:lnTo>
                    <a:pt x="91" y="98"/>
                  </a:lnTo>
                  <a:lnTo>
                    <a:pt x="91" y="98"/>
                  </a:lnTo>
                  <a:lnTo>
                    <a:pt x="91" y="100"/>
                  </a:lnTo>
                  <a:lnTo>
                    <a:pt x="90" y="102"/>
                  </a:lnTo>
                  <a:lnTo>
                    <a:pt x="88" y="104"/>
                  </a:lnTo>
                  <a:lnTo>
                    <a:pt x="88" y="104"/>
                  </a:lnTo>
                  <a:lnTo>
                    <a:pt x="84" y="102"/>
                  </a:lnTo>
                  <a:lnTo>
                    <a:pt x="79" y="100"/>
                  </a:lnTo>
                  <a:lnTo>
                    <a:pt x="77" y="102"/>
                  </a:lnTo>
                  <a:lnTo>
                    <a:pt x="77" y="102"/>
                  </a:lnTo>
                  <a:lnTo>
                    <a:pt x="75" y="107"/>
                  </a:lnTo>
                  <a:lnTo>
                    <a:pt x="72" y="114"/>
                  </a:lnTo>
                  <a:lnTo>
                    <a:pt x="68" y="118"/>
                  </a:lnTo>
                  <a:lnTo>
                    <a:pt x="65" y="120"/>
                  </a:lnTo>
                  <a:lnTo>
                    <a:pt x="60" y="121"/>
                  </a:lnTo>
                  <a:lnTo>
                    <a:pt x="53" y="121"/>
                  </a:lnTo>
                  <a:lnTo>
                    <a:pt x="53" y="121"/>
                  </a:lnTo>
                  <a:lnTo>
                    <a:pt x="37" y="118"/>
                  </a:lnTo>
                  <a:lnTo>
                    <a:pt x="23" y="114"/>
                  </a:lnTo>
                  <a:lnTo>
                    <a:pt x="17" y="114"/>
                  </a:lnTo>
                  <a:lnTo>
                    <a:pt x="14" y="116"/>
                  </a:lnTo>
                  <a:lnTo>
                    <a:pt x="12" y="120"/>
                  </a:lnTo>
                  <a:lnTo>
                    <a:pt x="14" y="127"/>
                  </a:lnTo>
                  <a:lnTo>
                    <a:pt x="14" y="127"/>
                  </a:lnTo>
                  <a:lnTo>
                    <a:pt x="10" y="125"/>
                  </a:lnTo>
                  <a:lnTo>
                    <a:pt x="5" y="120"/>
                  </a:lnTo>
                  <a:lnTo>
                    <a:pt x="1" y="111"/>
                  </a:lnTo>
                  <a:lnTo>
                    <a:pt x="0" y="104"/>
                  </a:lnTo>
                  <a:lnTo>
                    <a:pt x="0" y="98"/>
                  </a:lnTo>
                  <a:lnTo>
                    <a:pt x="0" y="98"/>
                  </a:lnTo>
                  <a:lnTo>
                    <a:pt x="1" y="84"/>
                  </a:lnTo>
                  <a:lnTo>
                    <a:pt x="7" y="72"/>
                  </a:lnTo>
                  <a:lnTo>
                    <a:pt x="19" y="56"/>
                  </a:lnTo>
                  <a:lnTo>
                    <a:pt x="19" y="56"/>
                  </a:lnTo>
                  <a:lnTo>
                    <a:pt x="26" y="46"/>
                  </a:lnTo>
                  <a:lnTo>
                    <a:pt x="30" y="42"/>
                  </a:lnTo>
                  <a:lnTo>
                    <a:pt x="28" y="35"/>
                  </a:lnTo>
                  <a:lnTo>
                    <a:pt x="28" y="3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7" name="Freeform 43">
              <a:extLst>
                <a:ext uri="{FF2B5EF4-FFF2-40B4-BE49-F238E27FC236}">
                  <a16:creationId xmlns:a16="http://schemas.microsoft.com/office/drawing/2014/main" id="{655BE9E3-44A9-4203-95C2-E3042F1B44E0}"/>
                </a:ext>
              </a:extLst>
            </p:cNvPr>
            <p:cNvSpPr>
              <a:spLocks/>
            </p:cNvSpPr>
            <p:nvPr/>
          </p:nvSpPr>
          <p:spPr bwMode="auto">
            <a:xfrm>
              <a:off x="5539177" y="4278470"/>
              <a:ext cx="683485" cy="688839"/>
            </a:xfrm>
            <a:custGeom>
              <a:avLst/>
              <a:gdLst/>
              <a:ahLst/>
              <a:cxnLst>
                <a:cxn ang="0">
                  <a:pos x="702" y="373"/>
                </a:cxn>
                <a:cxn ang="0">
                  <a:pos x="708" y="417"/>
                </a:cxn>
                <a:cxn ang="0">
                  <a:pos x="704" y="505"/>
                </a:cxn>
                <a:cxn ang="0">
                  <a:pos x="711" y="583"/>
                </a:cxn>
                <a:cxn ang="0">
                  <a:pos x="741" y="655"/>
                </a:cxn>
                <a:cxn ang="0">
                  <a:pos x="752" y="709"/>
                </a:cxn>
                <a:cxn ang="0">
                  <a:pos x="736" y="720"/>
                </a:cxn>
                <a:cxn ang="0">
                  <a:pos x="662" y="736"/>
                </a:cxn>
                <a:cxn ang="0">
                  <a:pos x="591" y="755"/>
                </a:cxn>
                <a:cxn ang="0">
                  <a:pos x="572" y="762"/>
                </a:cxn>
                <a:cxn ang="0">
                  <a:pos x="521" y="769"/>
                </a:cxn>
                <a:cxn ang="0">
                  <a:pos x="473" y="769"/>
                </a:cxn>
                <a:cxn ang="0">
                  <a:pos x="438" y="755"/>
                </a:cxn>
                <a:cxn ang="0">
                  <a:pos x="391" y="727"/>
                </a:cxn>
                <a:cxn ang="0">
                  <a:pos x="357" y="669"/>
                </a:cxn>
                <a:cxn ang="0">
                  <a:pos x="345" y="641"/>
                </a:cxn>
                <a:cxn ang="0">
                  <a:pos x="331" y="620"/>
                </a:cxn>
                <a:cxn ang="0">
                  <a:pos x="318" y="613"/>
                </a:cxn>
                <a:cxn ang="0">
                  <a:pos x="276" y="611"/>
                </a:cxn>
                <a:cxn ang="0">
                  <a:pos x="252" y="618"/>
                </a:cxn>
                <a:cxn ang="0">
                  <a:pos x="229" y="616"/>
                </a:cxn>
                <a:cxn ang="0">
                  <a:pos x="204" y="605"/>
                </a:cxn>
                <a:cxn ang="0">
                  <a:pos x="137" y="558"/>
                </a:cxn>
                <a:cxn ang="0">
                  <a:pos x="107" y="546"/>
                </a:cxn>
                <a:cxn ang="0">
                  <a:pos x="102" y="486"/>
                </a:cxn>
                <a:cxn ang="0">
                  <a:pos x="84" y="442"/>
                </a:cxn>
                <a:cxn ang="0">
                  <a:pos x="21" y="310"/>
                </a:cxn>
                <a:cxn ang="0">
                  <a:pos x="2" y="258"/>
                </a:cxn>
                <a:cxn ang="0">
                  <a:pos x="12" y="246"/>
                </a:cxn>
                <a:cxn ang="0">
                  <a:pos x="28" y="251"/>
                </a:cxn>
                <a:cxn ang="0">
                  <a:pos x="51" y="246"/>
                </a:cxn>
                <a:cxn ang="0">
                  <a:pos x="77" y="221"/>
                </a:cxn>
                <a:cxn ang="0">
                  <a:pos x="93" y="195"/>
                </a:cxn>
                <a:cxn ang="0">
                  <a:pos x="111" y="165"/>
                </a:cxn>
                <a:cxn ang="0">
                  <a:pos x="111" y="151"/>
                </a:cxn>
                <a:cxn ang="0">
                  <a:pos x="98" y="119"/>
                </a:cxn>
                <a:cxn ang="0">
                  <a:pos x="81" y="109"/>
                </a:cxn>
                <a:cxn ang="0">
                  <a:pos x="98" y="74"/>
                </a:cxn>
                <a:cxn ang="0">
                  <a:pos x="121" y="42"/>
                </a:cxn>
                <a:cxn ang="0">
                  <a:pos x="128" y="15"/>
                </a:cxn>
                <a:cxn ang="0">
                  <a:pos x="473" y="70"/>
                </a:cxn>
                <a:cxn ang="0">
                  <a:pos x="613" y="167"/>
                </a:cxn>
                <a:cxn ang="0">
                  <a:pos x="616" y="188"/>
                </a:cxn>
                <a:cxn ang="0">
                  <a:pos x="667" y="214"/>
                </a:cxn>
                <a:cxn ang="0">
                  <a:pos x="704" y="237"/>
                </a:cxn>
                <a:cxn ang="0">
                  <a:pos x="708" y="248"/>
                </a:cxn>
                <a:cxn ang="0">
                  <a:pos x="694" y="273"/>
                </a:cxn>
                <a:cxn ang="0">
                  <a:pos x="685" y="322"/>
                </a:cxn>
                <a:cxn ang="0">
                  <a:pos x="692" y="354"/>
                </a:cxn>
              </a:cxnLst>
              <a:rect l="0" t="0" r="r" b="b"/>
              <a:pathLst>
                <a:path w="764" h="771">
                  <a:moveTo>
                    <a:pt x="697" y="364"/>
                  </a:moveTo>
                  <a:lnTo>
                    <a:pt x="697" y="364"/>
                  </a:lnTo>
                  <a:lnTo>
                    <a:pt x="702" y="373"/>
                  </a:lnTo>
                  <a:lnTo>
                    <a:pt x="706" y="385"/>
                  </a:lnTo>
                  <a:lnTo>
                    <a:pt x="708" y="399"/>
                  </a:lnTo>
                  <a:lnTo>
                    <a:pt x="708" y="417"/>
                  </a:lnTo>
                  <a:lnTo>
                    <a:pt x="708" y="458"/>
                  </a:lnTo>
                  <a:lnTo>
                    <a:pt x="704" y="505"/>
                  </a:lnTo>
                  <a:lnTo>
                    <a:pt x="704" y="505"/>
                  </a:lnTo>
                  <a:lnTo>
                    <a:pt x="702" y="530"/>
                  </a:lnTo>
                  <a:lnTo>
                    <a:pt x="706" y="556"/>
                  </a:lnTo>
                  <a:lnTo>
                    <a:pt x="711" y="583"/>
                  </a:lnTo>
                  <a:lnTo>
                    <a:pt x="720" y="607"/>
                  </a:lnTo>
                  <a:lnTo>
                    <a:pt x="731" y="632"/>
                  </a:lnTo>
                  <a:lnTo>
                    <a:pt x="741" y="655"/>
                  </a:lnTo>
                  <a:lnTo>
                    <a:pt x="764" y="699"/>
                  </a:lnTo>
                  <a:lnTo>
                    <a:pt x="764" y="699"/>
                  </a:lnTo>
                  <a:lnTo>
                    <a:pt x="752" y="709"/>
                  </a:lnTo>
                  <a:lnTo>
                    <a:pt x="743" y="716"/>
                  </a:lnTo>
                  <a:lnTo>
                    <a:pt x="736" y="720"/>
                  </a:lnTo>
                  <a:lnTo>
                    <a:pt x="736" y="720"/>
                  </a:lnTo>
                  <a:lnTo>
                    <a:pt x="701" y="729"/>
                  </a:lnTo>
                  <a:lnTo>
                    <a:pt x="662" y="736"/>
                  </a:lnTo>
                  <a:lnTo>
                    <a:pt x="662" y="736"/>
                  </a:lnTo>
                  <a:lnTo>
                    <a:pt x="648" y="739"/>
                  </a:lnTo>
                  <a:lnTo>
                    <a:pt x="625" y="745"/>
                  </a:lnTo>
                  <a:lnTo>
                    <a:pt x="591" y="755"/>
                  </a:lnTo>
                  <a:lnTo>
                    <a:pt x="591" y="755"/>
                  </a:lnTo>
                  <a:lnTo>
                    <a:pt x="586" y="757"/>
                  </a:lnTo>
                  <a:lnTo>
                    <a:pt x="572" y="762"/>
                  </a:lnTo>
                  <a:lnTo>
                    <a:pt x="551" y="768"/>
                  </a:lnTo>
                  <a:lnTo>
                    <a:pt x="537" y="769"/>
                  </a:lnTo>
                  <a:lnTo>
                    <a:pt x="521" y="769"/>
                  </a:lnTo>
                  <a:lnTo>
                    <a:pt x="521" y="769"/>
                  </a:lnTo>
                  <a:lnTo>
                    <a:pt x="493" y="771"/>
                  </a:lnTo>
                  <a:lnTo>
                    <a:pt x="473" y="769"/>
                  </a:lnTo>
                  <a:lnTo>
                    <a:pt x="465" y="769"/>
                  </a:lnTo>
                  <a:lnTo>
                    <a:pt x="458" y="766"/>
                  </a:lnTo>
                  <a:lnTo>
                    <a:pt x="438" y="755"/>
                  </a:lnTo>
                  <a:lnTo>
                    <a:pt x="438" y="755"/>
                  </a:lnTo>
                  <a:lnTo>
                    <a:pt x="403" y="734"/>
                  </a:lnTo>
                  <a:lnTo>
                    <a:pt x="391" y="727"/>
                  </a:lnTo>
                  <a:lnTo>
                    <a:pt x="391" y="727"/>
                  </a:lnTo>
                  <a:lnTo>
                    <a:pt x="371" y="694"/>
                  </a:lnTo>
                  <a:lnTo>
                    <a:pt x="357" y="669"/>
                  </a:lnTo>
                  <a:lnTo>
                    <a:pt x="348" y="651"/>
                  </a:lnTo>
                  <a:lnTo>
                    <a:pt x="348" y="651"/>
                  </a:lnTo>
                  <a:lnTo>
                    <a:pt x="345" y="641"/>
                  </a:lnTo>
                  <a:lnTo>
                    <a:pt x="340" y="628"/>
                  </a:lnTo>
                  <a:lnTo>
                    <a:pt x="336" y="623"/>
                  </a:lnTo>
                  <a:lnTo>
                    <a:pt x="331" y="620"/>
                  </a:lnTo>
                  <a:lnTo>
                    <a:pt x="326" y="616"/>
                  </a:lnTo>
                  <a:lnTo>
                    <a:pt x="318" y="613"/>
                  </a:lnTo>
                  <a:lnTo>
                    <a:pt x="318" y="613"/>
                  </a:lnTo>
                  <a:lnTo>
                    <a:pt x="310" y="611"/>
                  </a:lnTo>
                  <a:lnTo>
                    <a:pt x="299" y="609"/>
                  </a:lnTo>
                  <a:lnTo>
                    <a:pt x="276" y="611"/>
                  </a:lnTo>
                  <a:lnTo>
                    <a:pt x="266" y="613"/>
                  </a:lnTo>
                  <a:lnTo>
                    <a:pt x="257" y="614"/>
                  </a:lnTo>
                  <a:lnTo>
                    <a:pt x="252" y="618"/>
                  </a:lnTo>
                  <a:lnTo>
                    <a:pt x="250" y="621"/>
                  </a:lnTo>
                  <a:lnTo>
                    <a:pt x="250" y="621"/>
                  </a:lnTo>
                  <a:lnTo>
                    <a:pt x="229" y="616"/>
                  </a:lnTo>
                  <a:lnTo>
                    <a:pt x="213" y="611"/>
                  </a:lnTo>
                  <a:lnTo>
                    <a:pt x="204" y="605"/>
                  </a:lnTo>
                  <a:lnTo>
                    <a:pt x="204" y="605"/>
                  </a:lnTo>
                  <a:lnTo>
                    <a:pt x="178" y="586"/>
                  </a:lnTo>
                  <a:lnTo>
                    <a:pt x="156" y="572"/>
                  </a:lnTo>
                  <a:lnTo>
                    <a:pt x="137" y="558"/>
                  </a:lnTo>
                  <a:lnTo>
                    <a:pt x="107" y="551"/>
                  </a:lnTo>
                  <a:lnTo>
                    <a:pt x="107" y="551"/>
                  </a:lnTo>
                  <a:lnTo>
                    <a:pt x="107" y="546"/>
                  </a:lnTo>
                  <a:lnTo>
                    <a:pt x="107" y="526"/>
                  </a:lnTo>
                  <a:lnTo>
                    <a:pt x="105" y="502"/>
                  </a:lnTo>
                  <a:lnTo>
                    <a:pt x="102" y="486"/>
                  </a:lnTo>
                  <a:lnTo>
                    <a:pt x="97" y="470"/>
                  </a:lnTo>
                  <a:lnTo>
                    <a:pt x="97" y="470"/>
                  </a:lnTo>
                  <a:lnTo>
                    <a:pt x="84" y="442"/>
                  </a:lnTo>
                  <a:lnTo>
                    <a:pt x="72" y="417"/>
                  </a:lnTo>
                  <a:lnTo>
                    <a:pt x="60" y="396"/>
                  </a:lnTo>
                  <a:lnTo>
                    <a:pt x="21" y="310"/>
                  </a:lnTo>
                  <a:lnTo>
                    <a:pt x="0" y="266"/>
                  </a:lnTo>
                  <a:lnTo>
                    <a:pt x="0" y="266"/>
                  </a:lnTo>
                  <a:lnTo>
                    <a:pt x="2" y="258"/>
                  </a:lnTo>
                  <a:lnTo>
                    <a:pt x="5" y="251"/>
                  </a:lnTo>
                  <a:lnTo>
                    <a:pt x="12" y="246"/>
                  </a:lnTo>
                  <a:lnTo>
                    <a:pt x="12" y="246"/>
                  </a:lnTo>
                  <a:lnTo>
                    <a:pt x="12" y="248"/>
                  </a:lnTo>
                  <a:lnTo>
                    <a:pt x="17" y="250"/>
                  </a:lnTo>
                  <a:lnTo>
                    <a:pt x="28" y="251"/>
                  </a:lnTo>
                  <a:lnTo>
                    <a:pt x="46" y="248"/>
                  </a:lnTo>
                  <a:lnTo>
                    <a:pt x="46" y="248"/>
                  </a:lnTo>
                  <a:lnTo>
                    <a:pt x="51" y="246"/>
                  </a:lnTo>
                  <a:lnTo>
                    <a:pt x="61" y="237"/>
                  </a:lnTo>
                  <a:lnTo>
                    <a:pt x="68" y="230"/>
                  </a:lnTo>
                  <a:lnTo>
                    <a:pt x="77" y="221"/>
                  </a:lnTo>
                  <a:lnTo>
                    <a:pt x="84" y="209"/>
                  </a:lnTo>
                  <a:lnTo>
                    <a:pt x="93" y="195"/>
                  </a:lnTo>
                  <a:lnTo>
                    <a:pt x="93" y="195"/>
                  </a:lnTo>
                  <a:lnTo>
                    <a:pt x="102" y="181"/>
                  </a:lnTo>
                  <a:lnTo>
                    <a:pt x="109" y="170"/>
                  </a:lnTo>
                  <a:lnTo>
                    <a:pt x="111" y="165"/>
                  </a:lnTo>
                  <a:lnTo>
                    <a:pt x="112" y="162"/>
                  </a:lnTo>
                  <a:lnTo>
                    <a:pt x="112" y="162"/>
                  </a:lnTo>
                  <a:lnTo>
                    <a:pt x="111" y="151"/>
                  </a:lnTo>
                  <a:lnTo>
                    <a:pt x="107" y="135"/>
                  </a:lnTo>
                  <a:lnTo>
                    <a:pt x="104" y="126"/>
                  </a:lnTo>
                  <a:lnTo>
                    <a:pt x="98" y="119"/>
                  </a:lnTo>
                  <a:lnTo>
                    <a:pt x="91" y="112"/>
                  </a:lnTo>
                  <a:lnTo>
                    <a:pt x="81" y="109"/>
                  </a:lnTo>
                  <a:lnTo>
                    <a:pt x="81" y="109"/>
                  </a:lnTo>
                  <a:lnTo>
                    <a:pt x="86" y="96"/>
                  </a:lnTo>
                  <a:lnTo>
                    <a:pt x="91" y="84"/>
                  </a:lnTo>
                  <a:lnTo>
                    <a:pt x="98" y="74"/>
                  </a:lnTo>
                  <a:lnTo>
                    <a:pt x="98" y="74"/>
                  </a:lnTo>
                  <a:lnTo>
                    <a:pt x="114" y="51"/>
                  </a:lnTo>
                  <a:lnTo>
                    <a:pt x="121" y="42"/>
                  </a:lnTo>
                  <a:lnTo>
                    <a:pt x="125" y="35"/>
                  </a:lnTo>
                  <a:lnTo>
                    <a:pt x="125" y="35"/>
                  </a:lnTo>
                  <a:lnTo>
                    <a:pt x="128" y="15"/>
                  </a:lnTo>
                  <a:lnTo>
                    <a:pt x="156" y="7"/>
                  </a:lnTo>
                  <a:lnTo>
                    <a:pt x="336" y="0"/>
                  </a:lnTo>
                  <a:lnTo>
                    <a:pt x="473" y="70"/>
                  </a:lnTo>
                  <a:lnTo>
                    <a:pt x="611" y="153"/>
                  </a:lnTo>
                  <a:lnTo>
                    <a:pt x="611" y="153"/>
                  </a:lnTo>
                  <a:lnTo>
                    <a:pt x="613" y="167"/>
                  </a:lnTo>
                  <a:lnTo>
                    <a:pt x="616" y="186"/>
                  </a:lnTo>
                  <a:lnTo>
                    <a:pt x="616" y="186"/>
                  </a:lnTo>
                  <a:lnTo>
                    <a:pt x="616" y="188"/>
                  </a:lnTo>
                  <a:lnTo>
                    <a:pt x="620" y="192"/>
                  </a:lnTo>
                  <a:lnTo>
                    <a:pt x="632" y="197"/>
                  </a:lnTo>
                  <a:lnTo>
                    <a:pt x="667" y="214"/>
                  </a:lnTo>
                  <a:lnTo>
                    <a:pt x="685" y="223"/>
                  </a:lnTo>
                  <a:lnTo>
                    <a:pt x="699" y="232"/>
                  </a:lnTo>
                  <a:lnTo>
                    <a:pt x="704" y="237"/>
                  </a:lnTo>
                  <a:lnTo>
                    <a:pt x="708" y="241"/>
                  </a:lnTo>
                  <a:lnTo>
                    <a:pt x="709" y="244"/>
                  </a:lnTo>
                  <a:lnTo>
                    <a:pt x="708" y="248"/>
                  </a:lnTo>
                  <a:lnTo>
                    <a:pt x="708" y="248"/>
                  </a:lnTo>
                  <a:lnTo>
                    <a:pt x="701" y="262"/>
                  </a:lnTo>
                  <a:lnTo>
                    <a:pt x="694" y="273"/>
                  </a:lnTo>
                  <a:lnTo>
                    <a:pt x="688" y="287"/>
                  </a:lnTo>
                  <a:lnTo>
                    <a:pt x="685" y="304"/>
                  </a:lnTo>
                  <a:lnTo>
                    <a:pt x="685" y="322"/>
                  </a:lnTo>
                  <a:lnTo>
                    <a:pt x="687" y="332"/>
                  </a:lnTo>
                  <a:lnTo>
                    <a:pt x="688" y="343"/>
                  </a:lnTo>
                  <a:lnTo>
                    <a:pt x="692" y="354"/>
                  </a:lnTo>
                  <a:lnTo>
                    <a:pt x="697" y="364"/>
                  </a:lnTo>
                  <a:lnTo>
                    <a:pt x="697" y="36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8" name="Freeform 44">
              <a:extLst>
                <a:ext uri="{FF2B5EF4-FFF2-40B4-BE49-F238E27FC236}">
                  <a16:creationId xmlns:a16="http://schemas.microsoft.com/office/drawing/2014/main" id="{54C36C0F-0EB3-4E75-A6D0-7A2B8EE5CA45}"/>
                </a:ext>
              </a:extLst>
            </p:cNvPr>
            <p:cNvSpPr>
              <a:spLocks/>
            </p:cNvSpPr>
            <p:nvPr/>
          </p:nvSpPr>
          <p:spPr bwMode="auto">
            <a:xfrm>
              <a:off x="5557023" y="3953681"/>
              <a:ext cx="355126" cy="362266"/>
            </a:xfrm>
            <a:custGeom>
              <a:avLst/>
              <a:gdLst/>
              <a:ahLst/>
              <a:cxnLst>
                <a:cxn ang="0">
                  <a:pos x="100" y="26"/>
                </a:cxn>
                <a:cxn ang="0">
                  <a:pos x="115" y="58"/>
                </a:cxn>
                <a:cxn ang="0">
                  <a:pos x="120" y="90"/>
                </a:cxn>
                <a:cxn ang="0">
                  <a:pos x="118" y="125"/>
                </a:cxn>
                <a:cxn ang="0">
                  <a:pos x="111" y="143"/>
                </a:cxn>
                <a:cxn ang="0">
                  <a:pos x="83" y="199"/>
                </a:cxn>
                <a:cxn ang="0">
                  <a:pos x="56" y="238"/>
                </a:cxn>
                <a:cxn ang="0">
                  <a:pos x="27" y="285"/>
                </a:cxn>
                <a:cxn ang="0">
                  <a:pos x="14" y="329"/>
                </a:cxn>
                <a:cxn ang="0">
                  <a:pos x="9" y="343"/>
                </a:cxn>
                <a:cxn ang="0">
                  <a:pos x="0" y="389"/>
                </a:cxn>
                <a:cxn ang="0">
                  <a:pos x="2" y="405"/>
                </a:cxn>
                <a:cxn ang="0">
                  <a:pos x="9" y="405"/>
                </a:cxn>
                <a:cxn ang="0">
                  <a:pos x="28" y="396"/>
                </a:cxn>
                <a:cxn ang="0">
                  <a:pos x="49" y="380"/>
                </a:cxn>
                <a:cxn ang="0">
                  <a:pos x="67" y="373"/>
                </a:cxn>
                <a:cxn ang="0">
                  <a:pos x="78" y="372"/>
                </a:cxn>
                <a:cxn ang="0">
                  <a:pos x="99" y="373"/>
                </a:cxn>
                <a:cxn ang="0">
                  <a:pos x="108" y="377"/>
                </a:cxn>
                <a:cxn ang="0">
                  <a:pos x="137" y="372"/>
                </a:cxn>
                <a:cxn ang="0">
                  <a:pos x="317" y="365"/>
                </a:cxn>
                <a:cxn ang="0">
                  <a:pos x="336" y="275"/>
                </a:cxn>
                <a:cxn ang="0">
                  <a:pos x="342" y="259"/>
                </a:cxn>
                <a:cxn ang="0">
                  <a:pos x="363" y="211"/>
                </a:cxn>
                <a:cxn ang="0">
                  <a:pos x="370" y="206"/>
                </a:cxn>
                <a:cxn ang="0">
                  <a:pos x="382" y="190"/>
                </a:cxn>
                <a:cxn ang="0">
                  <a:pos x="395" y="166"/>
                </a:cxn>
                <a:cxn ang="0">
                  <a:pos x="398" y="144"/>
                </a:cxn>
                <a:cxn ang="0">
                  <a:pos x="396" y="136"/>
                </a:cxn>
                <a:cxn ang="0">
                  <a:pos x="382" y="72"/>
                </a:cxn>
                <a:cxn ang="0">
                  <a:pos x="370" y="39"/>
                </a:cxn>
                <a:cxn ang="0">
                  <a:pos x="365" y="33"/>
                </a:cxn>
                <a:cxn ang="0">
                  <a:pos x="338" y="12"/>
                </a:cxn>
                <a:cxn ang="0">
                  <a:pos x="321" y="0"/>
                </a:cxn>
                <a:cxn ang="0">
                  <a:pos x="259" y="14"/>
                </a:cxn>
                <a:cxn ang="0">
                  <a:pos x="169" y="26"/>
                </a:cxn>
                <a:cxn ang="0">
                  <a:pos x="113" y="28"/>
                </a:cxn>
                <a:cxn ang="0">
                  <a:pos x="100" y="26"/>
                </a:cxn>
              </a:cxnLst>
              <a:rect l="0" t="0" r="r" b="b"/>
              <a:pathLst>
                <a:path w="398" h="405">
                  <a:moveTo>
                    <a:pt x="100" y="26"/>
                  </a:moveTo>
                  <a:lnTo>
                    <a:pt x="100" y="26"/>
                  </a:lnTo>
                  <a:lnTo>
                    <a:pt x="106" y="35"/>
                  </a:lnTo>
                  <a:lnTo>
                    <a:pt x="115" y="58"/>
                  </a:lnTo>
                  <a:lnTo>
                    <a:pt x="118" y="74"/>
                  </a:lnTo>
                  <a:lnTo>
                    <a:pt x="120" y="90"/>
                  </a:lnTo>
                  <a:lnTo>
                    <a:pt x="120" y="107"/>
                  </a:lnTo>
                  <a:lnTo>
                    <a:pt x="118" y="125"/>
                  </a:lnTo>
                  <a:lnTo>
                    <a:pt x="118" y="125"/>
                  </a:lnTo>
                  <a:lnTo>
                    <a:pt x="111" y="143"/>
                  </a:lnTo>
                  <a:lnTo>
                    <a:pt x="102" y="162"/>
                  </a:lnTo>
                  <a:lnTo>
                    <a:pt x="83" y="199"/>
                  </a:lnTo>
                  <a:lnTo>
                    <a:pt x="64" y="227"/>
                  </a:lnTo>
                  <a:lnTo>
                    <a:pt x="56" y="238"/>
                  </a:lnTo>
                  <a:lnTo>
                    <a:pt x="27" y="285"/>
                  </a:lnTo>
                  <a:lnTo>
                    <a:pt x="27" y="285"/>
                  </a:lnTo>
                  <a:lnTo>
                    <a:pt x="21" y="305"/>
                  </a:lnTo>
                  <a:lnTo>
                    <a:pt x="14" y="329"/>
                  </a:lnTo>
                  <a:lnTo>
                    <a:pt x="14" y="329"/>
                  </a:lnTo>
                  <a:lnTo>
                    <a:pt x="9" y="343"/>
                  </a:lnTo>
                  <a:lnTo>
                    <a:pt x="4" y="365"/>
                  </a:lnTo>
                  <a:lnTo>
                    <a:pt x="0" y="389"/>
                  </a:lnTo>
                  <a:lnTo>
                    <a:pt x="0" y="398"/>
                  </a:lnTo>
                  <a:lnTo>
                    <a:pt x="2" y="405"/>
                  </a:lnTo>
                  <a:lnTo>
                    <a:pt x="2" y="405"/>
                  </a:lnTo>
                  <a:lnTo>
                    <a:pt x="9" y="405"/>
                  </a:lnTo>
                  <a:lnTo>
                    <a:pt x="18" y="403"/>
                  </a:lnTo>
                  <a:lnTo>
                    <a:pt x="28" y="396"/>
                  </a:lnTo>
                  <a:lnTo>
                    <a:pt x="28" y="396"/>
                  </a:lnTo>
                  <a:lnTo>
                    <a:pt x="49" y="380"/>
                  </a:lnTo>
                  <a:lnTo>
                    <a:pt x="60" y="375"/>
                  </a:lnTo>
                  <a:lnTo>
                    <a:pt x="67" y="373"/>
                  </a:lnTo>
                  <a:lnTo>
                    <a:pt x="67" y="373"/>
                  </a:lnTo>
                  <a:lnTo>
                    <a:pt x="78" y="372"/>
                  </a:lnTo>
                  <a:lnTo>
                    <a:pt x="92" y="372"/>
                  </a:lnTo>
                  <a:lnTo>
                    <a:pt x="99" y="373"/>
                  </a:lnTo>
                  <a:lnTo>
                    <a:pt x="104" y="375"/>
                  </a:lnTo>
                  <a:lnTo>
                    <a:pt x="108" y="377"/>
                  </a:lnTo>
                  <a:lnTo>
                    <a:pt x="109" y="380"/>
                  </a:lnTo>
                  <a:lnTo>
                    <a:pt x="137" y="372"/>
                  </a:lnTo>
                  <a:lnTo>
                    <a:pt x="317" y="365"/>
                  </a:lnTo>
                  <a:lnTo>
                    <a:pt x="317" y="365"/>
                  </a:lnTo>
                  <a:lnTo>
                    <a:pt x="326" y="326"/>
                  </a:lnTo>
                  <a:lnTo>
                    <a:pt x="336" y="275"/>
                  </a:lnTo>
                  <a:lnTo>
                    <a:pt x="336" y="275"/>
                  </a:lnTo>
                  <a:lnTo>
                    <a:pt x="342" y="259"/>
                  </a:lnTo>
                  <a:lnTo>
                    <a:pt x="351" y="236"/>
                  </a:lnTo>
                  <a:lnTo>
                    <a:pt x="363" y="211"/>
                  </a:lnTo>
                  <a:lnTo>
                    <a:pt x="363" y="211"/>
                  </a:lnTo>
                  <a:lnTo>
                    <a:pt x="370" y="206"/>
                  </a:lnTo>
                  <a:lnTo>
                    <a:pt x="375" y="199"/>
                  </a:lnTo>
                  <a:lnTo>
                    <a:pt x="382" y="190"/>
                  </a:lnTo>
                  <a:lnTo>
                    <a:pt x="389" y="180"/>
                  </a:lnTo>
                  <a:lnTo>
                    <a:pt x="395" y="166"/>
                  </a:lnTo>
                  <a:lnTo>
                    <a:pt x="398" y="151"/>
                  </a:lnTo>
                  <a:lnTo>
                    <a:pt x="398" y="144"/>
                  </a:lnTo>
                  <a:lnTo>
                    <a:pt x="396" y="136"/>
                  </a:lnTo>
                  <a:lnTo>
                    <a:pt x="396" y="136"/>
                  </a:lnTo>
                  <a:lnTo>
                    <a:pt x="391" y="102"/>
                  </a:lnTo>
                  <a:lnTo>
                    <a:pt x="382" y="72"/>
                  </a:lnTo>
                  <a:lnTo>
                    <a:pt x="375" y="48"/>
                  </a:lnTo>
                  <a:lnTo>
                    <a:pt x="370" y="39"/>
                  </a:lnTo>
                  <a:lnTo>
                    <a:pt x="365" y="33"/>
                  </a:lnTo>
                  <a:lnTo>
                    <a:pt x="365" y="33"/>
                  </a:lnTo>
                  <a:lnTo>
                    <a:pt x="352" y="23"/>
                  </a:lnTo>
                  <a:lnTo>
                    <a:pt x="338" y="12"/>
                  </a:lnTo>
                  <a:lnTo>
                    <a:pt x="321" y="0"/>
                  </a:lnTo>
                  <a:lnTo>
                    <a:pt x="321" y="0"/>
                  </a:lnTo>
                  <a:lnTo>
                    <a:pt x="259" y="14"/>
                  </a:lnTo>
                  <a:lnTo>
                    <a:pt x="259" y="14"/>
                  </a:lnTo>
                  <a:lnTo>
                    <a:pt x="215" y="21"/>
                  </a:lnTo>
                  <a:lnTo>
                    <a:pt x="169" y="26"/>
                  </a:lnTo>
                  <a:lnTo>
                    <a:pt x="129" y="28"/>
                  </a:lnTo>
                  <a:lnTo>
                    <a:pt x="113" y="28"/>
                  </a:lnTo>
                  <a:lnTo>
                    <a:pt x="100" y="26"/>
                  </a:lnTo>
                  <a:lnTo>
                    <a:pt x="100" y="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19" name="Freeform 45">
              <a:extLst>
                <a:ext uri="{FF2B5EF4-FFF2-40B4-BE49-F238E27FC236}">
                  <a16:creationId xmlns:a16="http://schemas.microsoft.com/office/drawing/2014/main" id="{0A6694FC-C7FE-4289-8615-DA75A407E3AA}"/>
                </a:ext>
              </a:extLst>
            </p:cNvPr>
            <p:cNvSpPr>
              <a:spLocks/>
            </p:cNvSpPr>
            <p:nvPr/>
          </p:nvSpPr>
          <p:spPr bwMode="auto">
            <a:xfrm>
              <a:off x="5840768" y="3903713"/>
              <a:ext cx="505029" cy="599611"/>
            </a:xfrm>
            <a:custGeom>
              <a:avLst/>
              <a:gdLst/>
              <a:ahLst/>
              <a:cxnLst>
                <a:cxn ang="0">
                  <a:pos x="514" y="477"/>
                </a:cxn>
                <a:cxn ang="0">
                  <a:pos x="500" y="482"/>
                </a:cxn>
                <a:cxn ang="0">
                  <a:pos x="493" y="491"/>
                </a:cxn>
                <a:cxn ang="0">
                  <a:pos x="465" y="521"/>
                </a:cxn>
                <a:cxn ang="0">
                  <a:pos x="458" y="535"/>
                </a:cxn>
                <a:cxn ang="0">
                  <a:pos x="454" y="561"/>
                </a:cxn>
                <a:cxn ang="0">
                  <a:pos x="449" y="567"/>
                </a:cxn>
                <a:cxn ang="0">
                  <a:pos x="433" y="567"/>
                </a:cxn>
                <a:cxn ang="0">
                  <a:pos x="425" y="570"/>
                </a:cxn>
                <a:cxn ang="0">
                  <a:pos x="425" y="597"/>
                </a:cxn>
                <a:cxn ang="0">
                  <a:pos x="417" y="634"/>
                </a:cxn>
                <a:cxn ang="0">
                  <a:pos x="393" y="662"/>
                </a:cxn>
                <a:cxn ang="0">
                  <a:pos x="275" y="574"/>
                </a:cxn>
                <a:cxn ang="0">
                  <a:pos x="19" y="327"/>
                </a:cxn>
                <a:cxn ang="0">
                  <a:pos x="51" y="262"/>
                </a:cxn>
                <a:cxn ang="0">
                  <a:pos x="78" y="225"/>
                </a:cxn>
                <a:cxn ang="0">
                  <a:pos x="81" y="199"/>
                </a:cxn>
                <a:cxn ang="0">
                  <a:pos x="65" y="132"/>
                </a:cxn>
                <a:cxn ang="0">
                  <a:pos x="48" y="89"/>
                </a:cxn>
                <a:cxn ang="0">
                  <a:pos x="4" y="56"/>
                </a:cxn>
                <a:cxn ang="0">
                  <a:pos x="5" y="33"/>
                </a:cxn>
                <a:cxn ang="0">
                  <a:pos x="25" y="8"/>
                </a:cxn>
                <a:cxn ang="0">
                  <a:pos x="37" y="7"/>
                </a:cxn>
                <a:cxn ang="0">
                  <a:pos x="113" y="1"/>
                </a:cxn>
                <a:cxn ang="0">
                  <a:pos x="157" y="0"/>
                </a:cxn>
                <a:cxn ang="0">
                  <a:pos x="185" y="10"/>
                </a:cxn>
                <a:cxn ang="0">
                  <a:pos x="238" y="51"/>
                </a:cxn>
                <a:cxn ang="0">
                  <a:pos x="294" y="84"/>
                </a:cxn>
                <a:cxn ang="0">
                  <a:pos x="324" y="96"/>
                </a:cxn>
                <a:cxn ang="0">
                  <a:pos x="363" y="104"/>
                </a:cxn>
                <a:cxn ang="0">
                  <a:pos x="398" y="96"/>
                </a:cxn>
                <a:cxn ang="0">
                  <a:pos x="486" y="72"/>
                </a:cxn>
                <a:cxn ang="0">
                  <a:pos x="518" y="68"/>
                </a:cxn>
                <a:cxn ang="0">
                  <a:pos x="562" y="70"/>
                </a:cxn>
                <a:cxn ang="0">
                  <a:pos x="565" y="79"/>
                </a:cxn>
                <a:cxn ang="0">
                  <a:pos x="546" y="109"/>
                </a:cxn>
                <a:cxn ang="0">
                  <a:pos x="520" y="137"/>
                </a:cxn>
                <a:cxn ang="0">
                  <a:pos x="490" y="167"/>
                </a:cxn>
                <a:cxn ang="0">
                  <a:pos x="486" y="213"/>
                </a:cxn>
                <a:cxn ang="0">
                  <a:pos x="477" y="368"/>
                </a:cxn>
                <a:cxn ang="0">
                  <a:pos x="483" y="408"/>
                </a:cxn>
                <a:cxn ang="0">
                  <a:pos x="490" y="419"/>
                </a:cxn>
                <a:cxn ang="0">
                  <a:pos x="504" y="445"/>
                </a:cxn>
                <a:cxn ang="0">
                  <a:pos x="518" y="458"/>
                </a:cxn>
                <a:cxn ang="0">
                  <a:pos x="528" y="473"/>
                </a:cxn>
              </a:cxnLst>
              <a:rect l="0" t="0" r="r" b="b"/>
              <a:pathLst>
                <a:path w="567" h="672">
                  <a:moveTo>
                    <a:pt x="527" y="477"/>
                  </a:moveTo>
                  <a:lnTo>
                    <a:pt x="527" y="477"/>
                  </a:lnTo>
                  <a:lnTo>
                    <a:pt x="514" y="477"/>
                  </a:lnTo>
                  <a:lnTo>
                    <a:pt x="506" y="479"/>
                  </a:lnTo>
                  <a:lnTo>
                    <a:pt x="502" y="480"/>
                  </a:lnTo>
                  <a:lnTo>
                    <a:pt x="500" y="482"/>
                  </a:lnTo>
                  <a:lnTo>
                    <a:pt x="500" y="482"/>
                  </a:lnTo>
                  <a:lnTo>
                    <a:pt x="498" y="487"/>
                  </a:lnTo>
                  <a:lnTo>
                    <a:pt x="493" y="491"/>
                  </a:lnTo>
                  <a:lnTo>
                    <a:pt x="483" y="502"/>
                  </a:lnTo>
                  <a:lnTo>
                    <a:pt x="470" y="514"/>
                  </a:lnTo>
                  <a:lnTo>
                    <a:pt x="465" y="521"/>
                  </a:lnTo>
                  <a:lnTo>
                    <a:pt x="460" y="528"/>
                  </a:lnTo>
                  <a:lnTo>
                    <a:pt x="460" y="528"/>
                  </a:lnTo>
                  <a:lnTo>
                    <a:pt x="458" y="535"/>
                  </a:lnTo>
                  <a:lnTo>
                    <a:pt x="456" y="542"/>
                  </a:lnTo>
                  <a:lnTo>
                    <a:pt x="454" y="553"/>
                  </a:lnTo>
                  <a:lnTo>
                    <a:pt x="454" y="561"/>
                  </a:lnTo>
                  <a:lnTo>
                    <a:pt x="453" y="565"/>
                  </a:lnTo>
                  <a:lnTo>
                    <a:pt x="449" y="567"/>
                  </a:lnTo>
                  <a:lnTo>
                    <a:pt x="449" y="567"/>
                  </a:lnTo>
                  <a:lnTo>
                    <a:pt x="446" y="569"/>
                  </a:lnTo>
                  <a:lnTo>
                    <a:pt x="442" y="569"/>
                  </a:lnTo>
                  <a:lnTo>
                    <a:pt x="433" y="567"/>
                  </a:lnTo>
                  <a:lnTo>
                    <a:pt x="430" y="567"/>
                  </a:lnTo>
                  <a:lnTo>
                    <a:pt x="426" y="567"/>
                  </a:lnTo>
                  <a:lnTo>
                    <a:pt x="425" y="570"/>
                  </a:lnTo>
                  <a:lnTo>
                    <a:pt x="425" y="577"/>
                  </a:lnTo>
                  <a:lnTo>
                    <a:pt x="425" y="577"/>
                  </a:lnTo>
                  <a:lnTo>
                    <a:pt x="425" y="597"/>
                  </a:lnTo>
                  <a:lnTo>
                    <a:pt x="423" y="613"/>
                  </a:lnTo>
                  <a:lnTo>
                    <a:pt x="419" y="628"/>
                  </a:lnTo>
                  <a:lnTo>
                    <a:pt x="417" y="634"/>
                  </a:lnTo>
                  <a:lnTo>
                    <a:pt x="414" y="641"/>
                  </a:lnTo>
                  <a:lnTo>
                    <a:pt x="414" y="641"/>
                  </a:lnTo>
                  <a:lnTo>
                    <a:pt x="393" y="662"/>
                  </a:lnTo>
                  <a:lnTo>
                    <a:pt x="382" y="672"/>
                  </a:lnTo>
                  <a:lnTo>
                    <a:pt x="280" y="607"/>
                  </a:lnTo>
                  <a:lnTo>
                    <a:pt x="275" y="574"/>
                  </a:lnTo>
                  <a:lnTo>
                    <a:pt x="137" y="491"/>
                  </a:lnTo>
                  <a:lnTo>
                    <a:pt x="0" y="421"/>
                  </a:lnTo>
                  <a:lnTo>
                    <a:pt x="19" y="327"/>
                  </a:lnTo>
                  <a:lnTo>
                    <a:pt x="46" y="267"/>
                  </a:lnTo>
                  <a:lnTo>
                    <a:pt x="46" y="267"/>
                  </a:lnTo>
                  <a:lnTo>
                    <a:pt x="51" y="262"/>
                  </a:lnTo>
                  <a:lnTo>
                    <a:pt x="65" y="246"/>
                  </a:lnTo>
                  <a:lnTo>
                    <a:pt x="72" y="237"/>
                  </a:lnTo>
                  <a:lnTo>
                    <a:pt x="78" y="225"/>
                  </a:lnTo>
                  <a:lnTo>
                    <a:pt x="81" y="213"/>
                  </a:lnTo>
                  <a:lnTo>
                    <a:pt x="81" y="199"/>
                  </a:lnTo>
                  <a:lnTo>
                    <a:pt x="81" y="199"/>
                  </a:lnTo>
                  <a:lnTo>
                    <a:pt x="79" y="183"/>
                  </a:lnTo>
                  <a:lnTo>
                    <a:pt x="76" y="167"/>
                  </a:lnTo>
                  <a:lnTo>
                    <a:pt x="65" y="132"/>
                  </a:lnTo>
                  <a:lnTo>
                    <a:pt x="56" y="104"/>
                  </a:lnTo>
                  <a:lnTo>
                    <a:pt x="51" y="95"/>
                  </a:lnTo>
                  <a:lnTo>
                    <a:pt x="48" y="89"/>
                  </a:lnTo>
                  <a:lnTo>
                    <a:pt x="48" y="89"/>
                  </a:lnTo>
                  <a:lnTo>
                    <a:pt x="4" y="56"/>
                  </a:lnTo>
                  <a:lnTo>
                    <a:pt x="4" y="56"/>
                  </a:lnTo>
                  <a:lnTo>
                    <a:pt x="4" y="49"/>
                  </a:lnTo>
                  <a:lnTo>
                    <a:pt x="4" y="42"/>
                  </a:lnTo>
                  <a:lnTo>
                    <a:pt x="5" y="33"/>
                  </a:lnTo>
                  <a:lnTo>
                    <a:pt x="9" y="24"/>
                  </a:lnTo>
                  <a:lnTo>
                    <a:pt x="14" y="15"/>
                  </a:lnTo>
                  <a:lnTo>
                    <a:pt x="25" y="8"/>
                  </a:lnTo>
                  <a:lnTo>
                    <a:pt x="30" y="7"/>
                  </a:lnTo>
                  <a:lnTo>
                    <a:pt x="37" y="7"/>
                  </a:lnTo>
                  <a:lnTo>
                    <a:pt x="37" y="7"/>
                  </a:lnTo>
                  <a:lnTo>
                    <a:pt x="85" y="3"/>
                  </a:lnTo>
                  <a:lnTo>
                    <a:pt x="113" y="1"/>
                  </a:lnTo>
                  <a:lnTo>
                    <a:pt x="113" y="1"/>
                  </a:lnTo>
                  <a:lnTo>
                    <a:pt x="127" y="0"/>
                  </a:lnTo>
                  <a:lnTo>
                    <a:pt x="146" y="0"/>
                  </a:lnTo>
                  <a:lnTo>
                    <a:pt x="157" y="0"/>
                  </a:lnTo>
                  <a:lnTo>
                    <a:pt x="166" y="1"/>
                  </a:lnTo>
                  <a:lnTo>
                    <a:pt x="176" y="5"/>
                  </a:lnTo>
                  <a:lnTo>
                    <a:pt x="185" y="10"/>
                  </a:lnTo>
                  <a:lnTo>
                    <a:pt x="185" y="10"/>
                  </a:lnTo>
                  <a:lnTo>
                    <a:pt x="208" y="28"/>
                  </a:lnTo>
                  <a:lnTo>
                    <a:pt x="238" y="51"/>
                  </a:lnTo>
                  <a:lnTo>
                    <a:pt x="270" y="72"/>
                  </a:lnTo>
                  <a:lnTo>
                    <a:pt x="284" y="79"/>
                  </a:lnTo>
                  <a:lnTo>
                    <a:pt x="294" y="84"/>
                  </a:lnTo>
                  <a:lnTo>
                    <a:pt x="294" y="84"/>
                  </a:lnTo>
                  <a:lnTo>
                    <a:pt x="314" y="91"/>
                  </a:lnTo>
                  <a:lnTo>
                    <a:pt x="324" y="96"/>
                  </a:lnTo>
                  <a:lnTo>
                    <a:pt x="336" y="100"/>
                  </a:lnTo>
                  <a:lnTo>
                    <a:pt x="349" y="102"/>
                  </a:lnTo>
                  <a:lnTo>
                    <a:pt x="363" y="104"/>
                  </a:lnTo>
                  <a:lnTo>
                    <a:pt x="379" y="102"/>
                  </a:lnTo>
                  <a:lnTo>
                    <a:pt x="398" y="96"/>
                  </a:lnTo>
                  <a:lnTo>
                    <a:pt x="398" y="96"/>
                  </a:lnTo>
                  <a:lnTo>
                    <a:pt x="435" y="84"/>
                  </a:lnTo>
                  <a:lnTo>
                    <a:pt x="465" y="75"/>
                  </a:lnTo>
                  <a:lnTo>
                    <a:pt x="486" y="72"/>
                  </a:lnTo>
                  <a:lnTo>
                    <a:pt x="502" y="70"/>
                  </a:lnTo>
                  <a:lnTo>
                    <a:pt x="502" y="70"/>
                  </a:lnTo>
                  <a:lnTo>
                    <a:pt x="518" y="68"/>
                  </a:lnTo>
                  <a:lnTo>
                    <a:pt x="543" y="68"/>
                  </a:lnTo>
                  <a:lnTo>
                    <a:pt x="553" y="68"/>
                  </a:lnTo>
                  <a:lnTo>
                    <a:pt x="562" y="70"/>
                  </a:lnTo>
                  <a:lnTo>
                    <a:pt x="565" y="74"/>
                  </a:lnTo>
                  <a:lnTo>
                    <a:pt x="567" y="75"/>
                  </a:lnTo>
                  <a:lnTo>
                    <a:pt x="565" y="79"/>
                  </a:lnTo>
                  <a:lnTo>
                    <a:pt x="565" y="79"/>
                  </a:lnTo>
                  <a:lnTo>
                    <a:pt x="558" y="93"/>
                  </a:lnTo>
                  <a:lnTo>
                    <a:pt x="546" y="109"/>
                  </a:lnTo>
                  <a:lnTo>
                    <a:pt x="532" y="125"/>
                  </a:lnTo>
                  <a:lnTo>
                    <a:pt x="520" y="137"/>
                  </a:lnTo>
                  <a:lnTo>
                    <a:pt x="520" y="137"/>
                  </a:lnTo>
                  <a:lnTo>
                    <a:pt x="498" y="153"/>
                  </a:lnTo>
                  <a:lnTo>
                    <a:pt x="491" y="162"/>
                  </a:lnTo>
                  <a:lnTo>
                    <a:pt x="490" y="167"/>
                  </a:lnTo>
                  <a:lnTo>
                    <a:pt x="488" y="172"/>
                  </a:lnTo>
                  <a:lnTo>
                    <a:pt x="488" y="172"/>
                  </a:lnTo>
                  <a:lnTo>
                    <a:pt x="486" y="213"/>
                  </a:lnTo>
                  <a:lnTo>
                    <a:pt x="481" y="290"/>
                  </a:lnTo>
                  <a:lnTo>
                    <a:pt x="479" y="332"/>
                  </a:lnTo>
                  <a:lnTo>
                    <a:pt x="477" y="368"/>
                  </a:lnTo>
                  <a:lnTo>
                    <a:pt x="479" y="396"/>
                  </a:lnTo>
                  <a:lnTo>
                    <a:pt x="481" y="405"/>
                  </a:lnTo>
                  <a:lnTo>
                    <a:pt x="483" y="408"/>
                  </a:lnTo>
                  <a:lnTo>
                    <a:pt x="483" y="408"/>
                  </a:lnTo>
                  <a:lnTo>
                    <a:pt x="486" y="414"/>
                  </a:lnTo>
                  <a:lnTo>
                    <a:pt x="490" y="419"/>
                  </a:lnTo>
                  <a:lnTo>
                    <a:pt x="495" y="431"/>
                  </a:lnTo>
                  <a:lnTo>
                    <a:pt x="500" y="442"/>
                  </a:lnTo>
                  <a:lnTo>
                    <a:pt x="504" y="445"/>
                  </a:lnTo>
                  <a:lnTo>
                    <a:pt x="509" y="450"/>
                  </a:lnTo>
                  <a:lnTo>
                    <a:pt x="509" y="450"/>
                  </a:lnTo>
                  <a:lnTo>
                    <a:pt x="518" y="458"/>
                  </a:lnTo>
                  <a:lnTo>
                    <a:pt x="525" y="465"/>
                  </a:lnTo>
                  <a:lnTo>
                    <a:pt x="528" y="472"/>
                  </a:lnTo>
                  <a:lnTo>
                    <a:pt x="528" y="473"/>
                  </a:lnTo>
                  <a:lnTo>
                    <a:pt x="527" y="477"/>
                  </a:lnTo>
                  <a:lnTo>
                    <a:pt x="527" y="47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0" name="Freeform 46">
              <a:extLst>
                <a:ext uri="{FF2B5EF4-FFF2-40B4-BE49-F238E27FC236}">
                  <a16:creationId xmlns:a16="http://schemas.microsoft.com/office/drawing/2014/main" id="{E290103A-F869-406D-9FF7-FA90D789042C}"/>
                </a:ext>
              </a:extLst>
            </p:cNvPr>
            <p:cNvSpPr>
              <a:spLocks/>
            </p:cNvSpPr>
            <p:nvPr/>
          </p:nvSpPr>
          <p:spPr bwMode="auto">
            <a:xfrm>
              <a:off x="4636191" y="3516464"/>
              <a:ext cx="806620" cy="544290"/>
            </a:xfrm>
            <a:custGeom>
              <a:avLst/>
              <a:gdLst/>
              <a:ahLst/>
              <a:cxnLst>
                <a:cxn ang="0">
                  <a:pos x="534" y="2"/>
                </a:cxn>
                <a:cxn ang="0">
                  <a:pos x="504" y="4"/>
                </a:cxn>
                <a:cxn ang="0">
                  <a:pos x="472" y="46"/>
                </a:cxn>
                <a:cxn ang="0">
                  <a:pos x="419" y="109"/>
                </a:cxn>
                <a:cxn ang="0">
                  <a:pos x="370" y="141"/>
                </a:cxn>
                <a:cxn ang="0">
                  <a:pos x="308" y="159"/>
                </a:cxn>
                <a:cxn ang="0">
                  <a:pos x="296" y="161"/>
                </a:cxn>
                <a:cxn ang="0">
                  <a:pos x="284" y="175"/>
                </a:cxn>
                <a:cxn ang="0">
                  <a:pos x="240" y="212"/>
                </a:cxn>
                <a:cxn ang="0">
                  <a:pos x="183" y="233"/>
                </a:cxn>
                <a:cxn ang="0">
                  <a:pos x="72" y="250"/>
                </a:cxn>
                <a:cxn ang="0">
                  <a:pos x="42" y="317"/>
                </a:cxn>
                <a:cxn ang="0">
                  <a:pos x="7" y="365"/>
                </a:cxn>
                <a:cxn ang="0">
                  <a:pos x="2" y="397"/>
                </a:cxn>
                <a:cxn ang="0">
                  <a:pos x="21" y="435"/>
                </a:cxn>
                <a:cxn ang="0">
                  <a:pos x="30" y="478"/>
                </a:cxn>
                <a:cxn ang="0">
                  <a:pos x="27" y="488"/>
                </a:cxn>
                <a:cxn ang="0">
                  <a:pos x="44" y="509"/>
                </a:cxn>
                <a:cxn ang="0">
                  <a:pos x="113" y="583"/>
                </a:cxn>
                <a:cxn ang="0">
                  <a:pos x="120" y="610"/>
                </a:cxn>
                <a:cxn ang="0">
                  <a:pos x="146" y="573"/>
                </a:cxn>
                <a:cxn ang="0">
                  <a:pos x="171" y="536"/>
                </a:cxn>
                <a:cxn ang="0">
                  <a:pos x="215" y="534"/>
                </a:cxn>
                <a:cxn ang="0">
                  <a:pos x="263" y="550"/>
                </a:cxn>
                <a:cxn ang="0">
                  <a:pos x="252" y="501"/>
                </a:cxn>
                <a:cxn ang="0">
                  <a:pos x="257" y="479"/>
                </a:cxn>
                <a:cxn ang="0">
                  <a:pos x="273" y="467"/>
                </a:cxn>
                <a:cxn ang="0">
                  <a:pos x="308" y="439"/>
                </a:cxn>
                <a:cxn ang="0">
                  <a:pos x="324" y="430"/>
                </a:cxn>
                <a:cxn ang="0">
                  <a:pos x="361" y="430"/>
                </a:cxn>
                <a:cxn ang="0">
                  <a:pos x="393" y="460"/>
                </a:cxn>
                <a:cxn ang="0">
                  <a:pos x="407" y="474"/>
                </a:cxn>
                <a:cxn ang="0">
                  <a:pos x="465" y="483"/>
                </a:cxn>
                <a:cxn ang="0">
                  <a:pos x="488" y="495"/>
                </a:cxn>
                <a:cxn ang="0">
                  <a:pos x="539" y="493"/>
                </a:cxn>
                <a:cxn ang="0">
                  <a:pos x="560" y="472"/>
                </a:cxn>
                <a:cxn ang="0">
                  <a:pos x="572" y="444"/>
                </a:cxn>
                <a:cxn ang="0">
                  <a:pos x="615" y="425"/>
                </a:cxn>
                <a:cxn ang="0">
                  <a:pos x="904" y="409"/>
                </a:cxn>
                <a:cxn ang="0">
                  <a:pos x="870" y="370"/>
                </a:cxn>
                <a:cxn ang="0">
                  <a:pos x="837" y="326"/>
                </a:cxn>
                <a:cxn ang="0">
                  <a:pos x="803" y="291"/>
                </a:cxn>
                <a:cxn ang="0">
                  <a:pos x="777" y="250"/>
                </a:cxn>
                <a:cxn ang="0">
                  <a:pos x="727" y="213"/>
                </a:cxn>
                <a:cxn ang="0">
                  <a:pos x="671" y="182"/>
                </a:cxn>
                <a:cxn ang="0">
                  <a:pos x="634" y="152"/>
                </a:cxn>
                <a:cxn ang="0">
                  <a:pos x="622" y="134"/>
                </a:cxn>
                <a:cxn ang="0">
                  <a:pos x="627" y="113"/>
                </a:cxn>
                <a:cxn ang="0">
                  <a:pos x="641" y="81"/>
                </a:cxn>
                <a:cxn ang="0">
                  <a:pos x="599" y="32"/>
                </a:cxn>
                <a:cxn ang="0">
                  <a:pos x="558" y="0"/>
                </a:cxn>
              </a:cxnLst>
              <a:rect l="0" t="0" r="r" b="b"/>
              <a:pathLst>
                <a:path w="904" h="610">
                  <a:moveTo>
                    <a:pt x="558" y="0"/>
                  </a:moveTo>
                  <a:lnTo>
                    <a:pt x="558" y="0"/>
                  </a:lnTo>
                  <a:lnTo>
                    <a:pt x="555" y="2"/>
                  </a:lnTo>
                  <a:lnTo>
                    <a:pt x="534" y="2"/>
                  </a:lnTo>
                  <a:lnTo>
                    <a:pt x="534" y="2"/>
                  </a:lnTo>
                  <a:lnTo>
                    <a:pt x="520" y="2"/>
                  </a:lnTo>
                  <a:lnTo>
                    <a:pt x="511" y="2"/>
                  </a:lnTo>
                  <a:lnTo>
                    <a:pt x="504" y="4"/>
                  </a:lnTo>
                  <a:lnTo>
                    <a:pt x="497" y="11"/>
                  </a:lnTo>
                  <a:lnTo>
                    <a:pt x="497" y="11"/>
                  </a:lnTo>
                  <a:lnTo>
                    <a:pt x="484" y="27"/>
                  </a:lnTo>
                  <a:lnTo>
                    <a:pt x="472" y="46"/>
                  </a:lnTo>
                  <a:lnTo>
                    <a:pt x="456" y="71"/>
                  </a:lnTo>
                  <a:lnTo>
                    <a:pt x="456" y="71"/>
                  </a:lnTo>
                  <a:lnTo>
                    <a:pt x="435" y="92"/>
                  </a:lnTo>
                  <a:lnTo>
                    <a:pt x="419" y="109"/>
                  </a:lnTo>
                  <a:lnTo>
                    <a:pt x="407" y="120"/>
                  </a:lnTo>
                  <a:lnTo>
                    <a:pt x="407" y="120"/>
                  </a:lnTo>
                  <a:lnTo>
                    <a:pt x="393" y="129"/>
                  </a:lnTo>
                  <a:lnTo>
                    <a:pt x="370" y="141"/>
                  </a:lnTo>
                  <a:lnTo>
                    <a:pt x="356" y="148"/>
                  </a:lnTo>
                  <a:lnTo>
                    <a:pt x="342" y="154"/>
                  </a:lnTo>
                  <a:lnTo>
                    <a:pt x="326" y="157"/>
                  </a:lnTo>
                  <a:lnTo>
                    <a:pt x="308" y="159"/>
                  </a:lnTo>
                  <a:lnTo>
                    <a:pt x="308" y="159"/>
                  </a:lnTo>
                  <a:lnTo>
                    <a:pt x="307" y="157"/>
                  </a:lnTo>
                  <a:lnTo>
                    <a:pt x="301" y="159"/>
                  </a:lnTo>
                  <a:lnTo>
                    <a:pt x="296" y="161"/>
                  </a:lnTo>
                  <a:lnTo>
                    <a:pt x="292" y="162"/>
                  </a:lnTo>
                  <a:lnTo>
                    <a:pt x="289" y="168"/>
                  </a:lnTo>
                  <a:lnTo>
                    <a:pt x="284" y="175"/>
                  </a:lnTo>
                  <a:lnTo>
                    <a:pt x="284" y="175"/>
                  </a:lnTo>
                  <a:lnTo>
                    <a:pt x="278" y="182"/>
                  </a:lnTo>
                  <a:lnTo>
                    <a:pt x="271" y="191"/>
                  </a:lnTo>
                  <a:lnTo>
                    <a:pt x="256" y="203"/>
                  </a:lnTo>
                  <a:lnTo>
                    <a:pt x="240" y="212"/>
                  </a:lnTo>
                  <a:lnTo>
                    <a:pt x="231" y="217"/>
                  </a:lnTo>
                  <a:lnTo>
                    <a:pt x="231" y="217"/>
                  </a:lnTo>
                  <a:lnTo>
                    <a:pt x="217" y="222"/>
                  </a:lnTo>
                  <a:lnTo>
                    <a:pt x="183" y="233"/>
                  </a:lnTo>
                  <a:lnTo>
                    <a:pt x="160" y="238"/>
                  </a:lnTo>
                  <a:lnTo>
                    <a:pt x="134" y="243"/>
                  </a:lnTo>
                  <a:lnTo>
                    <a:pt x="104" y="249"/>
                  </a:lnTo>
                  <a:lnTo>
                    <a:pt x="72" y="250"/>
                  </a:lnTo>
                  <a:lnTo>
                    <a:pt x="72" y="250"/>
                  </a:lnTo>
                  <a:lnTo>
                    <a:pt x="62" y="279"/>
                  </a:lnTo>
                  <a:lnTo>
                    <a:pt x="51" y="301"/>
                  </a:lnTo>
                  <a:lnTo>
                    <a:pt x="42" y="317"/>
                  </a:lnTo>
                  <a:lnTo>
                    <a:pt x="42" y="317"/>
                  </a:lnTo>
                  <a:lnTo>
                    <a:pt x="23" y="344"/>
                  </a:lnTo>
                  <a:lnTo>
                    <a:pt x="7" y="365"/>
                  </a:lnTo>
                  <a:lnTo>
                    <a:pt x="7" y="365"/>
                  </a:lnTo>
                  <a:lnTo>
                    <a:pt x="4" y="372"/>
                  </a:lnTo>
                  <a:lnTo>
                    <a:pt x="2" y="383"/>
                  </a:lnTo>
                  <a:lnTo>
                    <a:pt x="0" y="388"/>
                  </a:lnTo>
                  <a:lnTo>
                    <a:pt x="2" y="397"/>
                  </a:lnTo>
                  <a:lnTo>
                    <a:pt x="5" y="405"/>
                  </a:lnTo>
                  <a:lnTo>
                    <a:pt x="11" y="416"/>
                  </a:lnTo>
                  <a:lnTo>
                    <a:pt x="11" y="416"/>
                  </a:lnTo>
                  <a:lnTo>
                    <a:pt x="21" y="435"/>
                  </a:lnTo>
                  <a:lnTo>
                    <a:pt x="27" y="449"/>
                  </a:lnTo>
                  <a:lnTo>
                    <a:pt x="30" y="462"/>
                  </a:lnTo>
                  <a:lnTo>
                    <a:pt x="30" y="478"/>
                  </a:lnTo>
                  <a:lnTo>
                    <a:pt x="30" y="478"/>
                  </a:lnTo>
                  <a:lnTo>
                    <a:pt x="28" y="479"/>
                  </a:lnTo>
                  <a:lnTo>
                    <a:pt x="27" y="481"/>
                  </a:lnTo>
                  <a:lnTo>
                    <a:pt x="27" y="485"/>
                  </a:lnTo>
                  <a:lnTo>
                    <a:pt x="27" y="488"/>
                  </a:lnTo>
                  <a:lnTo>
                    <a:pt x="30" y="493"/>
                  </a:lnTo>
                  <a:lnTo>
                    <a:pt x="35" y="501"/>
                  </a:lnTo>
                  <a:lnTo>
                    <a:pt x="44" y="509"/>
                  </a:lnTo>
                  <a:lnTo>
                    <a:pt x="44" y="509"/>
                  </a:lnTo>
                  <a:lnTo>
                    <a:pt x="67" y="530"/>
                  </a:lnTo>
                  <a:lnTo>
                    <a:pt x="93" y="557"/>
                  </a:lnTo>
                  <a:lnTo>
                    <a:pt x="104" y="571"/>
                  </a:lnTo>
                  <a:lnTo>
                    <a:pt x="113" y="583"/>
                  </a:lnTo>
                  <a:lnTo>
                    <a:pt x="118" y="597"/>
                  </a:lnTo>
                  <a:lnTo>
                    <a:pt x="120" y="604"/>
                  </a:lnTo>
                  <a:lnTo>
                    <a:pt x="120" y="610"/>
                  </a:lnTo>
                  <a:lnTo>
                    <a:pt x="120" y="610"/>
                  </a:lnTo>
                  <a:lnTo>
                    <a:pt x="127" y="601"/>
                  </a:lnTo>
                  <a:lnTo>
                    <a:pt x="139" y="585"/>
                  </a:lnTo>
                  <a:lnTo>
                    <a:pt x="139" y="585"/>
                  </a:lnTo>
                  <a:lnTo>
                    <a:pt x="146" y="573"/>
                  </a:lnTo>
                  <a:lnTo>
                    <a:pt x="153" y="557"/>
                  </a:lnTo>
                  <a:lnTo>
                    <a:pt x="162" y="543"/>
                  </a:lnTo>
                  <a:lnTo>
                    <a:pt x="167" y="538"/>
                  </a:lnTo>
                  <a:lnTo>
                    <a:pt x="171" y="536"/>
                  </a:lnTo>
                  <a:lnTo>
                    <a:pt x="171" y="536"/>
                  </a:lnTo>
                  <a:lnTo>
                    <a:pt x="185" y="532"/>
                  </a:lnTo>
                  <a:lnTo>
                    <a:pt x="197" y="532"/>
                  </a:lnTo>
                  <a:lnTo>
                    <a:pt x="215" y="534"/>
                  </a:lnTo>
                  <a:lnTo>
                    <a:pt x="215" y="534"/>
                  </a:lnTo>
                  <a:lnTo>
                    <a:pt x="234" y="539"/>
                  </a:lnTo>
                  <a:lnTo>
                    <a:pt x="250" y="545"/>
                  </a:lnTo>
                  <a:lnTo>
                    <a:pt x="263" y="550"/>
                  </a:lnTo>
                  <a:lnTo>
                    <a:pt x="263" y="550"/>
                  </a:lnTo>
                  <a:lnTo>
                    <a:pt x="257" y="529"/>
                  </a:lnTo>
                  <a:lnTo>
                    <a:pt x="254" y="513"/>
                  </a:lnTo>
                  <a:lnTo>
                    <a:pt x="252" y="501"/>
                  </a:lnTo>
                  <a:lnTo>
                    <a:pt x="252" y="501"/>
                  </a:lnTo>
                  <a:lnTo>
                    <a:pt x="252" y="492"/>
                  </a:lnTo>
                  <a:lnTo>
                    <a:pt x="254" y="483"/>
                  </a:lnTo>
                  <a:lnTo>
                    <a:pt x="257" y="479"/>
                  </a:lnTo>
                  <a:lnTo>
                    <a:pt x="261" y="476"/>
                  </a:lnTo>
                  <a:lnTo>
                    <a:pt x="266" y="471"/>
                  </a:lnTo>
                  <a:lnTo>
                    <a:pt x="273" y="467"/>
                  </a:lnTo>
                  <a:lnTo>
                    <a:pt x="273" y="467"/>
                  </a:lnTo>
                  <a:lnTo>
                    <a:pt x="289" y="458"/>
                  </a:lnTo>
                  <a:lnTo>
                    <a:pt x="300" y="451"/>
                  </a:lnTo>
                  <a:lnTo>
                    <a:pt x="307" y="444"/>
                  </a:lnTo>
                  <a:lnTo>
                    <a:pt x="308" y="439"/>
                  </a:lnTo>
                  <a:lnTo>
                    <a:pt x="308" y="439"/>
                  </a:lnTo>
                  <a:lnTo>
                    <a:pt x="310" y="437"/>
                  </a:lnTo>
                  <a:lnTo>
                    <a:pt x="314" y="434"/>
                  </a:lnTo>
                  <a:lnTo>
                    <a:pt x="324" y="430"/>
                  </a:lnTo>
                  <a:lnTo>
                    <a:pt x="331" y="428"/>
                  </a:lnTo>
                  <a:lnTo>
                    <a:pt x="340" y="428"/>
                  </a:lnTo>
                  <a:lnTo>
                    <a:pt x="351" y="428"/>
                  </a:lnTo>
                  <a:lnTo>
                    <a:pt x="361" y="430"/>
                  </a:lnTo>
                  <a:lnTo>
                    <a:pt x="361" y="430"/>
                  </a:lnTo>
                  <a:lnTo>
                    <a:pt x="373" y="441"/>
                  </a:lnTo>
                  <a:lnTo>
                    <a:pt x="384" y="451"/>
                  </a:lnTo>
                  <a:lnTo>
                    <a:pt x="393" y="460"/>
                  </a:lnTo>
                  <a:lnTo>
                    <a:pt x="393" y="460"/>
                  </a:lnTo>
                  <a:lnTo>
                    <a:pt x="396" y="467"/>
                  </a:lnTo>
                  <a:lnTo>
                    <a:pt x="400" y="471"/>
                  </a:lnTo>
                  <a:lnTo>
                    <a:pt x="407" y="474"/>
                  </a:lnTo>
                  <a:lnTo>
                    <a:pt x="423" y="476"/>
                  </a:lnTo>
                  <a:lnTo>
                    <a:pt x="423" y="476"/>
                  </a:lnTo>
                  <a:lnTo>
                    <a:pt x="456" y="479"/>
                  </a:lnTo>
                  <a:lnTo>
                    <a:pt x="465" y="483"/>
                  </a:lnTo>
                  <a:lnTo>
                    <a:pt x="472" y="486"/>
                  </a:lnTo>
                  <a:lnTo>
                    <a:pt x="472" y="486"/>
                  </a:lnTo>
                  <a:lnTo>
                    <a:pt x="477" y="490"/>
                  </a:lnTo>
                  <a:lnTo>
                    <a:pt x="488" y="495"/>
                  </a:lnTo>
                  <a:lnTo>
                    <a:pt x="500" y="497"/>
                  </a:lnTo>
                  <a:lnTo>
                    <a:pt x="520" y="497"/>
                  </a:lnTo>
                  <a:lnTo>
                    <a:pt x="520" y="497"/>
                  </a:lnTo>
                  <a:lnTo>
                    <a:pt x="539" y="493"/>
                  </a:lnTo>
                  <a:lnTo>
                    <a:pt x="550" y="488"/>
                  </a:lnTo>
                  <a:lnTo>
                    <a:pt x="553" y="485"/>
                  </a:lnTo>
                  <a:lnTo>
                    <a:pt x="557" y="481"/>
                  </a:lnTo>
                  <a:lnTo>
                    <a:pt x="560" y="472"/>
                  </a:lnTo>
                  <a:lnTo>
                    <a:pt x="560" y="472"/>
                  </a:lnTo>
                  <a:lnTo>
                    <a:pt x="564" y="460"/>
                  </a:lnTo>
                  <a:lnTo>
                    <a:pt x="567" y="453"/>
                  </a:lnTo>
                  <a:lnTo>
                    <a:pt x="572" y="444"/>
                  </a:lnTo>
                  <a:lnTo>
                    <a:pt x="580" y="437"/>
                  </a:lnTo>
                  <a:lnTo>
                    <a:pt x="588" y="432"/>
                  </a:lnTo>
                  <a:lnTo>
                    <a:pt x="601" y="427"/>
                  </a:lnTo>
                  <a:lnTo>
                    <a:pt x="615" y="425"/>
                  </a:lnTo>
                  <a:lnTo>
                    <a:pt x="615" y="425"/>
                  </a:lnTo>
                  <a:lnTo>
                    <a:pt x="777" y="416"/>
                  </a:lnTo>
                  <a:lnTo>
                    <a:pt x="904" y="409"/>
                  </a:lnTo>
                  <a:lnTo>
                    <a:pt x="904" y="409"/>
                  </a:lnTo>
                  <a:lnTo>
                    <a:pt x="895" y="400"/>
                  </a:lnTo>
                  <a:lnTo>
                    <a:pt x="884" y="388"/>
                  </a:lnTo>
                  <a:lnTo>
                    <a:pt x="870" y="370"/>
                  </a:lnTo>
                  <a:lnTo>
                    <a:pt x="870" y="370"/>
                  </a:lnTo>
                  <a:lnTo>
                    <a:pt x="851" y="340"/>
                  </a:lnTo>
                  <a:lnTo>
                    <a:pt x="845" y="333"/>
                  </a:lnTo>
                  <a:lnTo>
                    <a:pt x="837" y="326"/>
                  </a:lnTo>
                  <a:lnTo>
                    <a:pt x="837" y="326"/>
                  </a:lnTo>
                  <a:lnTo>
                    <a:pt x="826" y="319"/>
                  </a:lnTo>
                  <a:lnTo>
                    <a:pt x="819" y="314"/>
                  </a:lnTo>
                  <a:lnTo>
                    <a:pt x="812" y="305"/>
                  </a:lnTo>
                  <a:lnTo>
                    <a:pt x="803" y="291"/>
                  </a:lnTo>
                  <a:lnTo>
                    <a:pt x="803" y="291"/>
                  </a:lnTo>
                  <a:lnTo>
                    <a:pt x="793" y="272"/>
                  </a:lnTo>
                  <a:lnTo>
                    <a:pt x="786" y="261"/>
                  </a:lnTo>
                  <a:lnTo>
                    <a:pt x="777" y="250"/>
                  </a:lnTo>
                  <a:lnTo>
                    <a:pt x="768" y="240"/>
                  </a:lnTo>
                  <a:lnTo>
                    <a:pt x="757" y="229"/>
                  </a:lnTo>
                  <a:lnTo>
                    <a:pt x="743" y="220"/>
                  </a:lnTo>
                  <a:lnTo>
                    <a:pt x="727" y="213"/>
                  </a:lnTo>
                  <a:lnTo>
                    <a:pt x="727" y="213"/>
                  </a:lnTo>
                  <a:lnTo>
                    <a:pt x="712" y="206"/>
                  </a:lnTo>
                  <a:lnTo>
                    <a:pt x="698" y="199"/>
                  </a:lnTo>
                  <a:lnTo>
                    <a:pt x="671" y="182"/>
                  </a:lnTo>
                  <a:lnTo>
                    <a:pt x="653" y="168"/>
                  </a:lnTo>
                  <a:lnTo>
                    <a:pt x="641" y="157"/>
                  </a:lnTo>
                  <a:lnTo>
                    <a:pt x="641" y="157"/>
                  </a:lnTo>
                  <a:lnTo>
                    <a:pt x="634" y="152"/>
                  </a:lnTo>
                  <a:lnTo>
                    <a:pt x="627" y="146"/>
                  </a:lnTo>
                  <a:lnTo>
                    <a:pt x="624" y="143"/>
                  </a:lnTo>
                  <a:lnTo>
                    <a:pt x="622" y="139"/>
                  </a:lnTo>
                  <a:lnTo>
                    <a:pt x="622" y="134"/>
                  </a:lnTo>
                  <a:lnTo>
                    <a:pt x="622" y="127"/>
                  </a:lnTo>
                  <a:lnTo>
                    <a:pt x="622" y="127"/>
                  </a:lnTo>
                  <a:lnTo>
                    <a:pt x="624" y="120"/>
                  </a:lnTo>
                  <a:lnTo>
                    <a:pt x="627" y="113"/>
                  </a:lnTo>
                  <a:lnTo>
                    <a:pt x="634" y="99"/>
                  </a:lnTo>
                  <a:lnTo>
                    <a:pt x="638" y="94"/>
                  </a:lnTo>
                  <a:lnTo>
                    <a:pt x="641" y="87"/>
                  </a:lnTo>
                  <a:lnTo>
                    <a:pt x="641" y="81"/>
                  </a:lnTo>
                  <a:lnTo>
                    <a:pt x="639" y="76"/>
                  </a:lnTo>
                  <a:lnTo>
                    <a:pt x="639" y="76"/>
                  </a:lnTo>
                  <a:lnTo>
                    <a:pt x="625" y="58"/>
                  </a:lnTo>
                  <a:lnTo>
                    <a:pt x="599" y="32"/>
                  </a:lnTo>
                  <a:lnTo>
                    <a:pt x="572" y="9"/>
                  </a:lnTo>
                  <a:lnTo>
                    <a:pt x="564" y="2"/>
                  </a:lnTo>
                  <a:lnTo>
                    <a:pt x="558" y="0"/>
                  </a:lnTo>
                  <a:lnTo>
                    <a:pt x="55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1" name="Freeform 47">
              <a:extLst>
                <a:ext uri="{FF2B5EF4-FFF2-40B4-BE49-F238E27FC236}">
                  <a16:creationId xmlns:a16="http://schemas.microsoft.com/office/drawing/2014/main" id="{703986AA-D1A5-4DF1-AA20-6083539C5F23}"/>
                </a:ext>
              </a:extLst>
            </p:cNvPr>
            <p:cNvSpPr>
              <a:spLocks/>
            </p:cNvSpPr>
            <p:nvPr/>
          </p:nvSpPr>
          <p:spPr bwMode="auto">
            <a:xfrm>
              <a:off x="5209035" y="2142355"/>
              <a:ext cx="679916" cy="681701"/>
            </a:xfrm>
            <a:custGeom>
              <a:avLst/>
              <a:gdLst/>
              <a:ahLst/>
              <a:cxnLst>
                <a:cxn ang="0">
                  <a:pos x="579" y="727"/>
                </a:cxn>
                <a:cxn ang="0">
                  <a:pos x="629" y="754"/>
                </a:cxn>
                <a:cxn ang="0">
                  <a:pos x="632" y="763"/>
                </a:cxn>
                <a:cxn ang="0">
                  <a:pos x="641" y="754"/>
                </a:cxn>
                <a:cxn ang="0">
                  <a:pos x="657" y="724"/>
                </a:cxn>
                <a:cxn ang="0">
                  <a:pos x="685" y="689"/>
                </a:cxn>
                <a:cxn ang="0">
                  <a:pos x="717" y="660"/>
                </a:cxn>
                <a:cxn ang="0">
                  <a:pos x="761" y="648"/>
                </a:cxn>
                <a:cxn ang="0">
                  <a:pos x="738" y="616"/>
                </a:cxn>
                <a:cxn ang="0">
                  <a:pos x="733" y="604"/>
                </a:cxn>
                <a:cxn ang="0">
                  <a:pos x="741" y="581"/>
                </a:cxn>
                <a:cxn ang="0">
                  <a:pos x="755" y="574"/>
                </a:cxn>
                <a:cxn ang="0">
                  <a:pos x="674" y="488"/>
                </a:cxn>
                <a:cxn ang="0">
                  <a:pos x="644" y="454"/>
                </a:cxn>
                <a:cxn ang="0">
                  <a:pos x="604" y="403"/>
                </a:cxn>
                <a:cxn ang="0">
                  <a:pos x="586" y="356"/>
                </a:cxn>
                <a:cxn ang="0">
                  <a:pos x="551" y="315"/>
                </a:cxn>
                <a:cxn ang="0">
                  <a:pos x="532" y="296"/>
                </a:cxn>
                <a:cxn ang="0">
                  <a:pos x="519" y="268"/>
                </a:cxn>
                <a:cxn ang="0">
                  <a:pos x="486" y="195"/>
                </a:cxn>
                <a:cxn ang="0">
                  <a:pos x="465" y="165"/>
                </a:cxn>
                <a:cxn ang="0">
                  <a:pos x="465" y="150"/>
                </a:cxn>
                <a:cxn ang="0">
                  <a:pos x="477" y="123"/>
                </a:cxn>
                <a:cxn ang="0">
                  <a:pos x="491" y="121"/>
                </a:cxn>
                <a:cxn ang="0">
                  <a:pos x="498" y="134"/>
                </a:cxn>
                <a:cxn ang="0">
                  <a:pos x="525" y="201"/>
                </a:cxn>
                <a:cxn ang="0">
                  <a:pos x="537" y="218"/>
                </a:cxn>
                <a:cxn ang="0">
                  <a:pos x="555" y="243"/>
                </a:cxn>
                <a:cxn ang="0">
                  <a:pos x="567" y="276"/>
                </a:cxn>
                <a:cxn ang="0">
                  <a:pos x="593" y="336"/>
                </a:cxn>
                <a:cxn ang="0">
                  <a:pos x="607" y="354"/>
                </a:cxn>
                <a:cxn ang="0">
                  <a:pos x="622" y="363"/>
                </a:cxn>
                <a:cxn ang="0">
                  <a:pos x="625" y="352"/>
                </a:cxn>
                <a:cxn ang="0">
                  <a:pos x="620" y="308"/>
                </a:cxn>
                <a:cxn ang="0">
                  <a:pos x="620" y="262"/>
                </a:cxn>
                <a:cxn ang="0">
                  <a:pos x="625" y="224"/>
                </a:cxn>
                <a:cxn ang="0">
                  <a:pos x="648" y="180"/>
                </a:cxn>
                <a:cxn ang="0">
                  <a:pos x="653" y="162"/>
                </a:cxn>
                <a:cxn ang="0">
                  <a:pos x="646" y="123"/>
                </a:cxn>
                <a:cxn ang="0">
                  <a:pos x="607" y="26"/>
                </a:cxn>
                <a:cxn ang="0">
                  <a:pos x="600" y="19"/>
                </a:cxn>
                <a:cxn ang="0">
                  <a:pos x="590" y="16"/>
                </a:cxn>
                <a:cxn ang="0">
                  <a:pos x="578" y="26"/>
                </a:cxn>
                <a:cxn ang="0">
                  <a:pos x="541" y="46"/>
                </a:cxn>
                <a:cxn ang="0">
                  <a:pos x="516" y="46"/>
                </a:cxn>
                <a:cxn ang="0">
                  <a:pos x="479" y="40"/>
                </a:cxn>
                <a:cxn ang="0">
                  <a:pos x="463" y="28"/>
                </a:cxn>
                <a:cxn ang="0">
                  <a:pos x="428" y="9"/>
                </a:cxn>
                <a:cxn ang="0">
                  <a:pos x="401" y="2"/>
                </a:cxn>
                <a:cxn ang="0">
                  <a:pos x="359" y="2"/>
                </a:cxn>
                <a:cxn ang="0">
                  <a:pos x="319" y="14"/>
                </a:cxn>
                <a:cxn ang="0">
                  <a:pos x="296" y="28"/>
                </a:cxn>
                <a:cxn ang="0">
                  <a:pos x="268" y="54"/>
                </a:cxn>
                <a:cxn ang="0">
                  <a:pos x="246" y="58"/>
                </a:cxn>
                <a:cxn ang="0">
                  <a:pos x="201" y="51"/>
                </a:cxn>
                <a:cxn ang="0">
                  <a:pos x="176" y="51"/>
                </a:cxn>
                <a:cxn ang="0">
                  <a:pos x="130" y="39"/>
                </a:cxn>
                <a:cxn ang="0">
                  <a:pos x="67" y="33"/>
                </a:cxn>
                <a:cxn ang="0">
                  <a:pos x="14" y="26"/>
                </a:cxn>
              </a:cxnLst>
              <a:rect l="0" t="0" r="r" b="b"/>
              <a:pathLst>
                <a:path w="761" h="763">
                  <a:moveTo>
                    <a:pt x="0" y="21"/>
                  </a:moveTo>
                  <a:lnTo>
                    <a:pt x="30" y="738"/>
                  </a:lnTo>
                  <a:lnTo>
                    <a:pt x="579" y="727"/>
                  </a:lnTo>
                  <a:lnTo>
                    <a:pt x="629" y="750"/>
                  </a:lnTo>
                  <a:lnTo>
                    <a:pt x="629" y="750"/>
                  </a:lnTo>
                  <a:lnTo>
                    <a:pt x="629" y="754"/>
                  </a:lnTo>
                  <a:lnTo>
                    <a:pt x="629" y="761"/>
                  </a:lnTo>
                  <a:lnTo>
                    <a:pt x="629" y="763"/>
                  </a:lnTo>
                  <a:lnTo>
                    <a:pt x="632" y="763"/>
                  </a:lnTo>
                  <a:lnTo>
                    <a:pt x="636" y="761"/>
                  </a:lnTo>
                  <a:lnTo>
                    <a:pt x="641" y="754"/>
                  </a:lnTo>
                  <a:lnTo>
                    <a:pt x="641" y="754"/>
                  </a:lnTo>
                  <a:lnTo>
                    <a:pt x="650" y="741"/>
                  </a:lnTo>
                  <a:lnTo>
                    <a:pt x="652" y="733"/>
                  </a:lnTo>
                  <a:lnTo>
                    <a:pt x="657" y="724"/>
                  </a:lnTo>
                  <a:lnTo>
                    <a:pt x="667" y="710"/>
                  </a:lnTo>
                  <a:lnTo>
                    <a:pt x="667" y="710"/>
                  </a:lnTo>
                  <a:lnTo>
                    <a:pt x="685" y="689"/>
                  </a:lnTo>
                  <a:lnTo>
                    <a:pt x="696" y="678"/>
                  </a:lnTo>
                  <a:lnTo>
                    <a:pt x="706" y="669"/>
                  </a:lnTo>
                  <a:lnTo>
                    <a:pt x="717" y="660"/>
                  </a:lnTo>
                  <a:lnTo>
                    <a:pt x="731" y="653"/>
                  </a:lnTo>
                  <a:lnTo>
                    <a:pt x="745" y="650"/>
                  </a:lnTo>
                  <a:lnTo>
                    <a:pt x="761" y="648"/>
                  </a:lnTo>
                  <a:lnTo>
                    <a:pt x="761" y="648"/>
                  </a:lnTo>
                  <a:lnTo>
                    <a:pt x="747" y="630"/>
                  </a:lnTo>
                  <a:lnTo>
                    <a:pt x="738" y="616"/>
                  </a:lnTo>
                  <a:lnTo>
                    <a:pt x="734" y="609"/>
                  </a:lnTo>
                  <a:lnTo>
                    <a:pt x="733" y="604"/>
                  </a:lnTo>
                  <a:lnTo>
                    <a:pt x="733" y="604"/>
                  </a:lnTo>
                  <a:lnTo>
                    <a:pt x="734" y="593"/>
                  </a:lnTo>
                  <a:lnTo>
                    <a:pt x="740" y="585"/>
                  </a:lnTo>
                  <a:lnTo>
                    <a:pt x="741" y="581"/>
                  </a:lnTo>
                  <a:lnTo>
                    <a:pt x="747" y="578"/>
                  </a:lnTo>
                  <a:lnTo>
                    <a:pt x="750" y="574"/>
                  </a:lnTo>
                  <a:lnTo>
                    <a:pt x="755" y="574"/>
                  </a:lnTo>
                  <a:lnTo>
                    <a:pt x="755" y="574"/>
                  </a:lnTo>
                  <a:lnTo>
                    <a:pt x="717" y="532"/>
                  </a:lnTo>
                  <a:lnTo>
                    <a:pt x="674" y="488"/>
                  </a:lnTo>
                  <a:lnTo>
                    <a:pt x="674" y="488"/>
                  </a:lnTo>
                  <a:lnTo>
                    <a:pt x="664" y="477"/>
                  </a:lnTo>
                  <a:lnTo>
                    <a:pt x="644" y="454"/>
                  </a:lnTo>
                  <a:lnTo>
                    <a:pt x="611" y="416"/>
                  </a:lnTo>
                  <a:lnTo>
                    <a:pt x="611" y="416"/>
                  </a:lnTo>
                  <a:lnTo>
                    <a:pt x="604" y="403"/>
                  </a:lnTo>
                  <a:lnTo>
                    <a:pt x="599" y="387"/>
                  </a:lnTo>
                  <a:lnTo>
                    <a:pt x="593" y="370"/>
                  </a:lnTo>
                  <a:lnTo>
                    <a:pt x="586" y="356"/>
                  </a:lnTo>
                  <a:lnTo>
                    <a:pt x="586" y="356"/>
                  </a:lnTo>
                  <a:lnTo>
                    <a:pt x="574" y="338"/>
                  </a:lnTo>
                  <a:lnTo>
                    <a:pt x="551" y="315"/>
                  </a:lnTo>
                  <a:lnTo>
                    <a:pt x="551" y="315"/>
                  </a:lnTo>
                  <a:lnTo>
                    <a:pt x="539" y="305"/>
                  </a:lnTo>
                  <a:lnTo>
                    <a:pt x="532" y="296"/>
                  </a:lnTo>
                  <a:lnTo>
                    <a:pt x="526" y="285"/>
                  </a:lnTo>
                  <a:lnTo>
                    <a:pt x="519" y="268"/>
                  </a:lnTo>
                  <a:lnTo>
                    <a:pt x="519" y="268"/>
                  </a:lnTo>
                  <a:lnTo>
                    <a:pt x="504" y="231"/>
                  </a:lnTo>
                  <a:lnTo>
                    <a:pt x="486" y="195"/>
                  </a:lnTo>
                  <a:lnTo>
                    <a:pt x="486" y="195"/>
                  </a:lnTo>
                  <a:lnTo>
                    <a:pt x="475" y="178"/>
                  </a:lnTo>
                  <a:lnTo>
                    <a:pt x="468" y="169"/>
                  </a:lnTo>
                  <a:lnTo>
                    <a:pt x="465" y="165"/>
                  </a:lnTo>
                  <a:lnTo>
                    <a:pt x="463" y="160"/>
                  </a:lnTo>
                  <a:lnTo>
                    <a:pt x="463" y="157"/>
                  </a:lnTo>
                  <a:lnTo>
                    <a:pt x="465" y="150"/>
                  </a:lnTo>
                  <a:lnTo>
                    <a:pt x="465" y="150"/>
                  </a:lnTo>
                  <a:lnTo>
                    <a:pt x="470" y="135"/>
                  </a:lnTo>
                  <a:lnTo>
                    <a:pt x="477" y="123"/>
                  </a:lnTo>
                  <a:lnTo>
                    <a:pt x="482" y="121"/>
                  </a:lnTo>
                  <a:lnTo>
                    <a:pt x="486" y="120"/>
                  </a:lnTo>
                  <a:lnTo>
                    <a:pt x="491" y="121"/>
                  </a:lnTo>
                  <a:lnTo>
                    <a:pt x="495" y="125"/>
                  </a:lnTo>
                  <a:lnTo>
                    <a:pt x="495" y="125"/>
                  </a:lnTo>
                  <a:lnTo>
                    <a:pt x="498" y="134"/>
                  </a:lnTo>
                  <a:lnTo>
                    <a:pt x="504" y="144"/>
                  </a:lnTo>
                  <a:lnTo>
                    <a:pt x="514" y="172"/>
                  </a:lnTo>
                  <a:lnTo>
                    <a:pt x="525" y="201"/>
                  </a:lnTo>
                  <a:lnTo>
                    <a:pt x="532" y="211"/>
                  </a:lnTo>
                  <a:lnTo>
                    <a:pt x="537" y="218"/>
                  </a:lnTo>
                  <a:lnTo>
                    <a:pt x="537" y="218"/>
                  </a:lnTo>
                  <a:lnTo>
                    <a:pt x="542" y="224"/>
                  </a:lnTo>
                  <a:lnTo>
                    <a:pt x="548" y="229"/>
                  </a:lnTo>
                  <a:lnTo>
                    <a:pt x="555" y="243"/>
                  </a:lnTo>
                  <a:lnTo>
                    <a:pt x="562" y="259"/>
                  </a:lnTo>
                  <a:lnTo>
                    <a:pt x="567" y="276"/>
                  </a:lnTo>
                  <a:lnTo>
                    <a:pt x="567" y="276"/>
                  </a:lnTo>
                  <a:lnTo>
                    <a:pt x="574" y="296"/>
                  </a:lnTo>
                  <a:lnTo>
                    <a:pt x="585" y="317"/>
                  </a:lnTo>
                  <a:lnTo>
                    <a:pt x="593" y="336"/>
                  </a:lnTo>
                  <a:lnTo>
                    <a:pt x="600" y="347"/>
                  </a:lnTo>
                  <a:lnTo>
                    <a:pt x="600" y="347"/>
                  </a:lnTo>
                  <a:lnTo>
                    <a:pt x="607" y="354"/>
                  </a:lnTo>
                  <a:lnTo>
                    <a:pt x="616" y="361"/>
                  </a:lnTo>
                  <a:lnTo>
                    <a:pt x="620" y="363"/>
                  </a:lnTo>
                  <a:lnTo>
                    <a:pt x="622" y="363"/>
                  </a:lnTo>
                  <a:lnTo>
                    <a:pt x="625" y="359"/>
                  </a:lnTo>
                  <a:lnTo>
                    <a:pt x="625" y="352"/>
                  </a:lnTo>
                  <a:lnTo>
                    <a:pt x="625" y="352"/>
                  </a:lnTo>
                  <a:lnTo>
                    <a:pt x="623" y="336"/>
                  </a:lnTo>
                  <a:lnTo>
                    <a:pt x="622" y="322"/>
                  </a:lnTo>
                  <a:lnTo>
                    <a:pt x="620" y="308"/>
                  </a:lnTo>
                  <a:lnTo>
                    <a:pt x="618" y="294"/>
                  </a:lnTo>
                  <a:lnTo>
                    <a:pt x="618" y="294"/>
                  </a:lnTo>
                  <a:lnTo>
                    <a:pt x="620" y="262"/>
                  </a:lnTo>
                  <a:lnTo>
                    <a:pt x="623" y="231"/>
                  </a:lnTo>
                  <a:lnTo>
                    <a:pt x="623" y="231"/>
                  </a:lnTo>
                  <a:lnTo>
                    <a:pt x="625" y="224"/>
                  </a:lnTo>
                  <a:lnTo>
                    <a:pt x="629" y="215"/>
                  </a:lnTo>
                  <a:lnTo>
                    <a:pt x="639" y="195"/>
                  </a:lnTo>
                  <a:lnTo>
                    <a:pt x="648" y="180"/>
                  </a:lnTo>
                  <a:lnTo>
                    <a:pt x="653" y="167"/>
                  </a:lnTo>
                  <a:lnTo>
                    <a:pt x="653" y="167"/>
                  </a:lnTo>
                  <a:lnTo>
                    <a:pt x="653" y="162"/>
                  </a:lnTo>
                  <a:lnTo>
                    <a:pt x="653" y="155"/>
                  </a:lnTo>
                  <a:lnTo>
                    <a:pt x="650" y="139"/>
                  </a:lnTo>
                  <a:lnTo>
                    <a:pt x="646" y="123"/>
                  </a:lnTo>
                  <a:lnTo>
                    <a:pt x="641" y="111"/>
                  </a:lnTo>
                  <a:lnTo>
                    <a:pt x="641" y="111"/>
                  </a:lnTo>
                  <a:lnTo>
                    <a:pt x="607" y="26"/>
                  </a:lnTo>
                  <a:lnTo>
                    <a:pt x="607" y="26"/>
                  </a:lnTo>
                  <a:lnTo>
                    <a:pt x="606" y="25"/>
                  </a:lnTo>
                  <a:lnTo>
                    <a:pt x="600" y="19"/>
                  </a:lnTo>
                  <a:lnTo>
                    <a:pt x="597" y="16"/>
                  </a:lnTo>
                  <a:lnTo>
                    <a:pt x="593" y="16"/>
                  </a:lnTo>
                  <a:lnTo>
                    <a:pt x="590" y="16"/>
                  </a:lnTo>
                  <a:lnTo>
                    <a:pt x="586" y="17"/>
                  </a:lnTo>
                  <a:lnTo>
                    <a:pt x="586" y="17"/>
                  </a:lnTo>
                  <a:lnTo>
                    <a:pt x="578" y="26"/>
                  </a:lnTo>
                  <a:lnTo>
                    <a:pt x="565" y="35"/>
                  </a:lnTo>
                  <a:lnTo>
                    <a:pt x="549" y="42"/>
                  </a:lnTo>
                  <a:lnTo>
                    <a:pt x="541" y="46"/>
                  </a:lnTo>
                  <a:lnTo>
                    <a:pt x="532" y="46"/>
                  </a:lnTo>
                  <a:lnTo>
                    <a:pt x="532" y="46"/>
                  </a:lnTo>
                  <a:lnTo>
                    <a:pt x="516" y="46"/>
                  </a:lnTo>
                  <a:lnTo>
                    <a:pt x="500" y="46"/>
                  </a:lnTo>
                  <a:lnTo>
                    <a:pt x="486" y="42"/>
                  </a:lnTo>
                  <a:lnTo>
                    <a:pt x="479" y="40"/>
                  </a:lnTo>
                  <a:lnTo>
                    <a:pt x="474" y="37"/>
                  </a:lnTo>
                  <a:lnTo>
                    <a:pt x="474" y="37"/>
                  </a:lnTo>
                  <a:lnTo>
                    <a:pt x="463" y="28"/>
                  </a:lnTo>
                  <a:lnTo>
                    <a:pt x="453" y="21"/>
                  </a:lnTo>
                  <a:lnTo>
                    <a:pt x="438" y="12"/>
                  </a:lnTo>
                  <a:lnTo>
                    <a:pt x="428" y="9"/>
                  </a:lnTo>
                  <a:lnTo>
                    <a:pt x="416" y="5"/>
                  </a:lnTo>
                  <a:lnTo>
                    <a:pt x="416" y="5"/>
                  </a:lnTo>
                  <a:lnTo>
                    <a:pt x="401" y="2"/>
                  </a:lnTo>
                  <a:lnTo>
                    <a:pt x="387" y="2"/>
                  </a:lnTo>
                  <a:lnTo>
                    <a:pt x="373" y="0"/>
                  </a:lnTo>
                  <a:lnTo>
                    <a:pt x="359" y="2"/>
                  </a:lnTo>
                  <a:lnTo>
                    <a:pt x="345" y="5"/>
                  </a:lnTo>
                  <a:lnTo>
                    <a:pt x="331" y="9"/>
                  </a:lnTo>
                  <a:lnTo>
                    <a:pt x="319" y="14"/>
                  </a:lnTo>
                  <a:lnTo>
                    <a:pt x="306" y="21"/>
                  </a:lnTo>
                  <a:lnTo>
                    <a:pt x="306" y="21"/>
                  </a:lnTo>
                  <a:lnTo>
                    <a:pt x="296" y="28"/>
                  </a:lnTo>
                  <a:lnTo>
                    <a:pt x="287" y="37"/>
                  </a:lnTo>
                  <a:lnTo>
                    <a:pt x="275" y="49"/>
                  </a:lnTo>
                  <a:lnTo>
                    <a:pt x="268" y="54"/>
                  </a:lnTo>
                  <a:lnTo>
                    <a:pt x="262" y="58"/>
                  </a:lnTo>
                  <a:lnTo>
                    <a:pt x="255" y="58"/>
                  </a:lnTo>
                  <a:lnTo>
                    <a:pt x="246" y="58"/>
                  </a:lnTo>
                  <a:lnTo>
                    <a:pt x="246" y="58"/>
                  </a:lnTo>
                  <a:lnTo>
                    <a:pt x="215" y="51"/>
                  </a:lnTo>
                  <a:lnTo>
                    <a:pt x="201" y="51"/>
                  </a:lnTo>
                  <a:lnTo>
                    <a:pt x="188" y="51"/>
                  </a:lnTo>
                  <a:lnTo>
                    <a:pt x="188" y="51"/>
                  </a:lnTo>
                  <a:lnTo>
                    <a:pt x="176" y="51"/>
                  </a:lnTo>
                  <a:lnTo>
                    <a:pt x="164" y="49"/>
                  </a:lnTo>
                  <a:lnTo>
                    <a:pt x="130" y="39"/>
                  </a:lnTo>
                  <a:lnTo>
                    <a:pt x="130" y="39"/>
                  </a:lnTo>
                  <a:lnTo>
                    <a:pt x="118" y="37"/>
                  </a:lnTo>
                  <a:lnTo>
                    <a:pt x="102" y="35"/>
                  </a:lnTo>
                  <a:lnTo>
                    <a:pt x="67" y="33"/>
                  </a:lnTo>
                  <a:lnTo>
                    <a:pt x="47" y="32"/>
                  </a:lnTo>
                  <a:lnTo>
                    <a:pt x="30" y="30"/>
                  </a:lnTo>
                  <a:lnTo>
                    <a:pt x="14" y="26"/>
                  </a:lnTo>
                  <a:lnTo>
                    <a:pt x="0" y="21"/>
                  </a:lnTo>
                  <a:lnTo>
                    <a:pt x="0" y="21"/>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2" name="Freeform 48">
              <a:extLst>
                <a:ext uri="{FF2B5EF4-FFF2-40B4-BE49-F238E27FC236}">
                  <a16:creationId xmlns:a16="http://schemas.microsoft.com/office/drawing/2014/main" id="{B303ADDD-1FBD-4360-9356-F4A7F21E1AC8}"/>
                </a:ext>
              </a:extLst>
            </p:cNvPr>
            <p:cNvSpPr>
              <a:spLocks/>
            </p:cNvSpPr>
            <p:nvPr/>
          </p:nvSpPr>
          <p:spPr bwMode="auto">
            <a:xfrm>
              <a:off x="5103745" y="2722337"/>
              <a:ext cx="970799" cy="1256328"/>
            </a:xfrm>
            <a:custGeom>
              <a:avLst/>
              <a:gdLst/>
              <a:ahLst/>
              <a:cxnLst>
                <a:cxn ang="0">
                  <a:pos x="870" y="1330"/>
                </a:cxn>
                <a:cxn ang="0">
                  <a:pos x="838" y="1346"/>
                </a:cxn>
                <a:cxn ang="0">
                  <a:pos x="770" y="1393"/>
                </a:cxn>
                <a:cxn ang="0">
                  <a:pos x="618" y="1409"/>
                </a:cxn>
                <a:cxn ang="0">
                  <a:pos x="587" y="1383"/>
                </a:cxn>
                <a:cxn ang="0">
                  <a:pos x="532" y="1360"/>
                </a:cxn>
                <a:cxn ang="0">
                  <a:pos x="479" y="1360"/>
                </a:cxn>
                <a:cxn ang="0">
                  <a:pos x="437" y="1353"/>
                </a:cxn>
                <a:cxn ang="0">
                  <a:pos x="349" y="1261"/>
                </a:cxn>
                <a:cxn ang="0">
                  <a:pos x="314" y="1217"/>
                </a:cxn>
                <a:cxn ang="0">
                  <a:pos x="277" y="1175"/>
                </a:cxn>
                <a:cxn ang="0">
                  <a:pos x="226" y="1115"/>
                </a:cxn>
                <a:cxn ang="0">
                  <a:pos x="164" y="1083"/>
                </a:cxn>
                <a:cxn ang="0">
                  <a:pos x="106" y="1041"/>
                </a:cxn>
                <a:cxn ang="0">
                  <a:pos x="95" y="1015"/>
                </a:cxn>
                <a:cxn ang="0">
                  <a:pos x="116" y="981"/>
                </a:cxn>
                <a:cxn ang="0">
                  <a:pos x="109" y="955"/>
                </a:cxn>
                <a:cxn ang="0">
                  <a:pos x="35" y="891"/>
                </a:cxn>
                <a:cxn ang="0">
                  <a:pos x="46" y="874"/>
                </a:cxn>
                <a:cxn ang="0">
                  <a:pos x="20" y="812"/>
                </a:cxn>
                <a:cxn ang="0">
                  <a:pos x="0" y="729"/>
                </a:cxn>
                <a:cxn ang="0">
                  <a:pos x="5" y="675"/>
                </a:cxn>
                <a:cxn ang="0">
                  <a:pos x="39" y="602"/>
                </a:cxn>
                <a:cxn ang="0">
                  <a:pos x="94" y="564"/>
                </a:cxn>
                <a:cxn ang="0">
                  <a:pos x="136" y="250"/>
                </a:cxn>
                <a:cxn ang="0">
                  <a:pos x="153" y="234"/>
                </a:cxn>
                <a:cxn ang="0">
                  <a:pos x="749" y="102"/>
                </a:cxn>
                <a:cxn ang="0">
                  <a:pos x="750" y="115"/>
                </a:cxn>
                <a:cxn ang="0">
                  <a:pos x="775" y="78"/>
                </a:cxn>
                <a:cxn ang="0">
                  <a:pos x="814" y="30"/>
                </a:cxn>
                <a:cxn ang="0">
                  <a:pos x="881" y="0"/>
                </a:cxn>
                <a:cxn ang="0">
                  <a:pos x="912" y="39"/>
                </a:cxn>
                <a:cxn ang="0">
                  <a:pos x="972" y="95"/>
                </a:cxn>
                <a:cxn ang="0">
                  <a:pos x="978" y="157"/>
                </a:cxn>
                <a:cxn ang="0">
                  <a:pos x="997" y="206"/>
                </a:cxn>
                <a:cxn ang="0">
                  <a:pos x="1020" y="299"/>
                </a:cxn>
                <a:cxn ang="0">
                  <a:pos x="1013" y="322"/>
                </a:cxn>
                <a:cxn ang="0">
                  <a:pos x="1025" y="329"/>
                </a:cxn>
                <a:cxn ang="0">
                  <a:pos x="1087" y="372"/>
                </a:cxn>
                <a:cxn ang="0">
                  <a:pos x="1062" y="403"/>
                </a:cxn>
                <a:cxn ang="0">
                  <a:pos x="1002" y="460"/>
                </a:cxn>
                <a:cxn ang="0">
                  <a:pos x="997" y="500"/>
                </a:cxn>
                <a:cxn ang="0">
                  <a:pos x="979" y="588"/>
                </a:cxn>
                <a:cxn ang="0">
                  <a:pos x="985" y="636"/>
                </a:cxn>
                <a:cxn ang="0">
                  <a:pos x="971" y="696"/>
                </a:cxn>
                <a:cxn ang="0">
                  <a:pos x="953" y="740"/>
                </a:cxn>
                <a:cxn ang="0">
                  <a:pos x="905" y="800"/>
                </a:cxn>
                <a:cxn ang="0">
                  <a:pos x="888" y="872"/>
                </a:cxn>
                <a:cxn ang="0">
                  <a:pos x="856" y="897"/>
                </a:cxn>
                <a:cxn ang="0">
                  <a:pos x="837" y="918"/>
                </a:cxn>
                <a:cxn ang="0">
                  <a:pos x="835" y="1037"/>
                </a:cxn>
                <a:cxn ang="0">
                  <a:pos x="812" y="1062"/>
                </a:cxn>
                <a:cxn ang="0">
                  <a:pos x="764" y="1087"/>
                </a:cxn>
                <a:cxn ang="0">
                  <a:pos x="784" y="1126"/>
                </a:cxn>
                <a:cxn ang="0">
                  <a:pos x="837" y="1161"/>
                </a:cxn>
                <a:cxn ang="0">
                  <a:pos x="909" y="1259"/>
                </a:cxn>
                <a:cxn ang="0">
                  <a:pos x="941" y="1300"/>
                </a:cxn>
              </a:cxnLst>
              <a:rect l="0" t="0" r="r" b="b"/>
              <a:pathLst>
                <a:path w="1089" h="1409">
                  <a:moveTo>
                    <a:pt x="948" y="1326"/>
                  </a:moveTo>
                  <a:lnTo>
                    <a:pt x="948" y="1326"/>
                  </a:lnTo>
                  <a:lnTo>
                    <a:pt x="902" y="1328"/>
                  </a:lnTo>
                  <a:lnTo>
                    <a:pt x="902" y="1328"/>
                  </a:lnTo>
                  <a:lnTo>
                    <a:pt x="870" y="1330"/>
                  </a:lnTo>
                  <a:lnTo>
                    <a:pt x="854" y="1332"/>
                  </a:lnTo>
                  <a:lnTo>
                    <a:pt x="847" y="1333"/>
                  </a:lnTo>
                  <a:lnTo>
                    <a:pt x="844" y="1337"/>
                  </a:lnTo>
                  <a:lnTo>
                    <a:pt x="844" y="1337"/>
                  </a:lnTo>
                  <a:lnTo>
                    <a:pt x="838" y="1346"/>
                  </a:lnTo>
                  <a:lnTo>
                    <a:pt x="833" y="1358"/>
                  </a:lnTo>
                  <a:lnTo>
                    <a:pt x="830" y="1370"/>
                  </a:lnTo>
                  <a:lnTo>
                    <a:pt x="830" y="1381"/>
                  </a:lnTo>
                  <a:lnTo>
                    <a:pt x="830" y="1381"/>
                  </a:lnTo>
                  <a:lnTo>
                    <a:pt x="770" y="1393"/>
                  </a:lnTo>
                  <a:lnTo>
                    <a:pt x="706" y="1406"/>
                  </a:lnTo>
                  <a:lnTo>
                    <a:pt x="706" y="1406"/>
                  </a:lnTo>
                  <a:lnTo>
                    <a:pt x="662" y="1409"/>
                  </a:lnTo>
                  <a:lnTo>
                    <a:pt x="631" y="1409"/>
                  </a:lnTo>
                  <a:lnTo>
                    <a:pt x="618" y="1409"/>
                  </a:lnTo>
                  <a:lnTo>
                    <a:pt x="609" y="1407"/>
                  </a:lnTo>
                  <a:lnTo>
                    <a:pt x="609" y="1407"/>
                  </a:lnTo>
                  <a:lnTo>
                    <a:pt x="606" y="1402"/>
                  </a:lnTo>
                  <a:lnTo>
                    <a:pt x="595" y="1390"/>
                  </a:lnTo>
                  <a:lnTo>
                    <a:pt x="587" y="1383"/>
                  </a:lnTo>
                  <a:lnTo>
                    <a:pt x="574" y="1374"/>
                  </a:lnTo>
                  <a:lnTo>
                    <a:pt x="562" y="1369"/>
                  </a:lnTo>
                  <a:lnTo>
                    <a:pt x="546" y="1363"/>
                  </a:lnTo>
                  <a:lnTo>
                    <a:pt x="546" y="1363"/>
                  </a:lnTo>
                  <a:lnTo>
                    <a:pt x="532" y="1360"/>
                  </a:lnTo>
                  <a:lnTo>
                    <a:pt x="518" y="1358"/>
                  </a:lnTo>
                  <a:lnTo>
                    <a:pt x="497" y="1356"/>
                  </a:lnTo>
                  <a:lnTo>
                    <a:pt x="483" y="1358"/>
                  </a:lnTo>
                  <a:lnTo>
                    <a:pt x="479" y="1360"/>
                  </a:lnTo>
                  <a:lnTo>
                    <a:pt x="479" y="1360"/>
                  </a:lnTo>
                  <a:lnTo>
                    <a:pt x="474" y="1360"/>
                  </a:lnTo>
                  <a:lnTo>
                    <a:pt x="463" y="1360"/>
                  </a:lnTo>
                  <a:lnTo>
                    <a:pt x="449" y="1358"/>
                  </a:lnTo>
                  <a:lnTo>
                    <a:pt x="442" y="1356"/>
                  </a:lnTo>
                  <a:lnTo>
                    <a:pt x="437" y="1353"/>
                  </a:lnTo>
                  <a:lnTo>
                    <a:pt x="437" y="1353"/>
                  </a:lnTo>
                  <a:lnTo>
                    <a:pt x="381" y="1300"/>
                  </a:lnTo>
                  <a:lnTo>
                    <a:pt x="381" y="1300"/>
                  </a:lnTo>
                  <a:lnTo>
                    <a:pt x="363" y="1279"/>
                  </a:lnTo>
                  <a:lnTo>
                    <a:pt x="349" y="1261"/>
                  </a:lnTo>
                  <a:lnTo>
                    <a:pt x="338" y="1247"/>
                  </a:lnTo>
                  <a:lnTo>
                    <a:pt x="338" y="1247"/>
                  </a:lnTo>
                  <a:lnTo>
                    <a:pt x="331" y="1237"/>
                  </a:lnTo>
                  <a:lnTo>
                    <a:pt x="324" y="1229"/>
                  </a:lnTo>
                  <a:lnTo>
                    <a:pt x="314" y="1217"/>
                  </a:lnTo>
                  <a:lnTo>
                    <a:pt x="314" y="1217"/>
                  </a:lnTo>
                  <a:lnTo>
                    <a:pt x="300" y="1205"/>
                  </a:lnTo>
                  <a:lnTo>
                    <a:pt x="289" y="1196"/>
                  </a:lnTo>
                  <a:lnTo>
                    <a:pt x="289" y="1196"/>
                  </a:lnTo>
                  <a:lnTo>
                    <a:pt x="277" y="1175"/>
                  </a:lnTo>
                  <a:lnTo>
                    <a:pt x="266" y="1157"/>
                  </a:lnTo>
                  <a:lnTo>
                    <a:pt x="256" y="1141"/>
                  </a:lnTo>
                  <a:lnTo>
                    <a:pt x="256" y="1141"/>
                  </a:lnTo>
                  <a:lnTo>
                    <a:pt x="241" y="1129"/>
                  </a:lnTo>
                  <a:lnTo>
                    <a:pt x="226" y="1115"/>
                  </a:lnTo>
                  <a:lnTo>
                    <a:pt x="206" y="1104"/>
                  </a:lnTo>
                  <a:lnTo>
                    <a:pt x="187" y="1096"/>
                  </a:lnTo>
                  <a:lnTo>
                    <a:pt x="187" y="1096"/>
                  </a:lnTo>
                  <a:lnTo>
                    <a:pt x="176" y="1090"/>
                  </a:lnTo>
                  <a:lnTo>
                    <a:pt x="164" y="1083"/>
                  </a:lnTo>
                  <a:lnTo>
                    <a:pt x="145" y="1069"/>
                  </a:lnTo>
                  <a:lnTo>
                    <a:pt x="122" y="1052"/>
                  </a:lnTo>
                  <a:lnTo>
                    <a:pt x="122" y="1052"/>
                  </a:lnTo>
                  <a:lnTo>
                    <a:pt x="113" y="1046"/>
                  </a:lnTo>
                  <a:lnTo>
                    <a:pt x="106" y="1041"/>
                  </a:lnTo>
                  <a:lnTo>
                    <a:pt x="101" y="1036"/>
                  </a:lnTo>
                  <a:lnTo>
                    <a:pt x="101" y="1036"/>
                  </a:lnTo>
                  <a:lnTo>
                    <a:pt x="97" y="1030"/>
                  </a:lnTo>
                  <a:lnTo>
                    <a:pt x="95" y="1023"/>
                  </a:lnTo>
                  <a:lnTo>
                    <a:pt x="95" y="1015"/>
                  </a:lnTo>
                  <a:lnTo>
                    <a:pt x="99" y="1008"/>
                  </a:lnTo>
                  <a:lnTo>
                    <a:pt x="99" y="1008"/>
                  </a:lnTo>
                  <a:lnTo>
                    <a:pt x="113" y="983"/>
                  </a:lnTo>
                  <a:lnTo>
                    <a:pt x="113" y="983"/>
                  </a:lnTo>
                  <a:lnTo>
                    <a:pt x="116" y="981"/>
                  </a:lnTo>
                  <a:lnTo>
                    <a:pt x="118" y="978"/>
                  </a:lnTo>
                  <a:lnTo>
                    <a:pt x="120" y="972"/>
                  </a:lnTo>
                  <a:lnTo>
                    <a:pt x="118" y="969"/>
                  </a:lnTo>
                  <a:lnTo>
                    <a:pt x="115" y="962"/>
                  </a:lnTo>
                  <a:lnTo>
                    <a:pt x="109" y="955"/>
                  </a:lnTo>
                  <a:lnTo>
                    <a:pt x="109" y="955"/>
                  </a:lnTo>
                  <a:lnTo>
                    <a:pt x="90" y="937"/>
                  </a:lnTo>
                  <a:lnTo>
                    <a:pt x="65" y="916"/>
                  </a:lnTo>
                  <a:lnTo>
                    <a:pt x="35" y="891"/>
                  </a:lnTo>
                  <a:lnTo>
                    <a:pt x="35" y="891"/>
                  </a:lnTo>
                  <a:lnTo>
                    <a:pt x="39" y="891"/>
                  </a:lnTo>
                  <a:lnTo>
                    <a:pt x="42" y="886"/>
                  </a:lnTo>
                  <a:lnTo>
                    <a:pt x="44" y="882"/>
                  </a:lnTo>
                  <a:lnTo>
                    <a:pt x="46" y="879"/>
                  </a:lnTo>
                  <a:lnTo>
                    <a:pt x="46" y="874"/>
                  </a:lnTo>
                  <a:lnTo>
                    <a:pt x="44" y="867"/>
                  </a:lnTo>
                  <a:lnTo>
                    <a:pt x="44" y="867"/>
                  </a:lnTo>
                  <a:lnTo>
                    <a:pt x="37" y="851"/>
                  </a:lnTo>
                  <a:lnTo>
                    <a:pt x="28" y="831"/>
                  </a:lnTo>
                  <a:lnTo>
                    <a:pt x="20" y="812"/>
                  </a:lnTo>
                  <a:lnTo>
                    <a:pt x="13" y="796"/>
                  </a:lnTo>
                  <a:lnTo>
                    <a:pt x="13" y="796"/>
                  </a:lnTo>
                  <a:lnTo>
                    <a:pt x="7" y="779"/>
                  </a:lnTo>
                  <a:lnTo>
                    <a:pt x="4" y="759"/>
                  </a:lnTo>
                  <a:lnTo>
                    <a:pt x="0" y="729"/>
                  </a:lnTo>
                  <a:lnTo>
                    <a:pt x="0" y="729"/>
                  </a:lnTo>
                  <a:lnTo>
                    <a:pt x="0" y="708"/>
                  </a:lnTo>
                  <a:lnTo>
                    <a:pt x="2" y="690"/>
                  </a:lnTo>
                  <a:lnTo>
                    <a:pt x="5" y="675"/>
                  </a:lnTo>
                  <a:lnTo>
                    <a:pt x="5" y="675"/>
                  </a:lnTo>
                  <a:lnTo>
                    <a:pt x="13" y="655"/>
                  </a:lnTo>
                  <a:lnTo>
                    <a:pt x="23" y="634"/>
                  </a:lnTo>
                  <a:lnTo>
                    <a:pt x="32" y="615"/>
                  </a:lnTo>
                  <a:lnTo>
                    <a:pt x="39" y="602"/>
                  </a:lnTo>
                  <a:lnTo>
                    <a:pt x="39" y="602"/>
                  </a:lnTo>
                  <a:lnTo>
                    <a:pt x="46" y="594"/>
                  </a:lnTo>
                  <a:lnTo>
                    <a:pt x="60" y="581"/>
                  </a:lnTo>
                  <a:lnTo>
                    <a:pt x="78" y="569"/>
                  </a:lnTo>
                  <a:lnTo>
                    <a:pt x="85" y="565"/>
                  </a:lnTo>
                  <a:lnTo>
                    <a:pt x="94" y="564"/>
                  </a:lnTo>
                  <a:lnTo>
                    <a:pt x="90" y="264"/>
                  </a:lnTo>
                  <a:lnTo>
                    <a:pt x="90" y="264"/>
                  </a:lnTo>
                  <a:lnTo>
                    <a:pt x="108" y="257"/>
                  </a:lnTo>
                  <a:lnTo>
                    <a:pt x="123" y="254"/>
                  </a:lnTo>
                  <a:lnTo>
                    <a:pt x="136" y="250"/>
                  </a:lnTo>
                  <a:lnTo>
                    <a:pt x="136" y="250"/>
                  </a:lnTo>
                  <a:lnTo>
                    <a:pt x="145" y="248"/>
                  </a:lnTo>
                  <a:lnTo>
                    <a:pt x="148" y="247"/>
                  </a:lnTo>
                  <a:lnTo>
                    <a:pt x="150" y="243"/>
                  </a:lnTo>
                  <a:lnTo>
                    <a:pt x="153" y="234"/>
                  </a:lnTo>
                  <a:lnTo>
                    <a:pt x="155" y="222"/>
                  </a:lnTo>
                  <a:lnTo>
                    <a:pt x="155" y="222"/>
                  </a:lnTo>
                  <a:lnTo>
                    <a:pt x="150" y="90"/>
                  </a:lnTo>
                  <a:lnTo>
                    <a:pt x="699" y="79"/>
                  </a:lnTo>
                  <a:lnTo>
                    <a:pt x="749" y="102"/>
                  </a:lnTo>
                  <a:lnTo>
                    <a:pt x="749" y="102"/>
                  </a:lnTo>
                  <a:lnTo>
                    <a:pt x="747" y="111"/>
                  </a:lnTo>
                  <a:lnTo>
                    <a:pt x="747" y="113"/>
                  </a:lnTo>
                  <a:lnTo>
                    <a:pt x="749" y="115"/>
                  </a:lnTo>
                  <a:lnTo>
                    <a:pt x="750" y="115"/>
                  </a:lnTo>
                  <a:lnTo>
                    <a:pt x="754" y="111"/>
                  </a:lnTo>
                  <a:lnTo>
                    <a:pt x="754" y="111"/>
                  </a:lnTo>
                  <a:lnTo>
                    <a:pt x="763" y="100"/>
                  </a:lnTo>
                  <a:lnTo>
                    <a:pt x="770" y="88"/>
                  </a:lnTo>
                  <a:lnTo>
                    <a:pt x="775" y="78"/>
                  </a:lnTo>
                  <a:lnTo>
                    <a:pt x="780" y="67"/>
                  </a:lnTo>
                  <a:lnTo>
                    <a:pt x="780" y="67"/>
                  </a:lnTo>
                  <a:lnTo>
                    <a:pt x="793" y="53"/>
                  </a:lnTo>
                  <a:lnTo>
                    <a:pt x="801" y="42"/>
                  </a:lnTo>
                  <a:lnTo>
                    <a:pt x="814" y="30"/>
                  </a:lnTo>
                  <a:lnTo>
                    <a:pt x="828" y="19"/>
                  </a:lnTo>
                  <a:lnTo>
                    <a:pt x="844" y="9"/>
                  </a:lnTo>
                  <a:lnTo>
                    <a:pt x="861" y="2"/>
                  </a:lnTo>
                  <a:lnTo>
                    <a:pt x="870" y="0"/>
                  </a:lnTo>
                  <a:lnTo>
                    <a:pt x="881" y="0"/>
                  </a:lnTo>
                  <a:lnTo>
                    <a:pt x="881" y="0"/>
                  </a:lnTo>
                  <a:lnTo>
                    <a:pt x="891" y="16"/>
                  </a:lnTo>
                  <a:lnTo>
                    <a:pt x="902" y="28"/>
                  </a:lnTo>
                  <a:lnTo>
                    <a:pt x="912" y="39"/>
                  </a:lnTo>
                  <a:lnTo>
                    <a:pt x="912" y="39"/>
                  </a:lnTo>
                  <a:lnTo>
                    <a:pt x="928" y="49"/>
                  </a:lnTo>
                  <a:lnTo>
                    <a:pt x="946" y="65"/>
                  </a:lnTo>
                  <a:lnTo>
                    <a:pt x="962" y="81"/>
                  </a:lnTo>
                  <a:lnTo>
                    <a:pt x="969" y="88"/>
                  </a:lnTo>
                  <a:lnTo>
                    <a:pt x="972" y="95"/>
                  </a:lnTo>
                  <a:lnTo>
                    <a:pt x="972" y="95"/>
                  </a:lnTo>
                  <a:lnTo>
                    <a:pt x="974" y="100"/>
                  </a:lnTo>
                  <a:lnTo>
                    <a:pt x="974" y="111"/>
                  </a:lnTo>
                  <a:lnTo>
                    <a:pt x="976" y="132"/>
                  </a:lnTo>
                  <a:lnTo>
                    <a:pt x="978" y="157"/>
                  </a:lnTo>
                  <a:lnTo>
                    <a:pt x="981" y="169"/>
                  </a:lnTo>
                  <a:lnTo>
                    <a:pt x="985" y="180"/>
                  </a:lnTo>
                  <a:lnTo>
                    <a:pt x="985" y="180"/>
                  </a:lnTo>
                  <a:lnTo>
                    <a:pt x="992" y="194"/>
                  </a:lnTo>
                  <a:lnTo>
                    <a:pt x="997" y="206"/>
                  </a:lnTo>
                  <a:lnTo>
                    <a:pt x="1006" y="238"/>
                  </a:lnTo>
                  <a:lnTo>
                    <a:pt x="1006" y="238"/>
                  </a:lnTo>
                  <a:lnTo>
                    <a:pt x="1016" y="273"/>
                  </a:lnTo>
                  <a:lnTo>
                    <a:pt x="1020" y="287"/>
                  </a:lnTo>
                  <a:lnTo>
                    <a:pt x="1020" y="299"/>
                  </a:lnTo>
                  <a:lnTo>
                    <a:pt x="1020" y="299"/>
                  </a:lnTo>
                  <a:lnTo>
                    <a:pt x="1020" y="307"/>
                  </a:lnTo>
                  <a:lnTo>
                    <a:pt x="1018" y="312"/>
                  </a:lnTo>
                  <a:lnTo>
                    <a:pt x="1015" y="319"/>
                  </a:lnTo>
                  <a:lnTo>
                    <a:pt x="1013" y="322"/>
                  </a:lnTo>
                  <a:lnTo>
                    <a:pt x="1013" y="324"/>
                  </a:lnTo>
                  <a:lnTo>
                    <a:pt x="1015" y="326"/>
                  </a:lnTo>
                  <a:lnTo>
                    <a:pt x="1018" y="328"/>
                  </a:lnTo>
                  <a:lnTo>
                    <a:pt x="1018" y="328"/>
                  </a:lnTo>
                  <a:lnTo>
                    <a:pt x="1025" y="329"/>
                  </a:lnTo>
                  <a:lnTo>
                    <a:pt x="1036" y="335"/>
                  </a:lnTo>
                  <a:lnTo>
                    <a:pt x="1059" y="351"/>
                  </a:lnTo>
                  <a:lnTo>
                    <a:pt x="1089" y="372"/>
                  </a:lnTo>
                  <a:lnTo>
                    <a:pt x="1089" y="372"/>
                  </a:lnTo>
                  <a:lnTo>
                    <a:pt x="1087" y="372"/>
                  </a:lnTo>
                  <a:lnTo>
                    <a:pt x="1083" y="373"/>
                  </a:lnTo>
                  <a:lnTo>
                    <a:pt x="1078" y="377"/>
                  </a:lnTo>
                  <a:lnTo>
                    <a:pt x="1073" y="388"/>
                  </a:lnTo>
                  <a:lnTo>
                    <a:pt x="1073" y="388"/>
                  </a:lnTo>
                  <a:lnTo>
                    <a:pt x="1062" y="403"/>
                  </a:lnTo>
                  <a:lnTo>
                    <a:pt x="1043" y="425"/>
                  </a:lnTo>
                  <a:lnTo>
                    <a:pt x="1025" y="444"/>
                  </a:lnTo>
                  <a:lnTo>
                    <a:pt x="1011" y="454"/>
                  </a:lnTo>
                  <a:lnTo>
                    <a:pt x="1011" y="454"/>
                  </a:lnTo>
                  <a:lnTo>
                    <a:pt x="1002" y="460"/>
                  </a:lnTo>
                  <a:lnTo>
                    <a:pt x="999" y="465"/>
                  </a:lnTo>
                  <a:lnTo>
                    <a:pt x="997" y="474"/>
                  </a:lnTo>
                  <a:lnTo>
                    <a:pt x="997" y="490"/>
                  </a:lnTo>
                  <a:lnTo>
                    <a:pt x="997" y="490"/>
                  </a:lnTo>
                  <a:lnTo>
                    <a:pt x="997" y="500"/>
                  </a:lnTo>
                  <a:lnTo>
                    <a:pt x="995" y="511"/>
                  </a:lnTo>
                  <a:lnTo>
                    <a:pt x="988" y="539"/>
                  </a:lnTo>
                  <a:lnTo>
                    <a:pt x="983" y="567"/>
                  </a:lnTo>
                  <a:lnTo>
                    <a:pt x="981" y="578"/>
                  </a:lnTo>
                  <a:lnTo>
                    <a:pt x="979" y="588"/>
                  </a:lnTo>
                  <a:lnTo>
                    <a:pt x="979" y="588"/>
                  </a:lnTo>
                  <a:lnTo>
                    <a:pt x="981" y="604"/>
                  </a:lnTo>
                  <a:lnTo>
                    <a:pt x="983" y="615"/>
                  </a:lnTo>
                  <a:lnTo>
                    <a:pt x="985" y="625"/>
                  </a:lnTo>
                  <a:lnTo>
                    <a:pt x="985" y="636"/>
                  </a:lnTo>
                  <a:lnTo>
                    <a:pt x="985" y="636"/>
                  </a:lnTo>
                  <a:lnTo>
                    <a:pt x="983" y="650"/>
                  </a:lnTo>
                  <a:lnTo>
                    <a:pt x="978" y="668"/>
                  </a:lnTo>
                  <a:lnTo>
                    <a:pt x="972" y="685"/>
                  </a:lnTo>
                  <a:lnTo>
                    <a:pt x="971" y="696"/>
                  </a:lnTo>
                  <a:lnTo>
                    <a:pt x="969" y="708"/>
                  </a:lnTo>
                  <a:lnTo>
                    <a:pt x="969" y="708"/>
                  </a:lnTo>
                  <a:lnTo>
                    <a:pt x="967" y="719"/>
                  </a:lnTo>
                  <a:lnTo>
                    <a:pt x="962" y="729"/>
                  </a:lnTo>
                  <a:lnTo>
                    <a:pt x="953" y="740"/>
                  </a:lnTo>
                  <a:lnTo>
                    <a:pt x="942" y="750"/>
                  </a:lnTo>
                  <a:lnTo>
                    <a:pt x="921" y="773"/>
                  </a:lnTo>
                  <a:lnTo>
                    <a:pt x="912" y="786"/>
                  </a:lnTo>
                  <a:lnTo>
                    <a:pt x="905" y="800"/>
                  </a:lnTo>
                  <a:lnTo>
                    <a:pt x="905" y="800"/>
                  </a:lnTo>
                  <a:lnTo>
                    <a:pt x="902" y="812"/>
                  </a:lnTo>
                  <a:lnTo>
                    <a:pt x="898" y="824"/>
                  </a:lnTo>
                  <a:lnTo>
                    <a:pt x="895" y="845"/>
                  </a:lnTo>
                  <a:lnTo>
                    <a:pt x="891" y="865"/>
                  </a:lnTo>
                  <a:lnTo>
                    <a:pt x="888" y="872"/>
                  </a:lnTo>
                  <a:lnTo>
                    <a:pt x="884" y="881"/>
                  </a:lnTo>
                  <a:lnTo>
                    <a:pt x="884" y="881"/>
                  </a:lnTo>
                  <a:lnTo>
                    <a:pt x="877" y="886"/>
                  </a:lnTo>
                  <a:lnTo>
                    <a:pt x="870" y="891"/>
                  </a:lnTo>
                  <a:lnTo>
                    <a:pt x="856" y="897"/>
                  </a:lnTo>
                  <a:lnTo>
                    <a:pt x="849" y="898"/>
                  </a:lnTo>
                  <a:lnTo>
                    <a:pt x="844" y="904"/>
                  </a:lnTo>
                  <a:lnTo>
                    <a:pt x="838" y="909"/>
                  </a:lnTo>
                  <a:lnTo>
                    <a:pt x="837" y="918"/>
                  </a:lnTo>
                  <a:lnTo>
                    <a:pt x="837" y="918"/>
                  </a:lnTo>
                  <a:lnTo>
                    <a:pt x="837" y="946"/>
                  </a:lnTo>
                  <a:lnTo>
                    <a:pt x="838" y="979"/>
                  </a:lnTo>
                  <a:lnTo>
                    <a:pt x="838" y="1015"/>
                  </a:lnTo>
                  <a:lnTo>
                    <a:pt x="837" y="1027"/>
                  </a:lnTo>
                  <a:lnTo>
                    <a:pt x="835" y="1037"/>
                  </a:lnTo>
                  <a:lnTo>
                    <a:pt x="835" y="1037"/>
                  </a:lnTo>
                  <a:lnTo>
                    <a:pt x="831" y="1045"/>
                  </a:lnTo>
                  <a:lnTo>
                    <a:pt x="826" y="1052"/>
                  </a:lnTo>
                  <a:lnTo>
                    <a:pt x="819" y="1057"/>
                  </a:lnTo>
                  <a:lnTo>
                    <a:pt x="812" y="1062"/>
                  </a:lnTo>
                  <a:lnTo>
                    <a:pt x="794" y="1071"/>
                  </a:lnTo>
                  <a:lnTo>
                    <a:pt x="777" y="1078"/>
                  </a:lnTo>
                  <a:lnTo>
                    <a:pt x="777" y="1078"/>
                  </a:lnTo>
                  <a:lnTo>
                    <a:pt x="770" y="1082"/>
                  </a:lnTo>
                  <a:lnTo>
                    <a:pt x="764" y="1087"/>
                  </a:lnTo>
                  <a:lnTo>
                    <a:pt x="761" y="1092"/>
                  </a:lnTo>
                  <a:lnTo>
                    <a:pt x="761" y="1101"/>
                  </a:lnTo>
                  <a:lnTo>
                    <a:pt x="764" y="1108"/>
                  </a:lnTo>
                  <a:lnTo>
                    <a:pt x="772" y="1117"/>
                  </a:lnTo>
                  <a:lnTo>
                    <a:pt x="784" y="1126"/>
                  </a:lnTo>
                  <a:lnTo>
                    <a:pt x="801" y="1134"/>
                  </a:lnTo>
                  <a:lnTo>
                    <a:pt x="801" y="1134"/>
                  </a:lnTo>
                  <a:lnTo>
                    <a:pt x="810" y="1140"/>
                  </a:lnTo>
                  <a:lnTo>
                    <a:pt x="819" y="1147"/>
                  </a:lnTo>
                  <a:lnTo>
                    <a:pt x="837" y="1161"/>
                  </a:lnTo>
                  <a:lnTo>
                    <a:pt x="851" y="1178"/>
                  </a:lnTo>
                  <a:lnTo>
                    <a:pt x="863" y="1196"/>
                  </a:lnTo>
                  <a:lnTo>
                    <a:pt x="886" y="1233"/>
                  </a:lnTo>
                  <a:lnTo>
                    <a:pt x="898" y="1247"/>
                  </a:lnTo>
                  <a:lnTo>
                    <a:pt x="909" y="1259"/>
                  </a:lnTo>
                  <a:lnTo>
                    <a:pt x="909" y="1259"/>
                  </a:lnTo>
                  <a:lnTo>
                    <a:pt x="921" y="1270"/>
                  </a:lnTo>
                  <a:lnTo>
                    <a:pt x="930" y="1281"/>
                  </a:lnTo>
                  <a:lnTo>
                    <a:pt x="935" y="1289"/>
                  </a:lnTo>
                  <a:lnTo>
                    <a:pt x="941" y="1300"/>
                  </a:lnTo>
                  <a:lnTo>
                    <a:pt x="946" y="1316"/>
                  </a:lnTo>
                  <a:lnTo>
                    <a:pt x="948" y="1326"/>
                  </a:lnTo>
                  <a:lnTo>
                    <a:pt x="948" y="1326"/>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3" name="Freeform 49">
              <a:extLst>
                <a:ext uri="{FF2B5EF4-FFF2-40B4-BE49-F238E27FC236}">
                  <a16:creationId xmlns:a16="http://schemas.microsoft.com/office/drawing/2014/main" id="{0DBB1BEC-7205-4D1C-8270-9F76798A53E0}"/>
                </a:ext>
              </a:extLst>
            </p:cNvPr>
            <p:cNvSpPr>
              <a:spLocks/>
            </p:cNvSpPr>
            <p:nvPr/>
          </p:nvSpPr>
          <p:spPr bwMode="auto">
            <a:xfrm>
              <a:off x="6267276" y="3432590"/>
              <a:ext cx="622810" cy="895847"/>
            </a:xfrm>
            <a:custGeom>
              <a:avLst/>
              <a:gdLst/>
              <a:ahLst/>
              <a:cxnLst>
                <a:cxn ang="0">
                  <a:pos x="44" y="988"/>
                </a:cxn>
                <a:cxn ang="0">
                  <a:pos x="28" y="974"/>
                </a:cxn>
                <a:cxn ang="0">
                  <a:pos x="11" y="949"/>
                </a:cxn>
                <a:cxn ang="0">
                  <a:pos x="2" y="926"/>
                </a:cxn>
                <a:cxn ang="0">
                  <a:pos x="9" y="694"/>
                </a:cxn>
                <a:cxn ang="0">
                  <a:pos x="28" y="671"/>
                </a:cxn>
                <a:cxn ang="0">
                  <a:pos x="69" y="632"/>
                </a:cxn>
                <a:cxn ang="0">
                  <a:pos x="88" y="601"/>
                </a:cxn>
                <a:cxn ang="0">
                  <a:pos x="118" y="597"/>
                </a:cxn>
                <a:cxn ang="0">
                  <a:pos x="141" y="583"/>
                </a:cxn>
                <a:cxn ang="0">
                  <a:pos x="160" y="549"/>
                </a:cxn>
                <a:cxn ang="0">
                  <a:pos x="183" y="541"/>
                </a:cxn>
                <a:cxn ang="0">
                  <a:pos x="245" y="523"/>
                </a:cxn>
                <a:cxn ang="0">
                  <a:pos x="382" y="393"/>
                </a:cxn>
                <a:cxn ang="0">
                  <a:pos x="439" y="329"/>
                </a:cxn>
                <a:cxn ang="0">
                  <a:pos x="463" y="305"/>
                </a:cxn>
                <a:cxn ang="0">
                  <a:pos x="467" y="294"/>
                </a:cxn>
                <a:cxn ang="0">
                  <a:pos x="446" y="287"/>
                </a:cxn>
                <a:cxn ang="0">
                  <a:pos x="388" y="284"/>
                </a:cxn>
                <a:cxn ang="0">
                  <a:pos x="307" y="257"/>
                </a:cxn>
                <a:cxn ang="0">
                  <a:pos x="224" y="213"/>
                </a:cxn>
                <a:cxn ang="0">
                  <a:pos x="164" y="155"/>
                </a:cxn>
                <a:cxn ang="0">
                  <a:pos x="145" y="134"/>
                </a:cxn>
                <a:cxn ang="0">
                  <a:pos x="132" y="99"/>
                </a:cxn>
                <a:cxn ang="0">
                  <a:pos x="141" y="74"/>
                </a:cxn>
                <a:cxn ang="0">
                  <a:pos x="183" y="104"/>
                </a:cxn>
                <a:cxn ang="0">
                  <a:pos x="227" y="136"/>
                </a:cxn>
                <a:cxn ang="0">
                  <a:pos x="255" y="136"/>
                </a:cxn>
                <a:cxn ang="0">
                  <a:pos x="292" y="113"/>
                </a:cxn>
                <a:cxn ang="0">
                  <a:pos x="329" y="95"/>
                </a:cxn>
                <a:cxn ang="0">
                  <a:pos x="388" y="93"/>
                </a:cxn>
                <a:cxn ang="0">
                  <a:pos x="416" y="79"/>
                </a:cxn>
                <a:cxn ang="0">
                  <a:pos x="444" y="58"/>
                </a:cxn>
                <a:cxn ang="0">
                  <a:pos x="520" y="49"/>
                </a:cxn>
                <a:cxn ang="0">
                  <a:pos x="601" y="30"/>
                </a:cxn>
                <a:cxn ang="0">
                  <a:pos x="645" y="11"/>
                </a:cxn>
                <a:cxn ang="0">
                  <a:pos x="669" y="0"/>
                </a:cxn>
                <a:cxn ang="0">
                  <a:pos x="689" y="11"/>
                </a:cxn>
                <a:cxn ang="0">
                  <a:pos x="692" y="60"/>
                </a:cxn>
                <a:cxn ang="0">
                  <a:pos x="690" y="99"/>
                </a:cxn>
                <a:cxn ang="0">
                  <a:pos x="696" y="111"/>
                </a:cxn>
                <a:cxn ang="0">
                  <a:pos x="687" y="109"/>
                </a:cxn>
                <a:cxn ang="0">
                  <a:pos x="682" y="121"/>
                </a:cxn>
                <a:cxn ang="0">
                  <a:pos x="655" y="210"/>
                </a:cxn>
                <a:cxn ang="0">
                  <a:pos x="636" y="266"/>
                </a:cxn>
                <a:cxn ang="0">
                  <a:pos x="618" y="292"/>
                </a:cxn>
                <a:cxn ang="0">
                  <a:pos x="608" y="319"/>
                </a:cxn>
                <a:cxn ang="0">
                  <a:pos x="599" y="382"/>
                </a:cxn>
                <a:cxn ang="0">
                  <a:pos x="481" y="560"/>
                </a:cxn>
                <a:cxn ang="0">
                  <a:pos x="125" y="907"/>
                </a:cxn>
                <a:cxn ang="0">
                  <a:pos x="100" y="946"/>
                </a:cxn>
                <a:cxn ang="0">
                  <a:pos x="56" y="1000"/>
                </a:cxn>
              </a:cxnLst>
              <a:rect l="0" t="0" r="r" b="b"/>
              <a:pathLst>
                <a:path w="697" h="1004">
                  <a:moveTo>
                    <a:pt x="48" y="1004"/>
                  </a:moveTo>
                  <a:lnTo>
                    <a:pt x="48" y="1004"/>
                  </a:lnTo>
                  <a:lnTo>
                    <a:pt x="48" y="995"/>
                  </a:lnTo>
                  <a:lnTo>
                    <a:pt x="44" y="988"/>
                  </a:lnTo>
                  <a:lnTo>
                    <a:pt x="42" y="985"/>
                  </a:lnTo>
                  <a:lnTo>
                    <a:pt x="39" y="983"/>
                  </a:lnTo>
                  <a:lnTo>
                    <a:pt x="39" y="983"/>
                  </a:lnTo>
                  <a:lnTo>
                    <a:pt x="28" y="974"/>
                  </a:lnTo>
                  <a:lnTo>
                    <a:pt x="18" y="962"/>
                  </a:lnTo>
                  <a:lnTo>
                    <a:pt x="18" y="962"/>
                  </a:lnTo>
                  <a:lnTo>
                    <a:pt x="14" y="955"/>
                  </a:lnTo>
                  <a:lnTo>
                    <a:pt x="11" y="949"/>
                  </a:lnTo>
                  <a:lnTo>
                    <a:pt x="9" y="942"/>
                  </a:lnTo>
                  <a:lnTo>
                    <a:pt x="4" y="935"/>
                  </a:lnTo>
                  <a:lnTo>
                    <a:pt x="4" y="935"/>
                  </a:lnTo>
                  <a:lnTo>
                    <a:pt x="2" y="926"/>
                  </a:lnTo>
                  <a:lnTo>
                    <a:pt x="0" y="909"/>
                  </a:lnTo>
                  <a:lnTo>
                    <a:pt x="0" y="858"/>
                  </a:lnTo>
                  <a:lnTo>
                    <a:pt x="2" y="787"/>
                  </a:lnTo>
                  <a:lnTo>
                    <a:pt x="9" y="694"/>
                  </a:lnTo>
                  <a:lnTo>
                    <a:pt x="9" y="694"/>
                  </a:lnTo>
                  <a:lnTo>
                    <a:pt x="12" y="685"/>
                  </a:lnTo>
                  <a:lnTo>
                    <a:pt x="19" y="678"/>
                  </a:lnTo>
                  <a:lnTo>
                    <a:pt x="28" y="671"/>
                  </a:lnTo>
                  <a:lnTo>
                    <a:pt x="28" y="671"/>
                  </a:lnTo>
                  <a:lnTo>
                    <a:pt x="41" y="662"/>
                  </a:lnTo>
                  <a:lnTo>
                    <a:pt x="53" y="650"/>
                  </a:lnTo>
                  <a:lnTo>
                    <a:pt x="69" y="632"/>
                  </a:lnTo>
                  <a:lnTo>
                    <a:pt x="69" y="632"/>
                  </a:lnTo>
                  <a:lnTo>
                    <a:pt x="74" y="625"/>
                  </a:lnTo>
                  <a:lnTo>
                    <a:pt x="81" y="615"/>
                  </a:lnTo>
                  <a:lnTo>
                    <a:pt x="88" y="601"/>
                  </a:lnTo>
                  <a:lnTo>
                    <a:pt x="88" y="601"/>
                  </a:lnTo>
                  <a:lnTo>
                    <a:pt x="95" y="601"/>
                  </a:lnTo>
                  <a:lnTo>
                    <a:pt x="109" y="599"/>
                  </a:lnTo>
                  <a:lnTo>
                    <a:pt x="118" y="597"/>
                  </a:lnTo>
                  <a:lnTo>
                    <a:pt x="127" y="595"/>
                  </a:lnTo>
                  <a:lnTo>
                    <a:pt x="134" y="590"/>
                  </a:lnTo>
                  <a:lnTo>
                    <a:pt x="141" y="583"/>
                  </a:lnTo>
                  <a:lnTo>
                    <a:pt x="141" y="583"/>
                  </a:lnTo>
                  <a:lnTo>
                    <a:pt x="148" y="571"/>
                  </a:lnTo>
                  <a:lnTo>
                    <a:pt x="152" y="560"/>
                  </a:lnTo>
                  <a:lnTo>
                    <a:pt x="155" y="553"/>
                  </a:lnTo>
                  <a:lnTo>
                    <a:pt x="160" y="549"/>
                  </a:lnTo>
                  <a:lnTo>
                    <a:pt x="166" y="546"/>
                  </a:lnTo>
                  <a:lnTo>
                    <a:pt x="166" y="546"/>
                  </a:lnTo>
                  <a:lnTo>
                    <a:pt x="174" y="542"/>
                  </a:lnTo>
                  <a:lnTo>
                    <a:pt x="183" y="541"/>
                  </a:lnTo>
                  <a:lnTo>
                    <a:pt x="206" y="535"/>
                  </a:lnTo>
                  <a:lnTo>
                    <a:pt x="229" y="530"/>
                  </a:lnTo>
                  <a:lnTo>
                    <a:pt x="238" y="528"/>
                  </a:lnTo>
                  <a:lnTo>
                    <a:pt x="245" y="523"/>
                  </a:lnTo>
                  <a:lnTo>
                    <a:pt x="245" y="523"/>
                  </a:lnTo>
                  <a:lnTo>
                    <a:pt x="273" y="498"/>
                  </a:lnTo>
                  <a:lnTo>
                    <a:pt x="321" y="454"/>
                  </a:lnTo>
                  <a:lnTo>
                    <a:pt x="382" y="393"/>
                  </a:lnTo>
                  <a:lnTo>
                    <a:pt x="382" y="393"/>
                  </a:lnTo>
                  <a:lnTo>
                    <a:pt x="409" y="365"/>
                  </a:lnTo>
                  <a:lnTo>
                    <a:pt x="428" y="343"/>
                  </a:lnTo>
                  <a:lnTo>
                    <a:pt x="439" y="329"/>
                  </a:lnTo>
                  <a:lnTo>
                    <a:pt x="439" y="329"/>
                  </a:lnTo>
                  <a:lnTo>
                    <a:pt x="446" y="322"/>
                  </a:lnTo>
                  <a:lnTo>
                    <a:pt x="453" y="313"/>
                  </a:lnTo>
                  <a:lnTo>
                    <a:pt x="463" y="305"/>
                  </a:lnTo>
                  <a:lnTo>
                    <a:pt x="463" y="305"/>
                  </a:lnTo>
                  <a:lnTo>
                    <a:pt x="465" y="301"/>
                  </a:lnTo>
                  <a:lnTo>
                    <a:pt x="467" y="298"/>
                  </a:lnTo>
                  <a:lnTo>
                    <a:pt x="467" y="294"/>
                  </a:lnTo>
                  <a:lnTo>
                    <a:pt x="467" y="291"/>
                  </a:lnTo>
                  <a:lnTo>
                    <a:pt x="463" y="289"/>
                  </a:lnTo>
                  <a:lnTo>
                    <a:pt x="456" y="287"/>
                  </a:lnTo>
                  <a:lnTo>
                    <a:pt x="446" y="287"/>
                  </a:lnTo>
                  <a:lnTo>
                    <a:pt x="446" y="287"/>
                  </a:lnTo>
                  <a:lnTo>
                    <a:pt x="432" y="289"/>
                  </a:lnTo>
                  <a:lnTo>
                    <a:pt x="417" y="289"/>
                  </a:lnTo>
                  <a:lnTo>
                    <a:pt x="388" y="284"/>
                  </a:lnTo>
                  <a:lnTo>
                    <a:pt x="358" y="276"/>
                  </a:lnTo>
                  <a:lnTo>
                    <a:pt x="333" y="268"/>
                  </a:lnTo>
                  <a:lnTo>
                    <a:pt x="333" y="268"/>
                  </a:lnTo>
                  <a:lnTo>
                    <a:pt x="307" y="257"/>
                  </a:lnTo>
                  <a:lnTo>
                    <a:pt x="275" y="241"/>
                  </a:lnTo>
                  <a:lnTo>
                    <a:pt x="245" y="225"/>
                  </a:lnTo>
                  <a:lnTo>
                    <a:pt x="224" y="213"/>
                  </a:lnTo>
                  <a:lnTo>
                    <a:pt x="224" y="213"/>
                  </a:lnTo>
                  <a:lnTo>
                    <a:pt x="206" y="201"/>
                  </a:lnTo>
                  <a:lnTo>
                    <a:pt x="190" y="185"/>
                  </a:lnTo>
                  <a:lnTo>
                    <a:pt x="176" y="169"/>
                  </a:lnTo>
                  <a:lnTo>
                    <a:pt x="164" y="155"/>
                  </a:lnTo>
                  <a:lnTo>
                    <a:pt x="164" y="155"/>
                  </a:lnTo>
                  <a:lnTo>
                    <a:pt x="157" y="146"/>
                  </a:lnTo>
                  <a:lnTo>
                    <a:pt x="150" y="141"/>
                  </a:lnTo>
                  <a:lnTo>
                    <a:pt x="145" y="134"/>
                  </a:lnTo>
                  <a:lnTo>
                    <a:pt x="139" y="123"/>
                  </a:lnTo>
                  <a:lnTo>
                    <a:pt x="139" y="123"/>
                  </a:lnTo>
                  <a:lnTo>
                    <a:pt x="136" y="109"/>
                  </a:lnTo>
                  <a:lnTo>
                    <a:pt x="132" y="99"/>
                  </a:lnTo>
                  <a:lnTo>
                    <a:pt x="132" y="90"/>
                  </a:lnTo>
                  <a:lnTo>
                    <a:pt x="132" y="83"/>
                  </a:lnTo>
                  <a:lnTo>
                    <a:pt x="132" y="83"/>
                  </a:lnTo>
                  <a:lnTo>
                    <a:pt x="141" y="74"/>
                  </a:lnTo>
                  <a:lnTo>
                    <a:pt x="146" y="69"/>
                  </a:lnTo>
                  <a:lnTo>
                    <a:pt x="146" y="69"/>
                  </a:lnTo>
                  <a:lnTo>
                    <a:pt x="166" y="88"/>
                  </a:lnTo>
                  <a:lnTo>
                    <a:pt x="183" y="104"/>
                  </a:lnTo>
                  <a:lnTo>
                    <a:pt x="201" y="118"/>
                  </a:lnTo>
                  <a:lnTo>
                    <a:pt x="201" y="118"/>
                  </a:lnTo>
                  <a:lnTo>
                    <a:pt x="215" y="129"/>
                  </a:lnTo>
                  <a:lnTo>
                    <a:pt x="227" y="136"/>
                  </a:lnTo>
                  <a:lnTo>
                    <a:pt x="233" y="139"/>
                  </a:lnTo>
                  <a:lnTo>
                    <a:pt x="240" y="139"/>
                  </a:lnTo>
                  <a:lnTo>
                    <a:pt x="247" y="139"/>
                  </a:lnTo>
                  <a:lnTo>
                    <a:pt x="255" y="136"/>
                  </a:lnTo>
                  <a:lnTo>
                    <a:pt x="255" y="136"/>
                  </a:lnTo>
                  <a:lnTo>
                    <a:pt x="266" y="132"/>
                  </a:lnTo>
                  <a:lnTo>
                    <a:pt x="275" y="127"/>
                  </a:lnTo>
                  <a:lnTo>
                    <a:pt x="292" y="113"/>
                  </a:lnTo>
                  <a:lnTo>
                    <a:pt x="310" y="102"/>
                  </a:lnTo>
                  <a:lnTo>
                    <a:pt x="319" y="97"/>
                  </a:lnTo>
                  <a:lnTo>
                    <a:pt x="329" y="95"/>
                  </a:lnTo>
                  <a:lnTo>
                    <a:pt x="329" y="95"/>
                  </a:lnTo>
                  <a:lnTo>
                    <a:pt x="347" y="95"/>
                  </a:lnTo>
                  <a:lnTo>
                    <a:pt x="361" y="97"/>
                  </a:lnTo>
                  <a:lnTo>
                    <a:pt x="379" y="95"/>
                  </a:lnTo>
                  <a:lnTo>
                    <a:pt x="388" y="93"/>
                  </a:lnTo>
                  <a:lnTo>
                    <a:pt x="398" y="90"/>
                  </a:lnTo>
                  <a:lnTo>
                    <a:pt x="398" y="90"/>
                  </a:lnTo>
                  <a:lnTo>
                    <a:pt x="409" y="84"/>
                  </a:lnTo>
                  <a:lnTo>
                    <a:pt x="416" y="79"/>
                  </a:lnTo>
                  <a:lnTo>
                    <a:pt x="428" y="70"/>
                  </a:lnTo>
                  <a:lnTo>
                    <a:pt x="435" y="63"/>
                  </a:lnTo>
                  <a:lnTo>
                    <a:pt x="444" y="58"/>
                  </a:lnTo>
                  <a:lnTo>
                    <a:pt x="444" y="58"/>
                  </a:lnTo>
                  <a:lnTo>
                    <a:pt x="451" y="56"/>
                  </a:lnTo>
                  <a:lnTo>
                    <a:pt x="461" y="55"/>
                  </a:lnTo>
                  <a:lnTo>
                    <a:pt x="488" y="53"/>
                  </a:lnTo>
                  <a:lnTo>
                    <a:pt x="520" y="49"/>
                  </a:lnTo>
                  <a:lnTo>
                    <a:pt x="535" y="47"/>
                  </a:lnTo>
                  <a:lnTo>
                    <a:pt x="550" y="44"/>
                  </a:lnTo>
                  <a:lnTo>
                    <a:pt x="550" y="44"/>
                  </a:lnTo>
                  <a:lnTo>
                    <a:pt x="601" y="30"/>
                  </a:lnTo>
                  <a:lnTo>
                    <a:pt x="618" y="26"/>
                  </a:lnTo>
                  <a:lnTo>
                    <a:pt x="629" y="23"/>
                  </a:lnTo>
                  <a:lnTo>
                    <a:pt x="629" y="23"/>
                  </a:lnTo>
                  <a:lnTo>
                    <a:pt x="645" y="11"/>
                  </a:lnTo>
                  <a:lnTo>
                    <a:pt x="653" y="5"/>
                  </a:lnTo>
                  <a:lnTo>
                    <a:pt x="660" y="2"/>
                  </a:lnTo>
                  <a:lnTo>
                    <a:pt x="660" y="2"/>
                  </a:lnTo>
                  <a:lnTo>
                    <a:pt x="669" y="0"/>
                  </a:lnTo>
                  <a:lnTo>
                    <a:pt x="675" y="0"/>
                  </a:lnTo>
                  <a:lnTo>
                    <a:pt x="680" y="2"/>
                  </a:lnTo>
                  <a:lnTo>
                    <a:pt x="683" y="5"/>
                  </a:lnTo>
                  <a:lnTo>
                    <a:pt x="689" y="11"/>
                  </a:lnTo>
                  <a:lnTo>
                    <a:pt x="692" y="19"/>
                  </a:lnTo>
                  <a:lnTo>
                    <a:pt x="692" y="33"/>
                  </a:lnTo>
                  <a:lnTo>
                    <a:pt x="692" y="33"/>
                  </a:lnTo>
                  <a:lnTo>
                    <a:pt x="692" y="60"/>
                  </a:lnTo>
                  <a:lnTo>
                    <a:pt x="690" y="81"/>
                  </a:lnTo>
                  <a:lnTo>
                    <a:pt x="689" y="93"/>
                  </a:lnTo>
                  <a:lnTo>
                    <a:pt x="690" y="97"/>
                  </a:lnTo>
                  <a:lnTo>
                    <a:pt x="690" y="99"/>
                  </a:lnTo>
                  <a:lnTo>
                    <a:pt x="690" y="99"/>
                  </a:lnTo>
                  <a:lnTo>
                    <a:pt x="696" y="104"/>
                  </a:lnTo>
                  <a:lnTo>
                    <a:pt x="697" y="107"/>
                  </a:lnTo>
                  <a:lnTo>
                    <a:pt x="696" y="111"/>
                  </a:lnTo>
                  <a:lnTo>
                    <a:pt x="696" y="111"/>
                  </a:lnTo>
                  <a:lnTo>
                    <a:pt x="692" y="113"/>
                  </a:lnTo>
                  <a:lnTo>
                    <a:pt x="690" y="113"/>
                  </a:lnTo>
                  <a:lnTo>
                    <a:pt x="687" y="109"/>
                  </a:lnTo>
                  <a:lnTo>
                    <a:pt x="685" y="109"/>
                  </a:lnTo>
                  <a:lnTo>
                    <a:pt x="683" y="111"/>
                  </a:lnTo>
                  <a:lnTo>
                    <a:pt x="682" y="121"/>
                  </a:lnTo>
                  <a:lnTo>
                    <a:pt x="682" y="121"/>
                  </a:lnTo>
                  <a:lnTo>
                    <a:pt x="678" y="143"/>
                  </a:lnTo>
                  <a:lnTo>
                    <a:pt x="671" y="167"/>
                  </a:lnTo>
                  <a:lnTo>
                    <a:pt x="662" y="190"/>
                  </a:lnTo>
                  <a:lnTo>
                    <a:pt x="655" y="210"/>
                  </a:lnTo>
                  <a:lnTo>
                    <a:pt x="655" y="210"/>
                  </a:lnTo>
                  <a:lnTo>
                    <a:pt x="648" y="227"/>
                  </a:lnTo>
                  <a:lnTo>
                    <a:pt x="641" y="248"/>
                  </a:lnTo>
                  <a:lnTo>
                    <a:pt x="636" y="266"/>
                  </a:lnTo>
                  <a:lnTo>
                    <a:pt x="631" y="276"/>
                  </a:lnTo>
                  <a:lnTo>
                    <a:pt x="631" y="276"/>
                  </a:lnTo>
                  <a:lnTo>
                    <a:pt x="625" y="284"/>
                  </a:lnTo>
                  <a:lnTo>
                    <a:pt x="618" y="292"/>
                  </a:lnTo>
                  <a:lnTo>
                    <a:pt x="611" y="303"/>
                  </a:lnTo>
                  <a:lnTo>
                    <a:pt x="609" y="310"/>
                  </a:lnTo>
                  <a:lnTo>
                    <a:pt x="608" y="319"/>
                  </a:lnTo>
                  <a:lnTo>
                    <a:pt x="608" y="319"/>
                  </a:lnTo>
                  <a:lnTo>
                    <a:pt x="608" y="336"/>
                  </a:lnTo>
                  <a:lnTo>
                    <a:pt x="606" y="356"/>
                  </a:lnTo>
                  <a:lnTo>
                    <a:pt x="602" y="373"/>
                  </a:lnTo>
                  <a:lnTo>
                    <a:pt x="599" y="382"/>
                  </a:lnTo>
                  <a:lnTo>
                    <a:pt x="594" y="393"/>
                  </a:lnTo>
                  <a:lnTo>
                    <a:pt x="594" y="393"/>
                  </a:lnTo>
                  <a:lnTo>
                    <a:pt x="530" y="486"/>
                  </a:lnTo>
                  <a:lnTo>
                    <a:pt x="481" y="560"/>
                  </a:lnTo>
                  <a:lnTo>
                    <a:pt x="333" y="719"/>
                  </a:lnTo>
                  <a:lnTo>
                    <a:pt x="139" y="888"/>
                  </a:lnTo>
                  <a:lnTo>
                    <a:pt x="139" y="888"/>
                  </a:lnTo>
                  <a:lnTo>
                    <a:pt x="125" y="907"/>
                  </a:lnTo>
                  <a:lnTo>
                    <a:pt x="115" y="921"/>
                  </a:lnTo>
                  <a:lnTo>
                    <a:pt x="108" y="932"/>
                  </a:lnTo>
                  <a:lnTo>
                    <a:pt x="108" y="932"/>
                  </a:lnTo>
                  <a:lnTo>
                    <a:pt x="100" y="946"/>
                  </a:lnTo>
                  <a:lnTo>
                    <a:pt x="85" y="969"/>
                  </a:lnTo>
                  <a:lnTo>
                    <a:pt x="74" y="981"/>
                  </a:lnTo>
                  <a:lnTo>
                    <a:pt x="65" y="992"/>
                  </a:lnTo>
                  <a:lnTo>
                    <a:pt x="56" y="1000"/>
                  </a:lnTo>
                  <a:lnTo>
                    <a:pt x="48" y="1004"/>
                  </a:lnTo>
                  <a:lnTo>
                    <a:pt x="48" y="100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4" name="Freeform 50">
              <a:extLst>
                <a:ext uri="{FF2B5EF4-FFF2-40B4-BE49-F238E27FC236}">
                  <a16:creationId xmlns:a16="http://schemas.microsoft.com/office/drawing/2014/main" id="{8EB00B2A-4C5F-46DA-9AB2-E348CA2AF3E6}"/>
                </a:ext>
              </a:extLst>
            </p:cNvPr>
            <p:cNvSpPr>
              <a:spLocks/>
            </p:cNvSpPr>
            <p:nvPr/>
          </p:nvSpPr>
          <p:spPr bwMode="auto">
            <a:xfrm>
              <a:off x="5780093" y="3282688"/>
              <a:ext cx="902986" cy="712039"/>
            </a:xfrm>
            <a:custGeom>
              <a:avLst/>
              <a:gdLst/>
              <a:ahLst/>
              <a:cxnLst>
                <a:cxn ang="0">
                  <a:pos x="213" y="53"/>
                </a:cxn>
                <a:cxn ang="0">
                  <a:pos x="210" y="84"/>
                </a:cxn>
                <a:cxn ang="0">
                  <a:pos x="171" y="134"/>
                </a:cxn>
                <a:cxn ang="0">
                  <a:pos x="145" y="172"/>
                </a:cxn>
                <a:cxn ang="0">
                  <a:pos x="129" y="246"/>
                </a:cxn>
                <a:cxn ang="0">
                  <a:pos x="99" y="266"/>
                </a:cxn>
                <a:cxn ang="0">
                  <a:pos x="81" y="278"/>
                </a:cxn>
                <a:cxn ang="0">
                  <a:pos x="76" y="326"/>
                </a:cxn>
                <a:cxn ang="0">
                  <a:pos x="76" y="408"/>
                </a:cxn>
                <a:cxn ang="0">
                  <a:pos x="53" y="433"/>
                </a:cxn>
                <a:cxn ang="0">
                  <a:pos x="13" y="449"/>
                </a:cxn>
                <a:cxn ang="0">
                  <a:pos x="0" y="468"/>
                </a:cxn>
                <a:cxn ang="0">
                  <a:pos x="14" y="490"/>
                </a:cxn>
                <a:cxn ang="0">
                  <a:pos x="67" y="523"/>
                </a:cxn>
                <a:cxn ang="0">
                  <a:pos x="108" y="572"/>
                </a:cxn>
                <a:cxn ang="0">
                  <a:pos x="150" y="630"/>
                </a:cxn>
                <a:cxn ang="0">
                  <a:pos x="180" y="664"/>
                </a:cxn>
                <a:cxn ang="0">
                  <a:pos x="189" y="697"/>
                </a:cxn>
                <a:cxn ang="0">
                  <a:pos x="234" y="697"/>
                </a:cxn>
                <a:cxn ang="0">
                  <a:pos x="275" y="724"/>
                </a:cxn>
                <a:cxn ang="0">
                  <a:pos x="321" y="755"/>
                </a:cxn>
                <a:cxn ang="0">
                  <a:pos x="375" y="784"/>
                </a:cxn>
                <a:cxn ang="0">
                  <a:pos x="425" y="798"/>
                </a:cxn>
                <a:cxn ang="0">
                  <a:pos x="490" y="782"/>
                </a:cxn>
                <a:cxn ang="0">
                  <a:pos x="562" y="766"/>
                </a:cxn>
                <a:cxn ang="0">
                  <a:pos x="606" y="766"/>
                </a:cxn>
                <a:cxn ang="0">
                  <a:pos x="634" y="770"/>
                </a:cxn>
                <a:cxn ang="0">
                  <a:pos x="680" y="759"/>
                </a:cxn>
                <a:cxn ang="0">
                  <a:pos x="703" y="724"/>
                </a:cxn>
                <a:cxn ang="0">
                  <a:pos x="719" y="711"/>
                </a:cxn>
                <a:cxn ang="0">
                  <a:pos x="779" y="699"/>
                </a:cxn>
                <a:cxn ang="0">
                  <a:pos x="849" y="637"/>
                </a:cxn>
                <a:cxn ang="0">
                  <a:pos x="1009" y="468"/>
                </a:cxn>
                <a:cxn ang="0">
                  <a:pos x="1007" y="458"/>
                </a:cxn>
                <a:cxn ang="0">
                  <a:pos x="974" y="456"/>
                </a:cxn>
                <a:cxn ang="0">
                  <a:pos x="870" y="431"/>
                </a:cxn>
                <a:cxn ang="0">
                  <a:pos x="784" y="391"/>
                </a:cxn>
                <a:cxn ang="0">
                  <a:pos x="743" y="359"/>
                </a:cxn>
                <a:cxn ang="0">
                  <a:pos x="691" y="303"/>
                </a:cxn>
                <a:cxn ang="0">
                  <a:pos x="682" y="273"/>
                </a:cxn>
                <a:cxn ang="0">
                  <a:pos x="689" y="239"/>
                </a:cxn>
                <a:cxn ang="0">
                  <a:pos x="654" y="257"/>
                </a:cxn>
                <a:cxn ang="0">
                  <a:pos x="604" y="259"/>
                </a:cxn>
                <a:cxn ang="0">
                  <a:pos x="587" y="245"/>
                </a:cxn>
                <a:cxn ang="0">
                  <a:pos x="587" y="194"/>
                </a:cxn>
                <a:cxn ang="0">
                  <a:pos x="608" y="153"/>
                </a:cxn>
                <a:cxn ang="0">
                  <a:pos x="601" y="141"/>
                </a:cxn>
                <a:cxn ang="0">
                  <a:pos x="548" y="106"/>
                </a:cxn>
                <a:cxn ang="0">
                  <a:pos x="534" y="79"/>
                </a:cxn>
                <a:cxn ang="0">
                  <a:pos x="513" y="63"/>
                </a:cxn>
                <a:cxn ang="0">
                  <a:pos x="451" y="44"/>
                </a:cxn>
                <a:cxn ang="0">
                  <a:pos x="400" y="12"/>
                </a:cxn>
                <a:cxn ang="0">
                  <a:pos x="365" y="2"/>
                </a:cxn>
                <a:cxn ang="0">
                  <a:pos x="294" y="2"/>
                </a:cxn>
                <a:cxn ang="0">
                  <a:pos x="248" y="9"/>
                </a:cxn>
                <a:cxn ang="0">
                  <a:pos x="226" y="2"/>
                </a:cxn>
              </a:cxnLst>
              <a:rect l="0" t="0" r="r" b="b"/>
              <a:pathLst>
                <a:path w="1011" h="798">
                  <a:moveTo>
                    <a:pt x="226" y="2"/>
                  </a:moveTo>
                  <a:lnTo>
                    <a:pt x="226" y="2"/>
                  </a:lnTo>
                  <a:lnTo>
                    <a:pt x="222" y="21"/>
                  </a:lnTo>
                  <a:lnTo>
                    <a:pt x="213" y="53"/>
                  </a:lnTo>
                  <a:lnTo>
                    <a:pt x="213" y="53"/>
                  </a:lnTo>
                  <a:lnTo>
                    <a:pt x="212" y="63"/>
                  </a:lnTo>
                  <a:lnTo>
                    <a:pt x="212" y="74"/>
                  </a:lnTo>
                  <a:lnTo>
                    <a:pt x="210" y="84"/>
                  </a:lnTo>
                  <a:lnTo>
                    <a:pt x="208" y="90"/>
                  </a:lnTo>
                  <a:lnTo>
                    <a:pt x="208" y="90"/>
                  </a:lnTo>
                  <a:lnTo>
                    <a:pt x="194" y="107"/>
                  </a:lnTo>
                  <a:lnTo>
                    <a:pt x="171" y="134"/>
                  </a:lnTo>
                  <a:lnTo>
                    <a:pt x="171" y="134"/>
                  </a:lnTo>
                  <a:lnTo>
                    <a:pt x="160" y="146"/>
                  </a:lnTo>
                  <a:lnTo>
                    <a:pt x="152" y="158"/>
                  </a:lnTo>
                  <a:lnTo>
                    <a:pt x="145" y="172"/>
                  </a:lnTo>
                  <a:lnTo>
                    <a:pt x="141" y="190"/>
                  </a:lnTo>
                  <a:lnTo>
                    <a:pt x="141" y="190"/>
                  </a:lnTo>
                  <a:lnTo>
                    <a:pt x="134" y="231"/>
                  </a:lnTo>
                  <a:lnTo>
                    <a:pt x="129" y="246"/>
                  </a:lnTo>
                  <a:lnTo>
                    <a:pt x="125" y="252"/>
                  </a:lnTo>
                  <a:lnTo>
                    <a:pt x="122" y="255"/>
                  </a:lnTo>
                  <a:lnTo>
                    <a:pt x="122" y="255"/>
                  </a:lnTo>
                  <a:lnTo>
                    <a:pt x="99" y="266"/>
                  </a:lnTo>
                  <a:lnTo>
                    <a:pt x="88" y="271"/>
                  </a:lnTo>
                  <a:lnTo>
                    <a:pt x="83" y="275"/>
                  </a:lnTo>
                  <a:lnTo>
                    <a:pt x="83" y="275"/>
                  </a:lnTo>
                  <a:lnTo>
                    <a:pt x="81" y="278"/>
                  </a:lnTo>
                  <a:lnTo>
                    <a:pt x="78" y="287"/>
                  </a:lnTo>
                  <a:lnTo>
                    <a:pt x="76" y="303"/>
                  </a:lnTo>
                  <a:lnTo>
                    <a:pt x="76" y="326"/>
                  </a:lnTo>
                  <a:lnTo>
                    <a:pt x="76" y="326"/>
                  </a:lnTo>
                  <a:lnTo>
                    <a:pt x="79" y="377"/>
                  </a:lnTo>
                  <a:lnTo>
                    <a:pt x="79" y="396"/>
                  </a:lnTo>
                  <a:lnTo>
                    <a:pt x="79" y="403"/>
                  </a:lnTo>
                  <a:lnTo>
                    <a:pt x="76" y="408"/>
                  </a:lnTo>
                  <a:lnTo>
                    <a:pt x="76" y="408"/>
                  </a:lnTo>
                  <a:lnTo>
                    <a:pt x="71" y="417"/>
                  </a:lnTo>
                  <a:lnTo>
                    <a:pt x="64" y="424"/>
                  </a:lnTo>
                  <a:lnTo>
                    <a:pt x="53" y="433"/>
                  </a:lnTo>
                  <a:lnTo>
                    <a:pt x="37" y="438"/>
                  </a:lnTo>
                  <a:lnTo>
                    <a:pt x="37" y="438"/>
                  </a:lnTo>
                  <a:lnTo>
                    <a:pt x="20" y="445"/>
                  </a:lnTo>
                  <a:lnTo>
                    <a:pt x="13" y="449"/>
                  </a:lnTo>
                  <a:lnTo>
                    <a:pt x="7" y="454"/>
                  </a:lnTo>
                  <a:lnTo>
                    <a:pt x="4" y="458"/>
                  </a:lnTo>
                  <a:lnTo>
                    <a:pt x="0" y="463"/>
                  </a:lnTo>
                  <a:lnTo>
                    <a:pt x="0" y="468"/>
                  </a:lnTo>
                  <a:lnTo>
                    <a:pt x="2" y="475"/>
                  </a:lnTo>
                  <a:lnTo>
                    <a:pt x="2" y="475"/>
                  </a:lnTo>
                  <a:lnTo>
                    <a:pt x="7" y="482"/>
                  </a:lnTo>
                  <a:lnTo>
                    <a:pt x="14" y="490"/>
                  </a:lnTo>
                  <a:lnTo>
                    <a:pt x="34" y="502"/>
                  </a:lnTo>
                  <a:lnTo>
                    <a:pt x="60" y="518"/>
                  </a:lnTo>
                  <a:lnTo>
                    <a:pt x="60" y="518"/>
                  </a:lnTo>
                  <a:lnTo>
                    <a:pt x="67" y="523"/>
                  </a:lnTo>
                  <a:lnTo>
                    <a:pt x="79" y="537"/>
                  </a:lnTo>
                  <a:lnTo>
                    <a:pt x="95" y="553"/>
                  </a:lnTo>
                  <a:lnTo>
                    <a:pt x="101" y="563"/>
                  </a:lnTo>
                  <a:lnTo>
                    <a:pt x="108" y="572"/>
                  </a:lnTo>
                  <a:lnTo>
                    <a:pt x="108" y="572"/>
                  </a:lnTo>
                  <a:lnTo>
                    <a:pt x="118" y="592"/>
                  </a:lnTo>
                  <a:lnTo>
                    <a:pt x="131" y="608"/>
                  </a:lnTo>
                  <a:lnTo>
                    <a:pt x="150" y="630"/>
                  </a:lnTo>
                  <a:lnTo>
                    <a:pt x="150" y="630"/>
                  </a:lnTo>
                  <a:lnTo>
                    <a:pt x="160" y="641"/>
                  </a:lnTo>
                  <a:lnTo>
                    <a:pt x="175" y="655"/>
                  </a:lnTo>
                  <a:lnTo>
                    <a:pt x="180" y="664"/>
                  </a:lnTo>
                  <a:lnTo>
                    <a:pt x="185" y="674"/>
                  </a:lnTo>
                  <a:lnTo>
                    <a:pt x="187" y="685"/>
                  </a:lnTo>
                  <a:lnTo>
                    <a:pt x="189" y="697"/>
                  </a:lnTo>
                  <a:lnTo>
                    <a:pt x="189" y="697"/>
                  </a:lnTo>
                  <a:lnTo>
                    <a:pt x="194" y="696"/>
                  </a:lnTo>
                  <a:lnTo>
                    <a:pt x="208" y="696"/>
                  </a:lnTo>
                  <a:lnTo>
                    <a:pt x="226" y="696"/>
                  </a:lnTo>
                  <a:lnTo>
                    <a:pt x="234" y="697"/>
                  </a:lnTo>
                  <a:lnTo>
                    <a:pt x="241" y="701"/>
                  </a:lnTo>
                  <a:lnTo>
                    <a:pt x="241" y="701"/>
                  </a:lnTo>
                  <a:lnTo>
                    <a:pt x="257" y="711"/>
                  </a:lnTo>
                  <a:lnTo>
                    <a:pt x="275" y="724"/>
                  </a:lnTo>
                  <a:lnTo>
                    <a:pt x="293" y="738"/>
                  </a:lnTo>
                  <a:lnTo>
                    <a:pt x="307" y="747"/>
                  </a:lnTo>
                  <a:lnTo>
                    <a:pt x="307" y="747"/>
                  </a:lnTo>
                  <a:lnTo>
                    <a:pt x="321" y="755"/>
                  </a:lnTo>
                  <a:lnTo>
                    <a:pt x="335" y="764"/>
                  </a:lnTo>
                  <a:lnTo>
                    <a:pt x="354" y="775"/>
                  </a:lnTo>
                  <a:lnTo>
                    <a:pt x="365" y="780"/>
                  </a:lnTo>
                  <a:lnTo>
                    <a:pt x="375" y="784"/>
                  </a:lnTo>
                  <a:lnTo>
                    <a:pt x="375" y="784"/>
                  </a:lnTo>
                  <a:lnTo>
                    <a:pt x="405" y="794"/>
                  </a:lnTo>
                  <a:lnTo>
                    <a:pt x="414" y="796"/>
                  </a:lnTo>
                  <a:lnTo>
                    <a:pt x="425" y="798"/>
                  </a:lnTo>
                  <a:lnTo>
                    <a:pt x="425" y="798"/>
                  </a:lnTo>
                  <a:lnTo>
                    <a:pt x="444" y="794"/>
                  </a:lnTo>
                  <a:lnTo>
                    <a:pt x="467" y="789"/>
                  </a:lnTo>
                  <a:lnTo>
                    <a:pt x="490" y="782"/>
                  </a:lnTo>
                  <a:lnTo>
                    <a:pt x="504" y="778"/>
                  </a:lnTo>
                  <a:lnTo>
                    <a:pt x="504" y="778"/>
                  </a:lnTo>
                  <a:lnTo>
                    <a:pt x="537" y="771"/>
                  </a:lnTo>
                  <a:lnTo>
                    <a:pt x="562" y="766"/>
                  </a:lnTo>
                  <a:lnTo>
                    <a:pt x="574" y="766"/>
                  </a:lnTo>
                  <a:lnTo>
                    <a:pt x="587" y="766"/>
                  </a:lnTo>
                  <a:lnTo>
                    <a:pt x="587" y="766"/>
                  </a:lnTo>
                  <a:lnTo>
                    <a:pt x="606" y="766"/>
                  </a:lnTo>
                  <a:lnTo>
                    <a:pt x="618" y="764"/>
                  </a:lnTo>
                  <a:lnTo>
                    <a:pt x="627" y="764"/>
                  </a:lnTo>
                  <a:lnTo>
                    <a:pt x="634" y="770"/>
                  </a:lnTo>
                  <a:lnTo>
                    <a:pt x="634" y="770"/>
                  </a:lnTo>
                  <a:lnTo>
                    <a:pt x="654" y="768"/>
                  </a:lnTo>
                  <a:lnTo>
                    <a:pt x="668" y="766"/>
                  </a:lnTo>
                  <a:lnTo>
                    <a:pt x="675" y="763"/>
                  </a:lnTo>
                  <a:lnTo>
                    <a:pt x="680" y="759"/>
                  </a:lnTo>
                  <a:lnTo>
                    <a:pt x="680" y="759"/>
                  </a:lnTo>
                  <a:lnTo>
                    <a:pt x="689" y="750"/>
                  </a:lnTo>
                  <a:lnTo>
                    <a:pt x="696" y="736"/>
                  </a:lnTo>
                  <a:lnTo>
                    <a:pt x="703" y="724"/>
                  </a:lnTo>
                  <a:lnTo>
                    <a:pt x="706" y="718"/>
                  </a:lnTo>
                  <a:lnTo>
                    <a:pt x="712" y="715"/>
                  </a:lnTo>
                  <a:lnTo>
                    <a:pt x="712" y="715"/>
                  </a:lnTo>
                  <a:lnTo>
                    <a:pt x="719" y="711"/>
                  </a:lnTo>
                  <a:lnTo>
                    <a:pt x="727" y="710"/>
                  </a:lnTo>
                  <a:lnTo>
                    <a:pt x="749" y="706"/>
                  </a:lnTo>
                  <a:lnTo>
                    <a:pt x="770" y="703"/>
                  </a:lnTo>
                  <a:lnTo>
                    <a:pt x="779" y="699"/>
                  </a:lnTo>
                  <a:lnTo>
                    <a:pt x="786" y="696"/>
                  </a:lnTo>
                  <a:lnTo>
                    <a:pt x="786" y="696"/>
                  </a:lnTo>
                  <a:lnTo>
                    <a:pt x="810" y="674"/>
                  </a:lnTo>
                  <a:lnTo>
                    <a:pt x="849" y="637"/>
                  </a:lnTo>
                  <a:lnTo>
                    <a:pt x="904" y="585"/>
                  </a:lnTo>
                  <a:lnTo>
                    <a:pt x="985" y="498"/>
                  </a:lnTo>
                  <a:lnTo>
                    <a:pt x="1009" y="468"/>
                  </a:lnTo>
                  <a:lnTo>
                    <a:pt x="1009" y="468"/>
                  </a:lnTo>
                  <a:lnTo>
                    <a:pt x="1011" y="467"/>
                  </a:lnTo>
                  <a:lnTo>
                    <a:pt x="1011" y="461"/>
                  </a:lnTo>
                  <a:lnTo>
                    <a:pt x="1011" y="460"/>
                  </a:lnTo>
                  <a:lnTo>
                    <a:pt x="1007" y="458"/>
                  </a:lnTo>
                  <a:lnTo>
                    <a:pt x="1004" y="456"/>
                  </a:lnTo>
                  <a:lnTo>
                    <a:pt x="995" y="456"/>
                  </a:lnTo>
                  <a:lnTo>
                    <a:pt x="995" y="456"/>
                  </a:lnTo>
                  <a:lnTo>
                    <a:pt x="974" y="456"/>
                  </a:lnTo>
                  <a:lnTo>
                    <a:pt x="946" y="453"/>
                  </a:lnTo>
                  <a:lnTo>
                    <a:pt x="911" y="445"/>
                  </a:lnTo>
                  <a:lnTo>
                    <a:pt x="891" y="440"/>
                  </a:lnTo>
                  <a:lnTo>
                    <a:pt x="870" y="431"/>
                  </a:lnTo>
                  <a:lnTo>
                    <a:pt x="870" y="431"/>
                  </a:lnTo>
                  <a:lnTo>
                    <a:pt x="833" y="416"/>
                  </a:lnTo>
                  <a:lnTo>
                    <a:pt x="805" y="403"/>
                  </a:lnTo>
                  <a:lnTo>
                    <a:pt x="784" y="391"/>
                  </a:lnTo>
                  <a:lnTo>
                    <a:pt x="770" y="382"/>
                  </a:lnTo>
                  <a:lnTo>
                    <a:pt x="770" y="382"/>
                  </a:lnTo>
                  <a:lnTo>
                    <a:pt x="756" y="373"/>
                  </a:lnTo>
                  <a:lnTo>
                    <a:pt x="743" y="359"/>
                  </a:lnTo>
                  <a:lnTo>
                    <a:pt x="726" y="342"/>
                  </a:lnTo>
                  <a:lnTo>
                    <a:pt x="726" y="342"/>
                  </a:lnTo>
                  <a:lnTo>
                    <a:pt x="710" y="326"/>
                  </a:lnTo>
                  <a:lnTo>
                    <a:pt x="691" y="303"/>
                  </a:lnTo>
                  <a:lnTo>
                    <a:pt x="691" y="303"/>
                  </a:lnTo>
                  <a:lnTo>
                    <a:pt x="687" y="298"/>
                  </a:lnTo>
                  <a:lnTo>
                    <a:pt x="685" y="289"/>
                  </a:lnTo>
                  <a:lnTo>
                    <a:pt x="682" y="273"/>
                  </a:lnTo>
                  <a:lnTo>
                    <a:pt x="678" y="252"/>
                  </a:lnTo>
                  <a:lnTo>
                    <a:pt x="692" y="238"/>
                  </a:lnTo>
                  <a:lnTo>
                    <a:pt x="692" y="238"/>
                  </a:lnTo>
                  <a:lnTo>
                    <a:pt x="689" y="239"/>
                  </a:lnTo>
                  <a:lnTo>
                    <a:pt x="680" y="246"/>
                  </a:lnTo>
                  <a:lnTo>
                    <a:pt x="668" y="253"/>
                  </a:lnTo>
                  <a:lnTo>
                    <a:pt x="662" y="257"/>
                  </a:lnTo>
                  <a:lnTo>
                    <a:pt x="654" y="257"/>
                  </a:lnTo>
                  <a:lnTo>
                    <a:pt x="654" y="257"/>
                  </a:lnTo>
                  <a:lnTo>
                    <a:pt x="636" y="259"/>
                  </a:lnTo>
                  <a:lnTo>
                    <a:pt x="615" y="261"/>
                  </a:lnTo>
                  <a:lnTo>
                    <a:pt x="604" y="259"/>
                  </a:lnTo>
                  <a:lnTo>
                    <a:pt x="597" y="257"/>
                  </a:lnTo>
                  <a:lnTo>
                    <a:pt x="590" y="252"/>
                  </a:lnTo>
                  <a:lnTo>
                    <a:pt x="588" y="248"/>
                  </a:lnTo>
                  <a:lnTo>
                    <a:pt x="587" y="245"/>
                  </a:lnTo>
                  <a:lnTo>
                    <a:pt x="587" y="245"/>
                  </a:lnTo>
                  <a:lnTo>
                    <a:pt x="583" y="225"/>
                  </a:lnTo>
                  <a:lnTo>
                    <a:pt x="583" y="208"/>
                  </a:lnTo>
                  <a:lnTo>
                    <a:pt x="587" y="194"/>
                  </a:lnTo>
                  <a:lnTo>
                    <a:pt x="592" y="181"/>
                  </a:lnTo>
                  <a:lnTo>
                    <a:pt x="592" y="181"/>
                  </a:lnTo>
                  <a:lnTo>
                    <a:pt x="604" y="160"/>
                  </a:lnTo>
                  <a:lnTo>
                    <a:pt x="608" y="153"/>
                  </a:lnTo>
                  <a:lnTo>
                    <a:pt x="608" y="148"/>
                  </a:lnTo>
                  <a:lnTo>
                    <a:pt x="608" y="148"/>
                  </a:lnTo>
                  <a:lnTo>
                    <a:pt x="606" y="146"/>
                  </a:lnTo>
                  <a:lnTo>
                    <a:pt x="601" y="141"/>
                  </a:lnTo>
                  <a:lnTo>
                    <a:pt x="583" y="130"/>
                  </a:lnTo>
                  <a:lnTo>
                    <a:pt x="564" y="116"/>
                  </a:lnTo>
                  <a:lnTo>
                    <a:pt x="548" y="106"/>
                  </a:lnTo>
                  <a:lnTo>
                    <a:pt x="548" y="106"/>
                  </a:lnTo>
                  <a:lnTo>
                    <a:pt x="544" y="100"/>
                  </a:lnTo>
                  <a:lnTo>
                    <a:pt x="541" y="95"/>
                  </a:lnTo>
                  <a:lnTo>
                    <a:pt x="537" y="84"/>
                  </a:lnTo>
                  <a:lnTo>
                    <a:pt x="534" y="79"/>
                  </a:lnTo>
                  <a:lnTo>
                    <a:pt x="528" y="74"/>
                  </a:lnTo>
                  <a:lnTo>
                    <a:pt x="521" y="69"/>
                  </a:lnTo>
                  <a:lnTo>
                    <a:pt x="513" y="63"/>
                  </a:lnTo>
                  <a:lnTo>
                    <a:pt x="513" y="63"/>
                  </a:lnTo>
                  <a:lnTo>
                    <a:pt x="493" y="56"/>
                  </a:lnTo>
                  <a:lnTo>
                    <a:pt x="477" y="53"/>
                  </a:lnTo>
                  <a:lnTo>
                    <a:pt x="462" y="49"/>
                  </a:lnTo>
                  <a:lnTo>
                    <a:pt x="451" y="44"/>
                  </a:lnTo>
                  <a:lnTo>
                    <a:pt x="440" y="37"/>
                  </a:lnTo>
                  <a:lnTo>
                    <a:pt x="440" y="37"/>
                  </a:lnTo>
                  <a:lnTo>
                    <a:pt x="419" y="23"/>
                  </a:lnTo>
                  <a:lnTo>
                    <a:pt x="400" y="12"/>
                  </a:lnTo>
                  <a:lnTo>
                    <a:pt x="391" y="7"/>
                  </a:lnTo>
                  <a:lnTo>
                    <a:pt x="384" y="5"/>
                  </a:lnTo>
                  <a:lnTo>
                    <a:pt x="374" y="3"/>
                  </a:lnTo>
                  <a:lnTo>
                    <a:pt x="365" y="2"/>
                  </a:lnTo>
                  <a:lnTo>
                    <a:pt x="365" y="2"/>
                  </a:lnTo>
                  <a:lnTo>
                    <a:pt x="324" y="0"/>
                  </a:lnTo>
                  <a:lnTo>
                    <a:pt x="307" y="0"/>
                  </a:lnTo>
                  <a:lnTo>
                    <a:pt x="294" y="2"/>
                  </a:lnTo>
                  <a:lnTo>
                    <a:pt x="294" y="2"/>
                  </a:lnTo>
                  <a:lnTo>
                    <a:pt x="280" y="5"/>
                  </a:lnTo>
                  <a:lnTo>
                    <a:pt x="259" y="9"/>
                  </a:lnTo>
                  <a:lnTo>
                    <a:pt x="248" y="9"/>
                  </a:lnTo>
                  <a:lnTo>
                    <a:pt x="240" y="9"/>
                  </a:lnTo>
                  <a:lnTo>
                    <a:pt x="231" y="5"/>
                  </a:lnTo>
                  <a:lnTo>
                    <a:pt x="226" y="2"/>
                  </a:lnTo>
                  <a:lnTo>
                    <a:pt x="226"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5" name="Freeform 51">
              <a:extLst>
                <a:ext uri="{FF2B5EF4-FFF2-40B4-BE49-F238E27FC236}">
                  <a16:creationId xmlns:a16="http://schemas.microsoft.com/office/drawing/2014/main" id="{65ABE373-4153-49CB-BE26-13CF93F2C47D}"/>
                </a:ext>
              </a:extLst>
            </p:cNvPr>
            <p:cNvSpPr>
              <a:spLocks/>
            </p:cNvSpPr>
            <p:nvPr/>
          </p:nvSpPr>
          <p:spPr bwMode="auto">
            <a:xfrm>
              <a:off x="5976394" y="3052479"/>
              <a:ext cx="387248" cy="362266"/>
            </a:xfrm>
            <a:custGeom>
              <a:avLst/>
              <a:gdLst/>
              <a:ahLst/>
              <a:cxnLst>
                <a:cxn ang="0">
                  <a:pos x="106" y="1"/>
                </a:cxn>
                <a:cxn ang="0">
                  <a:pos x="94" y="16"/>
                </a:cxn>
                <a:cxn ang="0">
                  <a:pos x="57" y="63"/>
                </a:cxn>
                <a:cxn ang="0">
                  <a:pos x="36" y="77"/>
                </a:cxn>
                <a:cxn ang="0">
                  <a:pos x="23" y="90"/>
                </a:cxn>
                <a:cxn ang="0">
                  <a:pos x="18" y="118"/>
                </a:cxn>
                <a:cxn ang="0">
                  <a:pos x="13" y="144"/>
                </a:cxn>
                <a:cxn ang="0">
                  <a:pos x="7" y="171"/>
                </a:cxn>
                <a:cxn ang="0">
                  <a:pos x="0" y="225"/>
                </a:cxn>
                <a:cxn ang="0">
                  <a:pos x="6" y="264"/>
                </a:cxn>
                <a:cxn ang="0">
                  <a:pos x="43" y="267"/>
                </a:cxn>
                <a:cxn ang="0">
                  <a:pos x="60" y="264"/>
                </a:cxn>
                <a:cxn ang="0">
                  <a:pos x="106" y="259"/>
                </a:cxn>
                <a:cxn ang="0">
                  <a:pos x="155" y="260"/>
                </a:cxn>
                <a:cxn ang="0">
                  <a:pos x="203" y="283"/>
                </a:cxn>
                <a:cxn ang="0">
                  <a:pos x="236" y="303"/>
                </a:cxn>
                <a:cxn ang="0">
                  <a:pos x="273" y="315"/>
                </a:cxn>
                <a:cxn ang="0">
                  <a:pos x="300" y="326"/>
                </a:cxn>
                <a:cxn ang="0">
                  <a:pos x="319" y="343"/>
                </a:cxn>
                <a:cxn ang="0">
                  <a:pos x="326" y="357"/>
                </a:cxn>
                <a:cxn ang="0">
                  <a:pos x="368" y="391"/>
                </a:cxn>
                <a:cxn ang="0">
                  <a:pos x="398" y="405"/>
                </a:cxn>
                <a:cxn ang="0">
                  <a:pos x="412" y="396"/>
                </a:cxn>
                <a:cxn ang="0">
                  <a:pos x="426" y="378"/>
                </a:cxn>
                <a:cxn ang="0">
                  <a:pos x="434" y="363"/>
                </a:cxn>
                <a:cxn ang="0">
                  <a:pos x="426" y="355"/>
                </a:cxn>
                <a:cxn ang="0">
                  <a:pos x="388" y="340"/>
                </a:cxn>
                <a:cxn ang="0">
                  <a:pos x="358" y="322"/>
                </a:cxn>
                <a:cxn ang="0">
                  <a:pos x="347" y="308"/>
                </a:cxn>
                <a:cxn ang="0">
                  <a:pos x="323" y="266"/>
                </a:cxn>
                <a:cxn ang="0">
                  <a:pos x="310" y="259"/>
                </a:cxn>
                <a:cxn ang="0">
                  <a:pos x="286" y="255"/>
                </a:cxn>
                <a:cxn ang="0">
                  <a:pos x="272" y="246"/>
                </a:cxn>
                <a:cxn ang="0">
                  <a:pos x="263" y="229"/>
                </a:cxn>
                <a:cxn ang="0">
                  <a:pos x="250" y="216"/>
                </a:cxn>
                <a:cxn ang="0">
                  <a:pos x="227" y="195"/>
                </a:cxn>
                <a:cxn ang="0">
                  <a:pos x="220" y="195"/>
                </a:cxn>
                <a:cxn ang="0">
                  <a:pos x="210" y="202"/>
                </a:cxn>
                <a:cxn ang="0">
                  <a:pos x="196" y="204"/>
                </a:cxn>
                <a:cxn ang="0">
                  <a:pos x="187" y="192"/>
                </a:cxn>
                <a:cxn ang="0">
                  <a:pos x="175" y="153"/>
                </a:cxn>
                <a:cxn ang="0">
                  <a:pos x="166" y="109"/>
                </a:cxn>
                <a:cxn ang="0">
                  <a:pos x="141" y="45"/>
                </a:cxn>
                <a:cxn ang="0">
                  <a:pos x="117" y="8"/>
                </a:cxn>
              </a:cxnLst>
              <a:rect l="0" t="0" r="r" b="b"/>
              <a:pathLst>
                <a:path w="434" h="405">
                  <a:moveTo>
                    <a:pt x="110" y="0"/>
                  </a:moveTo>
                  <a:lnTo>
                    <a:pt x="110" y="0"/>
                  </a:lnTo>
                  <a:lnTo>
                    <a:pt x="106" y="1"/>
                  </a:lnTo>
                  <a:lnTo>
                    <a:pt x="101" y="5"/>
                  </a:lnTo>
                  <a:lnTo>
                    <a:pt x="94" y="16"/>
                  </a:lnTo>
                  <a:lnTo>
                    <a:pt x="94" y="16"/>
                  </a:lnTo>
                  <a:lnTo>
                    <a:pt x="74" y="42"/>
                  </a:lnTo>
                  <a:lnTo>
                    <a:pt x="65" y="54"/>
                  </a:lnTo>
                  <a:lnTo>
                    <a:pt x="57" y="63"/>
                  </a:lnTo>
                  <a:lnTo>
                    <a:pt x="57" y="63"/>
                  </a:lnTo>
                  <a:lnTo>
                    <a:pt x="46" y="70"/>
                  </a:lnTo>
                  <a:lnTo>
                    <a:pt x="36" y="77"/>
                  </a:lnTo>
                  <a:lnTo>
                    <a:pt x="27" y="84"/>
                  </a:lnTo>
                  <a:lnTo>
                    <a:pt x="25" y="86"/>
                  </a:lnTo>
                  <a:lnTo>
                    <a:pt x="23" y="90"/>
                  </a:lnTo>
                  <a:lnTo>
                    <a:pt x="23" y="90"/>
                  </a:lnTo>
                  <a:lnTo>
                    <a:pt x="21" y="100"/>
                  </a:lnTo>
                  <a:lnTo>
                    <a:pt x="18" y="118"/>
                  </a:lnTo>
                  <a:lnTo>
                    <a:pt x="18" y="118"/>
                  </a:lnTo>
                  <a:lnTo>
                    <a:pt x="16" y="130"/>
                  </a:lnTo>
                  <a:lnTo>
                    <a:pt x="13" y="144"/>
                  </a:lnTo>
                  <a:lnTo>
                    <a:pt x="9" y="160"/>
                  </a:lnTo>
                  <a:lnTo>
                    <a:pt x="7" y="171"/>
                  </a:lnTo>
                  <a:lnTo>
                    <a:pt x="7" y="171"/>
                  </a:lnTo>
                  <a:lnTo>
                    <a:pt x="6" y="183"/>
                  </a:lnTo>
                  <a:lnTo>
                    <a:pt x="2" y="202"/>
                  </a:lnTo>
                  <a:lnTo>
                    <a:pt x="0" y="225"/>
                  </a:lnTo>
                  <a:lnTo>
                    <a:pt x="2" y="236"/>
                  </a:lnTo>
                  <a:lnTo>
                    <a:pt x="4" y="248"/>
                  </a:lnTo>
                  <a:lnTo>
                    <a:pt x="6" y="264"/>
                  </a:lnTo>
                  <a:lnTo>
                    <a:pt x="6" y="264"/>
                  </a:lnTo>
                  <a:lnTo>
                    <a:pt x="25" y="266"/>
                  </a:lnTo>
                  <a:lnTo>
                    <a:pt x="43" y="267"/>
                  </a:lnTo>
                  <a:lnTo>
                    <a:pt x="51" y="266"/>
                  </a:lnTo>
                  <a:lnTo>
                    <a:pt x="60" y="264"/>
                  </a:lnTo>
                  <a:lnTo>
                    <a:pt x="60" y="264"/>
                  </a:lnTo>
                  <a:lnTo>
                    <a:pt x="71" y="262"/>
                  </a:lnTo>
                  <a:lnTo>
                    <a:pt x="81" y="260"/>
                  </a:lnTo>
                  <a:lnTo>
                    <a:pt x="106" y="259"/>
                  </a:lnTo>
                  <a:lnTo>
                    <a:pt x="145" y="259"/>
                  </a:lnTo>
                  <a:lnTo>
                    <a:pt x="145" y="259"/>
                  </a:lnTo>
                  <a:lnTo>
                    <a:pt x="155" y="260"/>
                  </a:lnTo>
                  <a:lnTo>
                    <a:pt x="168" y="266"/>
                  </a:lnTo>
                  <a:lnTo>
                    <a:pt x="183" y="273"/>
                  </a:lnTo>
                  <a:lnTo>
                    <a:pt x="203" y="283"/>
                  </a:lnTo>
                  <a:lnTo>
                    <a:pt x="203" y="283"/>
                  </a:lnTo>
                  <a:lnTo>
                    <a:pt x="220" y="296"/>
                  </a:lnTo>
                  <a:lnTo>
                    <a:pt x="236" y="303"/>
                  </a:lnTo>
                  <a:lnTo>
                    <a:pt x="261" y="313"/>
                  </a:lnTo>
                  <a:lnTo>
                    <a:pt x="261" y="313"/>
                  </a:lnTo>
                  <a:lnTo>
                    <a:pt x="273" y="315"/>
                  </a:lnTo>
                  <a:lnTo>
                    <a:pt x="286" y="317"/>
                  </a:lnTo>
                  <a:lnTo>
                    <a:pt x="293" y="320"/>
                  </a:lnTo>
                  <a:lnTo>
                    <a:pt x="300" y="326"/>
                  </a:lnTo>
                  <a:lnTo>
                    <a:pt x="308" y="333"/>
                  </a:lnTo>
                  <a:lnTo>
                    <a:pt x="319" y="343"/>
                  </a:lnTo>
                  <a:lnTo>
                    <a:pt x="319" y="343"/>
                  </a:lnTo>
                  <a:lnTo>
                    <a:pt x="319" y="345"/>
                  </a:lnTo>
                  <a:lnTo>
                    <a:pt x="321" y="350"/>
                  </a:lnTo>
                  <a:lnTo>
                    <a:pt x="326" y="357"/>
                  </a:lnTo>
                  <a:lnTo>
                    <a:pt x="335" y="366"/>
                  </a:lnTo>
                  <a:lnTo>
                    <a:pt x="335" y="366"/>
                  </a:lnTo>
                  <a:lnTo>
                    <a:pt x="368" y="391"/>
                  </a:lnTo>
                  <a:lnTo>
                    <a:pt x="388" y="405"/>
                  </a:lnTo>
                  <a:lnTo>
                    <a:pt x="388" y="405"/>
                  </a:lnTo>
                  <a:lnTo>
                    <a:pt x="398" y="405"/>
                  </a:lnTo>
                  <a:lnTo>
                    <a:pt x="407" y="401"/>
                  </a:lnTo>
                  <a:lnTo>
                    <a:pt x="411" y="400"/>
                  </a:lnTo>
                  <a:lnTo>
                    <a:pt x="412" y="396"/>
                  </a:lnTo>
                  <a:lnTo>
                    <a:pt x="412" y="396"/>
                  </a:lnTo>
                  <a:lnTo>
                    <a:pt x="419" y="389"/>
                  </a:lnTo>
                  <a:lnTo>
                    <a:pt x="426" y="378"/>
                  </a:lnTo>
                  <a:lnTo>
                    <a:pt x="432" y="370"/>
                  </a:lnTo>
                  <a:lnTo>
                    <a:pt x="434" y="366"/>
                  </a:lnTo>
                  <a:lnTo>
                    <a:pt x="434" y="363"/>
                  </a:lnTo>
                  <a:lnTo>
                    <a:pt x="434" y="363"/>
                  </a:lnTo>
                  <a:lnTo>
                    <a:pt x="430" y="359"/>
                  </a:lnTo>
                  <a:lnTo>
                    <a:pt x="426" y="355"/>
                  </a:lnTo>
                  <a:lnTo>
                    <a:pt x="405" y="347"/>
                  </a:lnTo>
                  <a:lnTo>
                    <a:pt x="405" y="347"/>
                  </a:lnTo>
                  <a:lnTo>
                    <a:pt x="388" y="340"/>
                  </a:lnTo>
                  <a:lnTo>
                    <a:pt x="372" y="333"/>
                  </a:lnTo>
                  <a:lnTo>
                    <a:pt x="365" y="327"/>
                  </a:lnTo>
                  <a:lnTo>
                    <a:pt x="358" y="322"/>
                  </a:lnTo>
                  <a:lnTo>
                    <a:pt x="353" y="315"/>
                  </a:lnTo>
                  <a:lnTo>
                    <a:pt x="347" y="308"/>
                  </a:lnTo>
                  <a:lnTo>
                    <a:pt x="347" y="308"/>
                  </a:lnTo>
                  <a:lnTo>
                    <a:pt x="335" y="282"/>
                  </a:lnTo>
                  <a:lnTo>
                    <a:pt x="328" y="271"/>
                  </a:lnTo>
                  <a:lnTo>
                    <a:pt x="323" y="266"/>
                  </a:lnTo>
                  <a:lnTo>
                    <a:pt x="317" y="262"/>
                  </a:lnTo>
                  <a:lnTo>
                    <a:pt x="317" y="262"/>
                  </a:lnTo>
                  <a:lnTo>
                    <a:pt x="310" y="259"/>
                  </a:lnTo>
                  <a:lnTo>
                    <a:pt x="303" y="257"/>
                  </a:lnTo>
                  <a:lnTo>
                    <a:pt x="293" y="255"/>
                  </a:lnTo>
                  <a:lnTo>
                    <a:pt x="286" y="255"/>
                  </a:lnTo>
                  <a:lnTo>
                    <a:pt x="280" y="253"/>
                  </a:lnTo>
                  <a:lnTo>
                    <a:pt x="277" y="252"/>
                  </a:lnTo>
                  <a:lnTo>
                    <a:pt x="272" y="246"/>
                  </a:lnTo>
                  <a:lnTo>
                    <a:pt x="272" y="246"/>
                  </a:lnTo>
                  <a:lnTo>
                    <a:pt x="266" y="236"/>
                  </a:lnTo>
                  <a:lnTo>
                    <a:pt x="263" y="229"/>
                  </a:lnTo>
                  <a:lnTo>
                    <a:pt x="257" y="222"/>
                  </a:lnTo>
                  <a:lnTo>
                    <a:pt x="250" y="216"/>
                  </a:lnTo>
                  <a:lnTo>
                    <a:pt x="250" y="216"/>
                  </a:lnTo>
                  <a:lnTo>
                    <a:pt x="242" y="209"/>
                  </a:lnTo>
                  <a:lnTo>
                    <a:pt x="235" y="202"/>
                  </a:lnTo>
                  <a:lnTo>
                    <a:pt x="227" y="195"/>
                  </a:lnTo>
                  <a:lnTo>
                    <a:pt x="227" y="195"/>
                  </a:lnTo>
                  <a:lnTo>
                    <a:pt x="224" y="193"/>
                  </a:lnTo>
                  <a:lnTo>
                    <a:pt x="220" y="195"/>
                  </a:lnTo>
                  <a:lnTo>
                    <a:pt x="215" y="199"/>
                  </a:lnTo>
                  <a:lnTo>
                    <a:pt x="215" y="199"/>
                  </a:lnTo>
                  <a:lnTo>
                    <a:pt x="210" y="202"/>
                  </a:lnTo>
                  <a:lnTo>
                    <a:pt x="203" y="206"/>
                  </a:lnTo>
                  <a:lnTo>
                    <a:pt x="199" y="206"/>
                  </a:lnTo>
                  <a:lnTo>
                    <a:pt x="196" y="204"/>
                  </a:lnTo>
                  <a:lnTo>
                    <a:pt x="191" y="199"/>
                  </a:lnTo>
                  <a:lnTo>
                    <a:pt x="187" y="192"/>
                  </a:lnTo>
                  <a:lnTo>
                    <a:pt x="187" y="192"/>
                  </a:lnTo>
                  <a:lnTo>
                    <a:pt x="182" y="183"/>
                  </a:lnTo>
                  <a:lnTo>
                    <a:pt x="180" y="174"/>
                  </a:lnTo>
                  <a:lnTo>
                    <a:pt x="175" y="153"/>
                  </a:lnTo>
                  <a:lnTo>
                    <a:pt x="169" y="130"/>
                  </a:lnTo>
                  <a:lnTo>
                    <a:pt x="166" y="109"/>
                  </a:lnTo>
                  <a:lnTo>
                    <a:pt x="166" y="109"/>
                  </a:lnTo>
                  <a:lnTo>
                    <a:pt x="159" y="88"/>
                  </a:lnTo>
                  <a:lnTo>
                    <a:pt x="150" y="65"/>
                  </a:lnTo>
                  <a:lnTo>
                    <a:pt x="141" y="45"/>
                  </a:lnTo>
                  <a:lnTo>
                    <a:pt x="132" y="30"/>
                  </a:lnTo>
                  <a:lnTo>
                    <a:pt x="132" y="30"/>
                  </a:lnTo>
                  <a:lnTo>
                    <a:pt x="117" y="8"/>
                  </a:lnTo>
                  <a:lnTo>
                    <a:pt x="110" y="0"/>
                  </a:lnTo>
                  <a:lnTo>
                    <a:pt x="11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6" name="Freeform 52">
              <a:extLst>
                <a:ext uri="{FF2B5EF4-FFF2-40B4-BE49-F238E27FC236}">
                  <a16:creationId xmlns:a16="http://schemas.microsoft.com/office/drawing/2014/main" id="{23919EF6-BF6E-4E53-B7C0-1564A882756D}"/>
                </a:ext>
              </a:extLst>
            </p:cNvPr>
            <p:cNvSpPr>
              <a:spLocks/>
            </p:cNvSpPr>
            <p:nvPr/>
          </p:nvSpPr>
          <p:spPr bwMode="auto">
            <a:xfrm>
              <a:off x="6185187" y="3202382"/>
              <a:ext cx="23199" cy="17846"/>
            </a:xfrm>
            <a:custGeom>
              <a:avLst/>
              <a:gdLst/>
              <a:ahLst/>
              <a:cxnLst>
                <a:cxn ang="0">
                  <a:pos x="8" y="0"/>
                </a:cxn>
                <a:cxn ang="0">
                  <a:pos x="8" y="0"/>
                </a:cxn>
                <a:cxn ang="0">
                  <a:pos x="5" y="0"/>
                </a:cxn>
                <a:cxn ang="0">
                  <a:pos x="1" y="2"/>
                </a:cxn>
                <a:cxn ang="0">
                  <a:pos x="0" y="5"/>
                </a:cxn>
                <a:cxn ang="0">
                  <a:pos x="1" y="7"/>
                </a:cxn>
                <a:cxn ang="0">
                  <a:pos x="3" y="9"/>
                </a:cxn>
                <a:cxn ang="0">
                  <a:pos x="3" y="9"/>
                </a:cxn>
                <a:cxn ang="0">
                  <a:pos x="8" y="12"/>
                </a:cxn>
                <a:cxn ang="0">
                  <a:pos x="14" y="18"/>
                </a:cxn>
                <a:cxn ang="0">
                  <a:pos x="19" y="19"/>
                </a:cxn>
                <a:cxn ang="0">
                  <a:pos x="21" y="19"/>
                </a:cxn>
                <a:cxn ang="0">
                  <a:pos x="22" y="18"/>
                </a:cxn>
                <a:cxn ang="0">
                  <a:pos x="22" y="18"/>
                </a:cxn>
                <a:cxn ang="0">
                  <a:pos x="26" y="16"/>
                </a:cxn>
                <a:cxn ang="0">
                  <a:pos x="26" y="14"/>
                </a:cxn>
                <a:cxn ang="0">
                  <a:pos x="26" y="12"/>
                </a:cxn>
                <a:cxn ang="0">
                  <a:pos x="21" y="9"/>
                </a:cxn>
                <a:cxn ang="0">
                  <a:pos x="8" y="0"/>
                </a:cxn>
                <a:cxn ang="0">
                  <a:pos x="8" y="0"/>
                </a:cxn>
              </a:cxnLst>
              <a:rect l="0" t="0" r="r" b="b"/>
              <a:pathLst>
                <a:path w="26" h="19">
                  <a:moveTo>
                    <a:pt x="8" y="0"/>
                  </a:moveTo>
                  <a:lnTo>
                    <a:pt x="8" y="0"/>
                  </a:lnTo>
                  <a:lnTo>
                    <a:pt x="5" y="0"/>
                  </a:lnTo>
                  <a:lnTo>
                    <a:pt x="1" y="2"/>
                  </a:lnTo>
                  <a:lnTo>
                    <a:pt x="0" y="5"/>
                  </a:lnTo>
                  <a:lnTo>
                    <a:pt x="1" y="7"/>
                  </a:lnTo>
                  <a:lnTo>
                    <a:pt x="3" y="9"/>
                  </a:lnTo>
                  <a:lnTo>
                    <a:pt x="3" y="9"/>
                  </a:lnTo>
                  <a:lnTo>
                    <a:pt x="8" y="12"/>
                  </a:lnTo>
                  <a:lnTo>
                    <a:pt x="14" y="18"/>
                  </a:lnTo>
                  <a:lnTo>
                    <a:pt x="19" y="19"/>
                  </a:lnTo>
                  <a:lnTo>
                    <a:pt x="21" y="19"/>
                  </a:lnTo>
                  <a:lnTo>
                    <a:pt x="22" y="18"/>
                  </a:lnTo>
                  <a:lnTo>
                    <a:pt x="22" y="18"/>
                  </a:lnTo>
                  <a:lnTo>
                    <a:pt x="26" y="16"/>
                  </a:lnTo>
                  <a:lnTo>
                    <a:pt x="26" y="14"/>
                  </a:lnTo>
                  <a:lnTo>
                    <a:pt x="26" y="12"/>
                  </a:lnTo>
                  <a:lnTo>
                    <a:pt x="21" y="9"/>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7" name="Freeform 53">
              <a:extLst>
                <a:ext uri="{FF2B5EF4-FFF2-40B4-BE49-F238E27FC236}">
                  <a16:creationId xmlns:a16="http://schemas.microsoft.com/office/drawing/2014/main" id="{0CA2315D-9CB0-42E6-807A-9A67FEE5726D}"/>
                </a:ext>
              </a:extLst>
            </p:cNvPr>
            <p:cNvSpPr>
              <a:spLocks/>
            </p:cNvSpPr>
            <p:nvPr/>
          </p:nvSpPr>
          <p:spPr bwMode="auto">
            <a:xfrm>
              <a:off x="6299399" y="3377269"/>
              <a:ext cx="101719" cy="137411"/>
            </a:xfrm>
            <a:custGeom>
              <a:avLst/>
              <a:gdLst/>
              <a:ahLst/>
              <a:cxnLst>
                <a:cxn ang="0">
                  <a:pos x="73" y="0"/>
                </a:cxn>
                <a:cxn ang="0">
                  <a:pos x="73" y="0"/>
                </a:cxn>
                <a:cxn ang="0">
                  <a:pos x="78" y="1"/>
                </a:cxn>
                <a:cxn ang="0">
                  <a:pos x="94" y="7"/>
                </a:cxn>
                <a:cxn ang="0">
                  <a:pos x="101" y="12"/>
                </a:cxn>
                <a:cxn ang="0">
                  <a:pos x="108" y="17"/>
                </a:cxn>
                <a:cxn ang="0">
                  <a:pos x="113" y="24"/>
                </a:cxn>
                <a:cxn ang="0">
                  <a:pos x="115" y="33"/>
                </a:cxn>
                <a:cxn ang="0">
                  <a:pos x="115" y="33"/>
                </a:cxn>
                <a:cxn ang="0">
                  <a:pos x="115" y="47"/>
                </a:cxn>
                <a:cxn ang="0">
                  <a:pos x="113" y="56"/>
                </a:cxn>
                <a:cxn ang="0">
                  <a:pos x="108" y="61"/>
                </a:cxn>
                <a:cxn ang="0">
                  <a:pos x="101" y="68"/>
                </a:cxn>
                <a:cxn ang="0">
                  <a:pos x="101" y="68"/>
                </a:cxn>
                <a:cxn ang="0">
                  <a:pos x="94" y="75"/>
                </a:cxn>
                <a:cxn ang="0">
                  <a:pos x="90" y="81"/>
                </a:cxn>
                <a:cxn ang="0">
                  <a:pos x="88" y="84"/>
                </a:cxn>
                <a:cxn ang="0">
                  <a:pos x="88" y="88"/>
                </a:cxn>
                <a:cxn ang="0">
                  <a:pos x="94" y="96"/>
                </a:cxn>
                <a:cxn ang="0">
                  <a:pos x="94" y="96"/>
                </a:cxn>
                <a:cxn ang="0">
                  <a:pos x="111" y="132"/>
                </a:cxn>
                <a:cxn ang="0">
                  <a:pos x="111" y="132"/>
                </a:cxn>
                <a:cxn ang="0">
                  <a:pos x="106" y="135"/>
                </a:cxn>
                <a:cxn ang="0">
                  <a:pos x="99" y="140"/>
                </a:cxn>
                <a:cxn ang="0">
                  <a:pos x="90" y="146"/>
                </a:cxn>
                <a:cxn ang="0">
                  <a:pos x="90" y="146"/>
                </a:cxn>
                <a:cxn ang="0">
                  <a:pos x="81" y="147"/>
                </a:cxn>
                <a:cxn ang="0">
                  <a:pos x="73" y="149"/>
                </a:cxn>
                <a:cxn ang="0">
                  <a:pos x="55" y="151"/>
                </a:cxn>
                <a:cxn ang="0">
                  <a:pos x="55" y="151"/>
                </a:cxn>
                <a:cxn ang="0">
                  <a:pos x="44" y="153"/>
                </a:cxn>
                <a:cxn ang="0">
                  <a:pos x="30" y="155"/>
                </a:cxn>
                <a:cxn ang="0">
                  <a:pos x="16" y="155"/>
                </a:cxn>
                <a:cxn ang="0">
                  <a:pos x="13" y="153"/>
                </a:cxn>
                <a:cxn ang="0">
                  <a:pos x="9" y="149"/>
                </a:cxn>
                <a:cxn ang="0">
                  <a:pos x="9" y="149"/>
                </a:cxn>
                <a:cxn ang="0">
                  <a:pos x="6" y="139"/>
                </a:cxn>
                <a:cxn ang="0">
                  <a:pos x="2" y="123"/>
                </a:cxn>
                <a:cxn ang="0">
                  <a:pos x="0" y="107"/>
                </a:cxn>
                <a:cxn ang="0">
                  <a:pos x="0" y="100"/>
                </a:cxn>
                <a:cxn ang="0">
                  <a:pos x="2" y="93"/>
                </a:cxn>
                <a:cxn ang="0">
                  <a:pos x="2" y="93"/>
                </a:cxn>
                <a:cxn ang="0">
                  <a:pos x="9" y="79"/>
                </a:cxn>
                <a:cxn ang="0">
                  <a:pos x="18" y="61"/>
                </a:cxn>
                <a:cxn ang="0">
                  <a:pos x="27" y="42"/>
                </a:cxn>
                <a:cxn ang="0">
                  <a:pos x="27" y="42"/>
                </a:cxn>
                <a:cxn ang="0">
                  <a:pos x="37" y="40"/>
                </a:cxn>
                <a:cxn ang="0">
                  <a:pos x="44" y="38"/>
                </a:cxn>
                <a:cxn ang="0">
                  <a:pos x="51" y="33"/>
                </a:cxn>
                <a:cxn ang="0">
                  <a:pos x="51" y="33"/>
                </a:cxn>
                <a:cxn ang="0">
                  <a:pos x="58" y="26"/>
                </a:cxn>
                <a:cxn ang="0">
                  <a:pos x="65" y="17"/>
                </a:cxn>
                <a:cxn ang="0">
                  <a:pos x="69" y="8"/>
                </a:cxn>
                <a:cxn ang="0">
                  <a:pos x="73" y="0"/>
                </a:cxn>
                <a:cxn ang="0">
                  <a:pos x="73" y="0"/>
                </a:cxn>
              </a:cxnLst>
              <a:rect l="0" t="0" r="r" b="b"/>
              <a:pathLst>
                <a:path w="115" h="155">
                  <a:moveTo>
                    <a:pt x="73" y="0"/>
                  </a:moveTo>
                  <a:lnTo>
                    <a:pt x="73" y="0"/>
                  </a:lnTo>
                  <a:lnTo>
                    <a:pt x="78" y="1"/>
                  </a:lnTo>
                  <a:lnTo>
                    <a:pt x="94" y="7"/>
                  </a:lnTo>
                  <a:lnTo>
                    <a:pt x="101" y="12"/>
                  </a:lnTo>
                  <a:lnTo>
                    <a:pt x="108" y="17"/>
                  </a:lnTo>
                  <a:lnTo>
                    <a:pt x="113" y="24"/>
                  </a:lnTo>
                  <a:lnTo>
                    <a:pt x="115" y="33"/>
                  </a:lnTo>
                  <a:lnTo>
                    <a:pt x="115" y="33"/>
                  </a:lnTo>
                  <a:lnTo>
                    <a:pt x="115" y="47"/>
                  </a:lnTo>
                  <a:lnTo>
                    <a:pt x="113" y="56"/>
                  </a:lnTo>
                  <a:lnTo>
                    <a:pt x="108" y="61"/>
                  </a:lnTo>
                  <a:lnTo>
                    <a:pt x="101" y="68"/>
                  </a:lnTo>
                  <a:lnTo>
                    <a:pt x="101" y="68"/>
                  </a:lnTo>
                  <a:lnTo>
                    <a:pt x="94" y="75"/>
                  </a:lnTo>
                  <a:lnTo>
                    <a:pt x="90" y="81"/>
                  </a:lnTo>
                  <a:lnTo>
                    <a:pt x="88" y="84"/>
                  </a:lnTo>
                  <a:lnTo>
                    <a:pt x="88" y="88"/>
                  </a:lnTo>
                  <a:lnTo>
                    <a:pt x="94" y="96"/>
                  </a:lnTo>
                  <a:lnTo>
                    <a:pt x="94" y="96"/>
                  </a:lnTo>
                  <a:lnTo>
                    <a:pt x="111" y="132"/>
                  </a:lnTo>
                  <a:lnTo>
                    <a:pt x="111" y="132"/>
                  </a:lnTo>
                  <a:lnTo>
                    <a:pt x="106" y="135"/>
                  </a:lnTo>
                  <a:lnTo>
                    <a:pt x="99" y="140"/>
                  </a:lnTo>
                  <a:lnTo>
                    <a:pt x="90" y="146"/>
                  </a:lnTo>
                  <a:lnTo>
                    <a:pt x="90" y="146"/>
                  </a:lnTo>
                  <a:lnTo>
                    <a:pt x="81" y="147"/>
                  </a:lnTo>
                  <a:lnTo>
                    <a:pt x="73" y="149"/>
                  </a:lnTo>
                  <a:lnTo>
                    <a:pt x="55" y="151"/>
                  </a:lnTo>
                  <a:lnTo>
                    <a:pt x="55" y="151"/>
                  </a:lnTo>
                  <a:lnTo>
                    <a:pt x="44" y="153"/>
                  </a:lnTo>
                  <a:lnTo>
                    <a:pt x="30" y="155"/>
                  </a:lnTo>
                  <a:lnTo>
                    <a:pt x="16" y="155"/>
                  </a:lnTo>
                  <a:lnTo>
                    <a:pt x="13" y="153"/>
                  </a:lnTo>
                  <a:lnTo>
                    <a:pt x="9" y="149"/>
                  </a:lnTo>
                  <a:lnTo>
                    <a:pt x="9" y="149"/>
                  </a:lnTo>
                  <a:lnTo>
                    <a:pt x="6" y="139"/>
                  </a:lnTo>
                  <a:lnTo>
                    <a:pt x="2" y="123"/>
                  </a:lnTo>
                  <a:lnTo>
                    <a:pt x="0" y="107"/>
                  </a:lnTo>
                  <a:lnTo>
                    <a:pt x="0" y="100"/>
                  </a:lnTo>
                  <a:lnTo>
                    <a:pt x="2" y="93"/>
                  </a:lnTo>
                  <a:lnTo>
                    <a:pt x="2" y="93"/>
                  </a:lnTo>
                  <a:lnTo>
                    <a:pt x="9" y="79"/>
                  </a:lnTo>
                  <a:lnTo>
                    <a:pt x="18" y="61"/>
                  </a:lnTo>
                  <a:lnTo>
                    <a:pt x="27" y="42"/>
                  </a:lnTo>
                  <a:lnTo>
                    <a:pt x="27" y="42"/>
                  </a:lnTo>
                  <a:lnTo>
                    <a:pt x="37" y="40"/>
                  </a:lnTo>
                  <a:lnTo>
                    <a:pt x="44" y="38"/>
                  </a:lnTo>
                  <a:lnTo>
                    <a:pt x="51" y="33"/>
                  </a:lnTo>
                  <a:lnTo>
                    <a:pt x="51" y="33"/>
                  </a:lnTo>
                  <a:lnTo>
                    <a:pt x="58" y="26"/>
                  </a:lnTo>
                  <a:lnTo>
                    <a:pt x="65" y="17"/>
                  </a:lnTo>
                  <a:lnTo>
                    <a:pt x="69" y="8"/>
                  </a:lnTo>
                  <a:lnTo>
                    <a:pt x="73" y="0"/>
                  </a:lnTo>
                  <a:lnTo>
                    <a:pt x="73"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8" name="Freeform 54">
              <a:extLst>
                <a:ext uri="{FF2B5EF4-FFF2-40B4-BE49-F238E27FC236}">
                  <a16:creationId xmlns:a16="http://schemas.microsoft.com/office/drawing/2014/main" id="{C14AD218-A38C-457E-BF70-3DA244EBD30B}"/>
                </a:ext>
              </a:extLst>
            </p:cNvPr>
            <p:cNvSpPr>
              <a:spLocks/>
            </p:cNvSpPr>
            <p:nvPr/>
          </p:nvSpPr>
          <p:spPr bwMode="auto">
            <a:xfrm>
              <a:off x="6365428" y="4995862"/>
              <a:ext cx="485399" cy="886925"/>
            </a:xfrm>
            <a:custGeom>
              <a:avLst/>
              <a:gdLst/>
              <a:ahLst/>
              <a:cxnLst>
                <a:cxn ang="0">
                  <a:pos x="434" y="9"/>
                </a:cxn>
                <a:cxn ang="0">
                  <a:pos x="419" y="35"/>
                </a:cxn>
                <a:cxn ang="0">
                  <a:pos x="419" y="86"/>
                </a:cxn>
                <a:cxn ang="0">
                  <a:pos x="409" y="109"/>
                </a:cxn>
                <a:cxn ang="0">
                  <a:pos x="388" y="109"/>
                </a:cxn>
                <a:cxn ang="0">
                  <a:pos x="368" y="105"/>
                </a:cxn>
                <a:cxn ang="0">
                  <a:pos x="365" y="141"/>
                </a:cxn>
                <a:cxn ang="0">
                  <a:pos x="352" y="181"/>
                </a:cxn>
                <a:cxn ang="0">
                  <a:pos x="342" y="178"/>
                </a:cxn>
                <a:cxn ang="0">
                  <a:pos x="330" y="164"/>
                </a:cxn>
                <a:cxn ang="0">
                  <a:pos x="319" y="204"/>
                </a:cxn>
                <a:cxn ang="0">
                  <a:pos x="296" y="225"/>
                </a:cxn>
                <a:cxn ang="0">
                  <a:pos x="291" y="241"/>
                </a:cxn>
                <a:cxn ang="0">
                  <a:pos x="250" y="245"/>
                </a:cxn>
                <a:cxn ang="0">
                  <a:pos x="189" y="253"/>
                </a:cxn>
                <a:cxn ang="0">
                  <a:pos x="139" y="287"/>
                </a:cxn>
                <a:cxn ang="0">
                  <a:pos x="122" y="303"/>
                </a:cxn>
                <a:cxn ang="0">
                  <a:pos x="102" y="334"/>
                </a:cxn>
                <a:cxn ang="0">
                  <a:pos x="81" y="401"/>
                </a:cxn>
                <a:cxn ang="0">
                  <a:pos x="74" y="454"/>
                </a:cxn>
                <a:cxn ang="0">
                  <a:pos x="99" y="556"/>
                </a:cxn>
                <a:cxn ang="0">
                  <a:pos x="99" y="593"/>
                </a:cxn>
                <a:cxn ang="0">
                  <a:pos x="72" y="616"/>
                </a:cxn>
                <a:cxn ang="0">
                  <a:pos x="14" y="674"/>
                </a:cxn>
                <a:cxn ang="0">
                  <a:pos x="0" y="741"/>
                </a:cxn>
                <a:cxn ang="0">
                  <a:pos x="9" y="840"/>
                </a:cxn>
                <a:cxn ang="0">
                  <a:pos x="23" y="884"/>
                </a:cxn>
                <a:cxn ang="0">
                  <a:pos x="44" y="910"/>
                </a:cxn>
                <a:cxn ang="0">
                  <a:pos x="41" y="926"/>
                </a:cxn>
                <a:cxn ang="0">
                  <a:pos x="48" y="965"/>
                </a:cxn>
                <a:cxn ang="0">
                  <a:pos x="81" y="990"/>
                </a:cxn>
                <a:cxn ang="0">
                  <a:pos x="124" y="993"/>
                </a:cxn>
                <a:cxn ang="0">
                  <a:pos x="159" y="986"/>
                </a:cxn>
                <a:cxn ang="0">
                  <a:pos x="210" y="981"/>
                </a:cxn>
                <a:cxn ang="0">
                  <a:pos x="233" y="951"/>
                </a:cxn>
                <a:cxn ang="0">
                  <a:pos x="280" y="842"/>
                </a:cxn>
                <a:cxn ang="0">
                  <a:pos x="296" y="787"/>
                </a:cxn>
                <a:cxn ang="0">
                  <a:pos x="381" y="627"/>
                </a:cxn>
                <a:cxn ang="0">
                  <a:pos x="449" y="456"/>
                </a:cxn>
                <a:cxn ang="0">
                  <a:pos x="458" y="405"/>
                </a:cxn>
                <a:cxn ang="0">
                  <a:pos x="448" y="373"/>
                </a:cxn>
                <a:cxn ang="0">
                  <a:pos x="453" y="348"/>
                </a:cxn>
                <a:cxn ang="0">
                  <a:pos x="490" y="306"/>
                </a:cxn>
                <a:cxn ang="0">
                  <a:pos x="539" y="278"/>
                </a:cxn>
                <a:cxn ang="0">
                  <a:pos x="544" y="269"/>
                </a:cxn>
                <a:cxn ang="0">
                  <a:pos x="534" y="211"/>
                </a:cxn>
                <a:cxn ang="0">
                  <a:pos x="530" y="149"/>
                </a:cxn>
                <a:cxn ang="0">
                  <a:pos x="511" y="88"/>
                </a:cxn>
                <a:cxn ang="0">
                  <a:pos x="485" y="23"/>
                </a:cxn>
                <a:cxn ang="0">
                  <a:pos x="465" y="0"/>
                </a:cxn>
                <a:cxn ang="0">
                  <a:pos x="448" y="3"/>
                </a:cxn>
              </a:cxnLst>
              <a:rect l="0" t="0" r="r" b="b"/>
              <a:pathLst>
                <a:path w="544" h="995">
                  <a:moveTo>
                    <a:pt x="448" y="3"/>
                  </a:moveTo>
                  <a:lnTo>
                    <a:pt x="448" y="3"/>
                  </a:lnTo>
                  <a:lnTo>
                    <a:pt x="444" y="5"/>
                  </a:lnTo>
                  <a:lnTo>
                    <a:pt x="434" y="9"/>
                  </a:lnTo>
                  <a:lnTo>
                    <a:pt x="428" y="12"/>
                  </a:lnTo>
                  <a:lnTo>
                    <a:pt x="425" y="17"/>
                  </a:lnTo>
                  <a:lnTo>
                    <a:pt x="421" y="26"/>
                  </a:lnTo>
                  <a:lnTo>
                    <a:pt x="419" y="35"/>
                  </a:lnTo>
                  <a:lnTo>
                    <a:pt x="419" y="35"/>
                  </a:lnTo>
                  <a:lnTo>
                    <a:pt x="419" y="56"/>
                  </a:lnTo>
                  <a:lnTo>
                    <a:pt x="421" y="77"/>
                  </a:lnTo>
                  <a:lnTo>
                    <a:pt x="419" y="86"/>
                  </a:lnTo>
                  <a:lnTo>
                    <a:pt x="418" y="95"/>
                  </a:lnTo>
                  <a:lnTo>
                    <a:pt x="414" y="104"/>
                  </a:lnTo>
                  <a:lnTo>
                    <a:pt x="409" y="109"/>
                  </a:lnTo>
                  <a:lnTo>
                    <a:pt x="409" y="109"/>
                  </a:lnTo>
                  <a:lnTo>
                    <a:pt x="405" y="111"/>
                  </a:lnTo>
                  <a:lnTo>
                    <a:pt x="402" y="112"/>
                  </a:lnTo>
                  <a:lnTo>
                    <a:pt x="395" y="111"/>
                  </a:lnTo>
                  <a:lnTo>
                    <a:pt x="388" y="109"/>
                  </a:lnTo>
                  <a:lnTo>
                    <a:pt x="381" y="105"/>
                  </a:lnTo>
                  <a:lnTo>
                    <a:pt x="375" y="104"/>
                  </a:lnTo>
                  <a:lnTo>
                    <a:pt x="370" y="104"/>
                  </a:lnTo>
                  <a:lnTo>
                    <a:pt x="368" y="105"/>
                  </a:lnTo>
                  <a:lnTo>
                    <a:pt x="368" y="107"/>
                  </a:lnTo>
                  <a:lnTo>
                    <a:pt x="367" y="116"/>
                  </a:lnTo>
                  <a:lnTo>
                    <a:pt x="367" y="116"/>
                  </a:lnTo>
                  <a:lnTo>
                    <a:pt x="365" y="141"/>
                  </a:lnTo>
                  <a:lnTo>
                    <a:pt x="361" y="162"/>
                  </a:lnTo>
                  <a:lnTo>
                    <a:pt x="360" y="171"/>
                  </a:lnTo>
                  <a:lnTo>
                    <a:pt x="356" y="178"/>
                  </a:lnTo>
                  <a:lnTo>
                    <a:pt x="352" y="181"/>
                  </a:lnTo>
                  <a:lnTo>
                    <a:pt x="349" y="183"/>
                  </a:lnTo>
                  <a:lnTo>
                    <a:pt x="349" y="183"/>
                  </a:lnTo>
                  <a:lnTo>
                    <a:pt x="345" y="181"/>
                  </a:lnTo>
                  <a:lnTo>
                    <a:pt x="342" y="178"/>
                  </a:lnTo>
                  <a:lnTo>
                    <a:pt x="337" y="169"/>
                  </a:lnTo>
                  <a:lnTo>
                    <a:pt x="335" y="165"/>
                  </a:lnTo>
                  <a:lnTo>
                    <a:pt x="333" y="164"/>
                  </a:lnTo>
                  <a:lnTo>
                    <a:pt x="330" y="164"/>
                  </a:lnTo>
                  <a:lnTo>
                    <a:pt x="328" y="169"/>
                  </a:lnTo>
                  <a:lnTo>
                    <a:pt x="328" y="169"/>
                  </a:lnTo>
                  <a:lnTo>
                    <a:pt x="323" y="185"/>
                  </a:lnTo>
                  <a:lnTo>
                    <a:pt x="319" y="204"/>
                  </a:lnTo>
                  <a:lnTo>
                    <a:pt x="314" y="225"/>
                  </a:lnTo>
                  <a:lnTo>
                    <a:pt x="296" y="222"/>
                  </a:lnTo>
                  <a:lnTo>
                    <a:pt x="296" y="222"/>
                  </a:lnTo>
                  <a:lnTo>
                    <a:pt x="296" y="225"/>
                  </a:lnTo>
                  <a:lnTo>
                    <a:pt x="298" y="230"/>
                  </a:lnTo>
                  <a:lnTo>
                    <a:pt x="296" y="234"/>
                  </a:lnTo>
                  <a:lnTo>
                    <a:pt x="294" y="238"/>
                  </a:lnTo>
                  <a:lnTo>
                    <a:pt x="291" y="241"/>
                  </a:lnTo>
                  <a:lnTo>
                    <a:pt x="286" y="243"/>
                  </a:lnTo>
                  <a:lnTo>
                    <a:pt x="286" y="243"/>
                  </a:lnTo>
                  <a:lnTo>
                    <a:pt x="270" y="245"/>
                  </a:lnTo>
                  <a:lnTo>
                    <a:pt x="250" y="245"/>
                  </a:lnTo>
                  <a:lnTo>
                    <a:pt x="227" y="246"/>
                  </a:lnTo>
                  <a:lnTo>
                    <a:pt x="201" y="250"/>
                  </a:lnTo>
                  <a:lnTo>
                    <a:pt x="201" y="250"/>
                  </a:lnTo>
                  <a:lnTo>
                    <a:pt x="189" y="253"/>
                  </a:lnTo>
                  <a:lnTo>
                    <a:pt x="176" y="259"/>
                  </a:lnTo>
                  <a:lnTo>
                    <a:pt x="164" y="266"/>
                  </a:lnTo>
                  <a:lnTo>
                    <a:pt x="155" y="273"/>
                  </a:lnTo>
                  <a:lnTo>
                    <a:pt x="139" y="287"/>
                  </a:lnTo>
                  <a:lnTo>
                    <a:pt x="134" y="292"/>
                  </a:lnTo>
                  <a:lnTo>
                    <a:pt x="134" y="292"/>
                  </a:lnTo>
                  <a:lnTo>
                    <a:pt x="131" y="294"/>
                  </a:lnTo>
                  <a:lnTo>
                    <a:pt x="122" y="303"/>
                  </a:lnTo>
                  <a:lnTo>
                    <a:pt x="115" y="308"/>
                  </a:lnTo>
                  <a:lnTo>
                    <a:pt x="111" y="315"/>
                  </a:lnTo>
                  <a:lnTo>
                    <a:pt x="106" y="324"/>
                  </a:lnTo>
                  <a:lnTo>
                    <a:pt x="102" y="334"/>
                  </a:lnTo>
                  <a:lnTo>
                    <a:pt x="102" y="334"/>
                  </a:lnTo>
                  <a:lnTo>
                    <a:pt x="95" y="357"/>
                  </a:lnTo>
                  <a:lnTo>
                    <a:pt x="87" y="385"/>
                  </a:lnTo>
                  <a:lnTo>
                    <a:pt x="81" y="401"/>
                  </a:lnTo>
                  <a:lnTo>
                    <a:pt x="78" y="417"/>
                  </a:lnTo>
                  <a:lnTo>
                    <a:pt x="76" y="435"/>
                  </a:lnTo>
                  <a:lnTo>
                    <a:pt x="74" y="454"/>
                  </a:lnTo>
                  <a:lnTo>
                    <a:pt x="74" y="454"/>
                  </a:lnTo>
                  <a:lnTo>
                    <a:pt x="76" y="475"/>
                  </a:lnTo>
                  <a:lnTo>
                    <a:pt x="81" y="495"/>
                  </a:lnTo>
                  <a:lnTo>
                    <a:pt x="94" y="537"/>
                  </a:lnTo>
                  <a:lnTo>
                    <a:pt x="99" y="556"/>
                  </a:lnTo>
                  <a:lnTo>
                    <a:pt x="102" y="572"/>
                  </a:lnTo>
                  <a:lnTo>
                    <a:pt x="102" y="581"/>
                  </a:lnTo>
                  <a:lnTo>
                    <a:pt x="102" y="588"/>
                  </a:lnTo>
                  <a:lnTo>
                    <a:pt x="99" y="593"/>
                  </a:lnTo>
                  <a:lnTo>
                    <a:pt x="95" y="599"/>
                  </a:lnTo>
                  <a:lnTo>
                    <a:pt x="95" y="599"/>
                  </a:lnTo>
                  <a:lnTo>
                    <a:pt x="85" y="607"/>
                  </a:lnTo>
                  <a:lnTo>
                    <a:pt x="72" y="616"/>
                  </a:lnTo>
                  <a:lnTo>
                    <a:pt x="48" y="634"/>
                  </a:lnTo>
                  <a:lnTo>
                    <a:pt x="36" y="646"/>
                  </a:lnTo>
                  <a:lnTo>
                    <a:pt x="23" y="658"/>
                  </a:lnTo>
                  <a:lnTo>
                    <a:pt x="14" y="674"/>
                  </a:lnTo>
                  <a:lnTo>
                    <a:pt x="7" y="694"/>
                  </a:lnTo>
                  <a:lnTo>
                    <a:pt x="7" y="694"/>
                  </a:lnTo>
                  <a:lnTo>
                    <a:pt x="4" y="717"/>
                  </a:lnTo>
                  <a:lnTo>
                    <a:pt x="0" y="741"/>
                  </a:lnTo>
                  <a:lnTo>
                    <a:pt x="0" y="768"/>
                  </a:lnTo>
                  <a:lnTo>
                    <a:pt x="2" y="792"/>
                  </a:lnTo>
                  <a:lnTo>
                    <a:pt x="4" y="817"/>
                  </a:lnTo>
                  <a:lnTo>
                    <a:pt x="9" y="840"/>
                  </a:lnTo>
                  <a:lnTo>
                    <a:pt x="13" y="859"/>
                  </a:lnTo>
                  <a:lnTo>
                    <a:pt x="18" y="873"/>
                  </a:lnTo>
                  <a:lnTo>
                    <a:pt x="18" y="873"/>
                  </a:lnTo>
                  <a:lnTo>
                    <a:pt x="23" y="884"/>
                  </a:lnTo>
                  <a:lnTo>
                    <a:pt x="28" y="893"/>
                  </a:lnTo>
                  <a:lnTo>
                    <a:pt x="39" y="903"/>
                  </a:lnTo>
                  <a:lnTo>
                    <a:pt x="41" y="907"/>
                  </a:lnTo>
                  <a:lnTo>
                    <a:pt x="44" y="910"/>
                  </a:lnTo>
                  <a:lnTo>
                    <a:pt x="44" y="914"/>
                  </a:lnTo>
                  <a:lnTo>
                    <a:pt x="43" y="919"/>
                  </a:lnTo>
                  <a:lnTo>
                    <a:pt x="43" y="919"/>
                  </a:lnTo>
                  <a:lnTo>
                    <a:pt x="41" y="926"/>
                  </a:lnTo>
                  <a:lnTo>
                    <a:pt x="39" y="933"/>
                  </a:lnTo>
                  <a:lnTo>
                    <a:pt x="41" y="944"/>
                  </a:lnTo>
                  <a:lnTo>
                    <a:pt x="44" y="954"/>
                  </a:lnTo>
                  <a:lnTo>
                    <a:pt x="48" y="965"/>
                  </a:lnTo>
                  <a:lnTo>
                    <a:pt x="57" y="974"/>
                  </a:lnTo>
                  <a:lnTo>
                    <a:pt x="67" y="983"/>
                  </a:lnTo>
                  <a:lnTo>
                    <a:pt x="81" y="990"/>
                  </a:lnTo>
                  <a:lnTo>
                    <a:pt x="81" y="990"/>
                  </a:lnTo>
                  <a:lnTo>
                    <a:pt x="95" y="993"/>
                  </a:lnTo>
                  <a:lnTo>
                    <a:pt x="106" y="995"/>
                  </a:lnTo>
                  <a:lnTo>
                    <a:pt x="115" y="995"/>
                  </a:lnTo>
                  <a:lnTo>
                    <a:pt x="124" y="993"/>
                  </a:lnTo>
                  <a:lnTo>
                    <a:pt x="138" y="988"/>
                  </a:lnTo>
                  <a:lnTo>
                    <a:pt x="146" y="986"/>
                  </a:lnTo>
                  <a:lnTo>
                    <a:pt x="159" y="986"/>
                  </a:lnTo>
                  <a:lnTo>
                    <a:pt x="159" y="986"/>
                  </a:lnTo>
                  <a:lnTo>
                    <a:pt x="182" y="986"/>
                  </a:lnTo>
                  <a:lnTo>
                    <a:pt x="192" y="986"/>
                  </a:lnTo>
                  <a:lnTo>
                    <a:pt x="201" y="984"/>
                  </a:lnTo>
                  <a:lnTo>
                    <a:pt x="210" y="981"/>
                  </a:lnTo>
                  <a:lnTo>
                    <a:pt x="217" y="974"/>
                  </a:lnTo>
                  <a:lnTo>
                    <a:pt x="226" y="965"/>
                  </a:lnTo>
                  <a:lnTo>
                    <a:pt x="233" y="951"/>
                  </a:lnTo>
                  <a:lnTo>
                    <a:pt x="233" y="951"/>
                  </a:lnTo>
                  <a:lnTo>
                    <a:pt x="249" y="919"/>
                  </a:lnTo>
                  <a:lnTo>
                    <a:pt x="264" y="886"/>
                  </a:lnTo>
                  <a:lnTo>
                    <a:pt x="275" y="856"/>
                  </a:lnTo>
                  <a:lnTo>
                    <a:pt x="280" y="842"/>
                  </a:lnTo>
                  <a:lnTo>
                    <a:pt x="282" y="828"/>
                  </a:lnTo>
                  <a:lnTo>
                    <a:pt x="282" y="828"/>
                  </a:lnTo>
                  <a:lnTo>
                    <a:pt x="286" y="810"/>
                  </a:lnTo>
                  <a:lnTo>
                    <a:pt x="296" y="787"/>
                  </a:lnTo>
                  <a:lnTo>
                    <a:pt x="308" y="761"/>
                  </a:lnTo>
                  <a:lnTo>
                    <a:pt x="324" y="731"/>
                  </a:lnTo>
                  <a:lnTo>
                    <a:pt x="356" y="673"/>
                  </a:lnTo>
                  <a:lnTo>
                    <a:pt x="381" y="627"/>
                  </a:lnTo>
                  <a:lnTo>
                    <a:pt x="381" y="627"/>
                  </a:lnTo>
                  <a:lnTo>
                    <a:pt x="402" y="579"/>
                  </a:lnTo>
                  <a:lnTo>
                    <a:pt x="428" y="516"/>
                  </a:lnTo>
                  <a:lnTo>
                    <a:pt x="449" y="456"/>
                  </a:lnTo>
                  <a:lnTo>
                    <a:pt x="456" y="431"/>
                  </a:lnTo>
                  <a:lnTo>
                    <a:pt x="458" y="415"/>
                  </a:lnTo>
                  <a:lnTo>
                    <a:pt x="458" y="415"/>
                  </a:lnTo>
                  <a:lnTo>
                    <a:pt x="458" y="405"/>
                  </a:lnTo>
                  <a:lnTo>
                    <a:pt x="456" y="398"/>
                  </a:lnTo>
                  <a:lnTo>
                    <a:pt x="451" y="387"/>
                  </a:lnTo>
                  <a:lnTo>
                    <a:pt x="448" y="378"/>
                  </a:lnTo>
                  <a:lnTo>
                    <a:pt x="448" y="373"/>
                  </a:lnTo>
                  <a:lnTo>
                    <a:pt x="448" y="366"/>
                  </a:lnTo>
                  <a:lnTo>
                    <a:pt x="448" y="366"/>
                  </a:lnTo>
                  <a:lnTo>
                    <a:pt x="449" y="357"/>
                  </a:lnTo>
                  <a:lnTo>
                    <a:pt x="453" y="348"/>
                  </a:lnTo>
                  <a:lnTo>
                    <a:pt x="463" y="333"/>
                  </a:lnTo>
                  <a:lnTo>
                    <a:pt x="476" y="317"/>
                  </a:lnTo>
                  <a:lnTo>
                    <a:pt x="490" y="306"/>
                  </a:lnTo>
                  <a:lnTo>
                    <a:pt x="490" y="306"/>
                  </a:lnTo>
                  <a:lnTo>
                    <a:pt x="516" y="289"/>
                  </a:lnTo>
                  <a:lnTo>
                    <a:pt x="529" y="282"/>
                  </a:lnTo>
                  <a:lnTo>
                    <a:pt x="534" y="278"/>
                  </a:lnTo>
                  <a:lnTo>
                    <a:pt x="539" y="278"/>
                  </a:lnTo>
                  <a:lnTo>
                    <a:pt x="539" y="278"/>
                  </a:lnTo>
                  <a:lnTo>
                    <a:pt x="541" y="278"/>
                  </a:lnTo>
                  <a:lnTo>
                    <a:pt x="543" y="276"/>
                  </a:lnTo>
                  <a:lnTo>
                    <a:pt x="544" y="269"/>
                  </a:lnTo>
                  <a:lnTo>
                    <a:pt x="543" y="260"/>
                  </a:lnTo>
                  <a:lnTo>
                    <a:pt x="541" y="248"/>
                  </a:lnTo>
                  <a:lnTo>
                    <a:pt x="536" y="223"/>
                  </a:lnTo>
                  <a:lnTo>
                    <a:pt x="534" y="211"/>
                  </a:lnTo>
                  <a:lnTo>
                    <a:pt x="532" y="201"/>
                  </a:lnTo>
                  <a:lnTo>
                    <a:pt x="532" y="201"/>
                  </a:lnTo>
                  <a:lnTo>
                    <a:pt x="532" y="178"/>
                  </a:lnTo>
                  <a:lnTo>
                    <a:pt x="530" y="149"/>
                  </a:lnTo>
                  <a:lnTo>
                    <a:pt x="529" y="134"/>
                  </a:lnTo>
                  <a:lnTo>
                    <a:pt x="525" y="118"/>
                  </a:lnTo>
                  <a:lnTo>
                    <a:pt x="520" y="102"/>
                  </a:lnTo>
                  <a:lnTo>
                    <a:pt x="511" y="88"/>
                  </a:lnTo>
                  <a:lnTo>
                    <a:pt x="511" y="88"/>
                  </a:lnTo>
                  <a:lnTo>
                    <a:pt x="502" y="72"/>
                  </a:lnTo>
                  <a:lnTo>
                    <a:pt x="497" y="56"/>
                  </a:lnTo>
                  <a:lnTo>
                    <a:pt x="485" y="23"/>
                  </a:lnTo>
                  <a:lnTo>
                    <a:pt x="478" y="10"/>
                  </a:lnTo>
                  <a:lnTo>
                    <a:pt x="474" y="5"/>
                  </a:lnTo>
                  <a:lnTo>
                    <a:pt x="470" y="1"/>
                  </a:lnTo>
                  <a:lnTo>
                    <a:pt x="465" y="0"/>
                  </a:lnTo>
                  <a:lnTo>
                    <a:pt x="460" y="0"/>
                  </a:lnTo>
                  <a:lnTo>
                    <a:pt x="455" y="0"/>
                  </a:lnTo>
                  <a:lnTo>
                    <a:pt x="448" y="3"/>
                  </a:lnTo>
                  <a:lnTo>
                    <a:pt x="448"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29" name="Freeform 55">
              <a:extLst>
                <a:ext uri="{FF2B5EF4-FFF2-40B4-BE49-F238E27FC236}">
                  <a16:creationId xmlns:a16="http://schemas.microsoft.com/office/drawing/2014/main" id="{47A285F6-84A3-4A73-B4D1-EBF2101EBFB4}"/>
                </a:ext>
              </a:extLst>
            </p:cNvPr>
            <p:cNvSpPr>
              <a:spLocks/>
            </p:cNvSpPr>
            <p:nvPr/>
          </p:nvSpPr>
          <p:spPr bwMode="auto">
            <a:xfrm>
              <a:off x="6918640" y="5615103"/>
              <a:ext cx="39260" cy="41045"/>
            </a:xfrm>
            <a:custGeom>
              <a:avLst/>
              <a:gdLst/>
              <a:ahLst/>
              <a:cxnLst>
                <a:cxn ang="0">
                  <a:pos x="2" y="7"/>
                </a:cxn>
                <a:cxn ang="0">
                  <a:pos x="2" y="7"/>
                </a:cxn>
                <a:cxn ang="0">
                  <a:pos x="2" y="14"/>
                </a:cxn>
                <a:cxn ang="0">
                  <a:pos x="0" y="28"/>
                </a:cxn>
                <a:cxn ang="0">
                  <a:pos x="2" y="35"/>
                </a:cxn>
                <a:cxn ang="0">
                  <a:pos x="3" y="40"/>
                </a:cxn>
                <a:cxn ang="0">
                  <a:pos x="7" y="46"/>
                </a:cxn>
                <a:cxn ang="0">
                  <a:pos x="12" y="46"/>
                </a:cxn>
                <a:cxn ang="0">
                  <a:pos x="12" y="46"/>
                </a:cxn>
                <a:cxn ang="0">
                  <a:pos x="19" y="44"/>
                </a:cxn>
                <a:cxn ang="0">
                  <a:pos x="26" y="40"/>
                </a:cxn>
                <a:cxn ang="0">
                  <a:pos x="33" y="35"/>
                </a:cxn>
                <a:cxn ang="0">
                  <a:pos x="39" y="30"/>
                </a:cxn>
                <a:cxn ang="0">
                  <a:pos x="42" y="24"/>
                </a:cxn>
                <a:cxn ang="0">
                  <a:pos x="44" y="19"/>
                </a:cxn>
                <a:cxn ang="0">
                  <a:pos x="42" y="14"/>
                </a:cxn>
                <a:cxn ang="0">
                  <a:pos x="37" y="10"/>
                </a:cxn>
                <a:cxn ang="0">
                  <a:pos x="37" y="10"/>
                </a:cxn>
                <a:cxn ang="0">
                  <a:pos x="23" y="3"/>
                </a:cxn>
                <a:cxn ang="0">
                  <a:pos x="12" y="0"/>
                </a:cxn>
                <a:cxn ang="0">
                  <a:pos x="7" y="0"/>
                </a:cxn>
                <a:cxn ang="0">
                  <a:pos x="3" y="0"/>
                </a:cxn>
                <a:cxn ang="0">
                  <a:pos x="2" y="3"/>
                </a:cxn>
                <a:cxn ang="0">
                  <a:pos x="2" y="7"/>
                </a:cxn>
                <a:cxn ang="0">
                  <a:pos x="2" y="7"/>
                </a:cxn>
              </a:cxnLst>
              <a:rect l="0" t="0" r="r" b="b"/>
              <a:pathLst>
                <a:path w="44" h="46">
                  <a:moveTo>
                    <a:pt x="2" y="7"/>
                  </a:moveTo>
                  <a:lnTo>
                    <a:pt x="2" y="7"/>
                  </a:lnTo>
                  <a:lnTo>
                    <a:pt x="2" y="14"/>
                  </a:lnTo>
                  <a:lnTo>
                    <a:pt x="0" y="28"/>
                  </a:lnTo>
                  <a:lnTo>
                    <a:pt x="2" y="35"/>
                  </a:lnTo>
                  <a:lnTo>
                    <a:pt x="3" y="40"/>
                  </a:lnTo>
                  <a:lnTo>
                    <a:pt x="7" y="46"/>
                  </a:lnTo>
                  <a:lnTo>
                    <a:pt x="12" y="46"/>
                  </a:lnTo>
                  <a:lnTo>
                    <a:pt x="12" y="46"/>
                  </a:lnTo>
                  <a:lnTo>
                    <a:pt x="19" y="44"/>
                  </a:lnTo>
                  <a:lnTo>
                    <a:pt x="26" y="40"/>
                  </a:lnTo>
                  <a:lnTo>
                    <a:pt x="33" y="35"/>
                  </a:lnTo>
                  <a:lnTo>
                    <a:pt x="39" y="30"/>
                  </a:lnTo>
                  <a:lnTo>
                    <a:pt x="42" y="24"/>
                  </a:lnTo>
                  <a:lnTo>
                    <a:pt x="44" y="19"/>
                  </a:lnTo>
                  <a:lnTo>
                    <a:pt x="42" y="14"/>
                  </a:lnTo>
                  <a:lnTo>
                    <a:pt x="37" y="10"/>
                  </a:lnTo>
                  <a:lnTo>
                    <a:pt x="37" y="10"/>
                  </a:lnTo>
                  <a:lnTo>
                    <a:pt x="23" y="3"/>
                  </a:lnTo>
                  <a:lnTo>
                    <a:pt x="12" y="0"/>
                  </a:lnTo>
                  <a:lnTo>
                    <a:pt x="7" y="0"/>
                  </a:lnTo>
                  <a:lnTo>
                    <a:pt x="3" y="0"/>
                  </a:lnTo>
                  <a:lnTo>
                    <a:pt x="2" y="3"/>
                  </a:lnTo>
                  <a:lnTo>
                    <a:pt x="2" y="7"/>
                  </a:lnTo>
                  <a:lnTo>
                    <a:pt x="2"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0" name="Freeform 56">
              <a:extLst>
                <a:ext uri="{FF2B5EF4-FFF2-40B4-BE49-F238E27FC236}">
                  <a16:creationId xmlns:a16="http://schemas.microsoft.com/office/drawing/2014/main" id="{5DD6A313-2A1C-40C8-8520-683647EEC7C4}"/>
                </a:ext>
              </a:extLst>
            </p:cNvPr>
            <p:cNvSpPr>
              <a:spLocks/>
            </p:cNvSpPr>
            <p:nvPr/>
          </p:nvSpPr>
          <p:spPr bwMode="auto">
            <a:xfrm>
              <a:off x="7039990" y="5566920"/>
              <a:ext cx="49968" cy="37476"/>
            </a:xfrm>
            <a:custGeom>
              <a:avLst/>
              <a:gdLst/>
              <a:ahLst/>
              <a:cxnLst>
                <a:cxn ang="0">
                  <a:pos x="21" y="10"/>
                </a:cxn>
                <a:cxn ang="0">
                  <a:pos x="21" y="10"/>
                </a:cxn>
                <a:cxn ang="0">
                  <a:pos x="17" y="9"/>
                </a:cxn>
                <a:cxn ang="0">
                  <a:pos x="12" y="7"/>
                </a:cxn>
                <a:cxn ang="0">
                  <a:pos x="8" y="7"/>
                </a:cxn>
                <a:cxn ang="0">
                  <a:pos x="5" y="7"/>
                </a:cxn>
                <a:cxn ang="0">
                  <a:pos x="1" y="10"/>
                </a:cxn>
                <a:cxn ang="0">
                  <a:pos x="0" y="14"/>
                </a:cxn>
                <a:cxn ang="0">
                  <a:pos x="0" y="14"/>
                </a:cxn>
                <a:cxn ang="0">
                  <a:pos x="0" y="19"/>
                </a:cxn>
                <a:cxn ang="0">
                  <a:pos x="0" y="25"/>
                </a:cxn>
                <a:cxn ang="0">
                  <a:pos x="1" y="32"/>
                </a:cxn>
                <a:cxn ang="0">
                  <a:pos x="3" y="35"/>
                </a:cxn>
                <a:cxn ang="0">
                  <a:pos x="7" y="39"/>
                </a:cxn>
                <a:cxn ang="0">
                  <a:pos x="10" y="40"/>
                </a:cxn>
                <a:cxn ang="0">
                  <a:pos x="15" y="40"/>
                </a:cxn>
                <a:cxn ang="0">
                  <a:pos x="21" y="39"/>
                </a:cxn>
                <a:cxn ang="0">
                  <a:pos x="21" y="39"/>
                </a:cxn>
                <a:cxn ang="0">
                  <a:pos x="31" y="33"/>
                </a:cxn>
                <a:cxn ang="0">
                  <a:pos x="40" y="28"/>
                </a:cxn>
                <a:cxn ang="0">
                  <a:pos x="47" y="25"/>
                </a:cxn>
                <a:cxn ang="0">
                  <a:pos x="49" y="19"/>
                </a:cxn>
                <a:cxn ang="0">
                  <a:pos x="52" y="14"/>
                </a:cxn>
                <a:cxn ang="0">
                  <a:pos x="52" y="14"/>
                </a:cxn>
                <a:cxn ang="0">
                  <a:pos x="54" y="9"/>
                </a:cxn>
                <a:cxn ang="0">
                  <a:pos x="54" y="3"/>
                </a:cxn>
                <a:cxn ang="0">
                  <a:pos x="52" y="2"/>
                </a:cxn>
                <a:cxn ang="0">
                  <a:pos x="49" y="0"/>
                </a:cxn>
                <a:cxn ang="0">
                  <a:pos x="44" y="0"/>
                </a:cxn>
                <a:cxn ang="0">
                  <a:pos x="37" y="3"/>
                </a:cxn>
                <a:cxn ang="0">
                  <a:pos x="21" y="10"/>
                </a:cxn>
                <a:cxn ang="0">
                  <a:pos x="21" y="10"/>
                </a:cxn>
              </a:cxnLst>
              <a:rect l="0" t="0" r="r" b="b"/>
              <a:pathLst>
                <a:path w="54" h="40">
                  <a:moveTo>
                    <a:pt x="21" y="10"/>
                  </a:moveTo>
                  <a:lnTo>
                    <a:pt x="21" y="10"/>
                  </a:lnTo>
                  <a:lnTo>
                    <a:pt x="17" y="9"/>
                  </a:lnTo>
                  <a:lnTo>
                    <a:pt x="12" y="7"/>
                  </a:lnTo>
                  <a:lnTo>
                    <a:pt x="8" y="7"/>
                  </a:lnTo>
                  <a:lnTo>
                    <a:pt x="5" y="7"/>
                  </a:lnTo>
                  <a:lnTo>
                    <a:pt x="1" y="10"/>
                  </a:lnTo>
                  <a:lnTo>
                    <a:pt x="0" y="14"/>
                  </a:lnTo>
                  <a:lnTo>
                    <a:pt x="0" y="14"/>
                  </a:lnTo>
                  <a:lnTo>
                    <a:pt x="0" y="19"/>
                  </a:lnTo>
                  <a:lnTo>
                    <a:pt x="0" y="25"/>
                  </a:lnTo>
                  <a:lnTo>
                    <a:pt x="1" y="32"/>
                  </a:lnTo>
                  <a:lnTo>
                    <a:pt x="3" y="35"/>
                  </a:lnTo>
                  <a:lnTo>
                    <a:pt x="7" y="39"/>
                  </a:lnTo>
                  <a:lnTo>
                    <a:pt x="10" y="40"/>
                  </a:lnTo>
                  <a:lnTo>
                    <a:pt x="15" y="40"/>
                  </a:lnTo>
                  <a:lnTo>
                    <a:pt x="21" y="39"/>
                  </a:lnTo>
                  <a:lnTo>
                    <a:pt x="21" y="39"/>
                  </a:lnTo>
                  <a:lnTo>
                    <a:pt x="31" y="33"/>
                  </a:lnTo>
                  <a:lnTo>
                    <a:pt x="40" y="28"/>
                  </a:lnTo>
                  <a:lnTo>
                    <a:pt x="47" y="25"/>
                  </a:lnTo>
                  <a:lnTo>
                    <a:pt x="49" y="19"/>
                  </a:lnTo>
                  <a:lnTo>
                    <a:pt x="52" y="14"/>
                  </a:lnTo>
                  <a:lnTo>
                    <a:pt x="52" y="14"/>
                  </a:lnTo>
                  <a:lnTo>
                    <a:pt x="54" y="9"/>
                  </a:lnTo>
                  <a:lnTo>
                    <a:pt x="54" y="3"/>
                  </a:lnTo>
                  <a:lnTo>
                    <a:pt x="52" y="2"/>
                  </a:lnTo>
                  <a:lnTo>
                    <a:pt x="49" y="0"/>
                  </a:lnTo>
                  <a:lnTo>
                    <a:pt x="44" y="0"/>
                  </a:lnTo>
                  <a:lnTo>
                    <a:pt x="37" y="3"/>
                  </a:lnTo>
                  <a:lnTo>
                    <a:pt x="21" y="10"/>
                  </a:lnTo>
                  <a:lnTo>
                    <a:pt x="21" y="1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1" name="Freeform 57">
              <a:extLst>
                <a:ext uri="{FF2B5EF4-FFF2-40B4-BE49-F238E27FC236}">
                  <a16:creationId xmlns:a16="http://schemas.microsoft.com/office/drawing/2014/main" id="{7E489A6F-A8D6-4492-BAEB-DA51727161AF}"/>
                </a:ext>
              </a:extLst>
            </p:cNvPr>
            <p:cNvSpPr>
              <a:spLocks/>
            </p:cNvSpPr>
            <p:nvPr/>
          </p:nvSpPr>
          <p:spPr bwMode="auto">
            <a:xfrm>
              <a:off x="7052482" y="4512247"/>
              <a:ext cx="48182" cy="53537"/>
            </a:xfrm>
            <a:custGeom>
              <a:avLst/>
              <a:gdLst/>
              <a:ahLst/>
              <a:cxnLst>
                <a:cxn ang="0">
                  <a:pos x="7" y="2"/>
                </a:cxn>
                <a:cxn ang="0">
                  <a:pos x="7" y="2"/>
                </a:cxn>
                <a:cxn ang="0">
                  <a:pos x="5" y="5"/>
                </a:cxn>
                <a:cxn ang="0">
                  <a:pos x="1" y="11"/>
                </a:cxn>
                <a:cxn ang="0">
                  <a:pos x="0" y="21"/>
                </a:cxn>
                <a:cxn ang="0">
                  <a:pos x="0" y="33"/>
                </a:cxn>
                <a:cxn ang="0">
                  <a:pos x="0" y="33"/>
                </a:cxn>
                <a:cxn ang="0">
                  <a:pos x="0" y="39"/>
                </a:cxn>
                <a:cxn ang="0">
                  <a:pos x="1" y="46"/>
                </a:cxn>
                <a:cxn ang="0">
                  <a:pos x="3" y="51"/>
                </a:cxn>
                <a:cxn ang="0">
                  <a:pos x="7" y="55"/>
                </a:cxn>
                <a:cxn ang="0">
                  <a:pos x="14" y="58"/>
                </a:cxn>
                <a:cxn ang="0">
                  <a:pos x="21" y="58"/>
                </a:cxn>
                <a:cxn ang="0">
                  <a:pos x="21" y="58"/>
                </a:cxn>
                <a:cxn ang="0">
                  <a:pos x="30" y="58"/>
                </a:cxn>
                <a:cxn ang="0">
                  <a:pos x="38" y="56"/>
                </a:cxn>
                <a:cxn ang="0">
                  <a:pos x="44" y="55"/>
                </a:cxn>
                <a:cxn ang="0">
                  <a:pos x="49" y="51"/>
                </a:cxn>
                <a:cxn ang="0">
                  <a:pos x="52" y="46"/>
                </a:cxn>
                <a:cxn ang="0">
                  <a:pos x="52" y="42"/>
                </a:cxn>
                <a:cxn ang="0">
                  <a:pos x="52" y="39"/>
                </a:cxn>
                <a:cxn ang="0">
                  <a:pos x="49" y="33"/>
                </a:cxn>
                <a:cxn ang="0">
                  <a:pos x="49" y="33"/>
                </a:cxn>
                <a:cxn ang="0">
                  <a:pos x="40" y="23"/>
                </a:cxn>
                <a:cxn ang="0">
                  <a:pos x="31" y="11"/>
                </a:cxn>
                <a:cxn ang="0">
                  <a:pos x="26" y="5"/>
                </a:cxn>
                <a:cxn ang="0">
                  <a:pos x="19" y="2"/>
                </a:cxn>
                <a:cxn ang="0">
                  <a:pos x="14" y="0"/>
                </a:cxn>
                <a:cxn ang="0">
                  <a:pos x="7" y="2"/>
                </a:cxn>
                <a:cxn ang="0">
                  <a:pos x="7" y="2"/>
                </a:cxn>
              </a:cxnLst>
              <a:rect l="0" t="0" r="r" b="b"/>
              <a:pathLst>
                <a:path w="52" h="58">
                  <a:moveTo>
                    <a:pt x="7" y="2"/>
                  </a:moveTo>
                  <a:lnTo>
                    <a:pt x="7" y="2"/>
                  </a:lnTo>
                  <a:lnTo>
                    <a:pt x="5" y="5"/>
                  </a:lnTo>
                  <a:lnTo>
                    <a:pt x="1" y="11"/>
                  </a:lnTo>
                  <a:lnTo>
                    <a:pt x="0" y="21"/>
                  </a:lnTo>
                  <a:lnTo>
                    <a:pt x="0" y="33"/>
                  </a:lnTo>
                  <a:lnTo>
                    <a:pt x="0" y="33"/>
                  </a:lnTo>
                  <a:lnTo>
                    <a:pt x="0" y="39"/>
                  </a:lnTo>
                  <a:lnTo>
                    <a:pt x="1" y="46"/>
                  </a:lnTo>
                  <a:lnTo>
                    <a:pt x="3" y="51"/>
                  </a:lnTo>
                  <a:lnTo>
                    <a:pt x="7" y="55"/>
                  </a:lnTo>
                  <a:lnTo>
                    <a:pt x="14" y="58"/>
                  </a:lnTo>
                  <a:lnTo>
                    <a:pt x="21" y="58"/>
                  </a:lnTo>
                  <a:lnTo>
                    <a:pt x="21" y="58"/>
                  </a:lnTo>
                  <a:lnTo>
                    <a:pt x="30" y="58"/>
                  </a:lnTo>
                  <a:lnTo>
                    <a:pt x="38" y="56"/>
                  </a:lnTo>
                  <a:lnTo>
                    <a:pt x="44" y="55"/>
                  </a:lnTo>
                  <a:lnTo>
                    <a:pt x="49" y="51"/>
                  </a:lnTo>
                  <a:lnTo>
                    <a:pt x="52" y="46"/>
                  </a:lnTo>
                  <a:lnTo>
                    <a:pt x="52" y="42"/>
                  </a:lnTo>
                  <a:lnTo>
                    <a:pt x="52" y="39"/>
                  </a:lnTo>
                  <a:lnTo>
                    <a:pt x="49" y="33"/>
                  </a:lnTo>
                  <a:lnTo>
                    <a:pt x="49" y="33"/>
                  </a:lnTo>
                  <a:lnTo>
                    <a:pt x="40" y="23"/>
                  </a:lnTo>
                  <a:lnTo>
                    <a:pt x="31" y="11"/>
                  </a:lnTo>
                  <a:lnTo>
                    <a:pt x="26" y="5"/>
                  </a:lnTo>
                  <a:lnTo>
                    <a:pt x="19" y="2"/>
                  </a:lnTo>
                  <a:lnTo>
                    <a:pt x="14" y="0"/>
                  </a:lnTo>
                  <a:lnTo>
                    <a:pt x="7" y="2"/>
                  </a:lnTo>
                  <a:lnTo>
                    <a:pt x="7"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2" name="Freeform 58">
              <a:extLst>
                <a:ext uri="{FF2B5EF4-FFF2-40B4-BE49-F238E27FC236}">
                  <a16:creationId xmlns:a16="http://schemas.microsoft.com/office/drawing/2014/main" id="{C1F1E92B-605C-45EA-BB53-1C022B4C3EC4}"/>
                </a:ext>
              </a:extLst>
            </p:cNvPr>
            <p:cNvSpPr>
              <a:spLocks/>
            </p:cNvSpPr>
            <p:nvPr/>
          </p:nvSpPr>
          <p:spPr bwMode="auto">
            <a:xfrm>
              <a:off x="2362666" y="3327301"/>
              <a:ext cx="33906" cy="49968"/>
            </a:xfrm>
            <a:custGeom>
              <a:avLst/>
              <a:gdLst/>
              <a:ahLst/>
              <a:cxnLst>
                <a:cxn ang="0">
                  <a:pos x="11" y="2"/>
                </a:cxn>
                <a:cxn ang="0">
                  <a:pos x="11" y="2"/>
                </a:cxn>
                <a:cxn ang="0">
                  <a:pos x="5" y="14"/>
                </a:cxn>
                <a:cxn ang="0">
                  <a:pos x="2" y="27"/>
                </a:cxn>
                <a:cxn ang="0">
                  <a:pos x="0" y="37"/>
                </a:cxn>
                <a:cxn ang="0">
                  <a:pos x="0" y="37"/>
                </a:cxn>
                <a:cxn ang="0">
                  <a:pos x="2" y="41"/>
                </a:cxn>
                <a:cxn ang="0">
                  <a:pos x="5" y="46"/>
                </a:cxn>
                <a:cxn ang="0">
                  <a:pos x="9" y="49"/>
                </a:cxn>
                <a:cxn ang="0">
                  <a:pos x="14" y="55"/>
                </a:cxn>
                <a:cxn ang="0">
                  <a:pos x="19" y="57"/>
                </a:cxn>
                <a:cxn ang="0">
                  <a:pos x="26" y="57"/>
                </a:cxn>
                <a:cxn ang="0">
                  <a:pos x="32" y="55"/>
                </a:cxn>
                <a:cxn ang="0">
                  <a:pos x="35" y="51"/>
                </a:cxn>
                <a:cxn ang="0">
                  <a:pos x="35" y="51"/>
                </a:cxn>
                <a:cxn ang="0">
                  <a:pos x="39" y="44"/>
                </a:cxn>
                <a:cxn ang="0">
                  <a:pos x="39" y="39"/>
                </a:cxn>
                <a:cxn ang="0">
                  <a:pos x="37" y="34"/>
                </a:cxn>
                <a:cxn ang="0">
                  <a:pos x="35" y="28"/>
                </a:cxn>
                <a:cxn ang="0">
                  <a:pos x="28" y="21"/>
                </a:cxn>
                <a:cxn ang="0">
                  <a:pos x="25" y="20"/>
                </a:cxn>
                <a:cxn ang="0">
                  <a:pos x="25" y="20"/>
                </a:cxn>
                <a:cxn ang="0">
                  <a:pos x="25" y="16"/>
                </a:cxn>
                <a:cxn ang="0">
                  <a:pos x="23" y="7"/>
                </a:cxn>
                <a:cxn ang="0">
                  <a:pos x="21" y="4"/>
                </a:cxn>
                <a:cxn ang="0">
                  <a:pos x="19" y="2"/>
                </a:cxn>
                <a:cxn ang="0">
                  <a:pos x="16" y="0"/>
                </a:cxn>
                <a:cxn ang="0">
                  <a:pos x="11" y="2"/>
                </a:cxn>
                <a:cxn ang="0">
                  <a:pos x="11" y="2"/>
                </a:cxn>
              </a:cxnLst>
              <a:rect l="0" t="0" r="r" b="b"/>
              <a:pathLst>
                <a:path w="39" h="57">
                  <a:moveTo>
                    <a:pt x="11" y="2"/>
                  </a:moveTo>
                  <a:lnTo>
                    <a:pt x="11" y="2"/>
                  </a:lnTo>
                  <a:lnTo>
                    <a:pt x="5" y="14"/>
                  </a:lnTo>
                  <a:lnTo>
                    <a:pt x="2" y="27"/>
                  </a:lnTo>
                  <a:lnTo>
                    <a:pt x="0" y="37"/>
                  </a:lnTo>
                  <a:lnTo>
                    <a:pt x="0" y="37"/>
                  </a:lnTo>
                  <a:lnTo>
                    <a:pt x="2" y="41"/>
                  </a:lnTo>
                  <a:lnTo>
                    <a:pt x="5" y="46"/>
                  </a:lnTo>
                  <a:lnTo>
                    <a:pt x="9" y="49"/>
                  </a:lnTo>
                  <a:lnTo>
                    <a:pt x="14" y="55"/>
                  </a:lnTo>
                  <a:lnTo>
                    <a:pt x="19" y="57"/>
                  </a:lnTo>
                  <a:lnTo>
                    <a:pt x="26" y="57"/>
                  </a:lnTo>
                  <a:lnTo>
                    <a:pt x="32" y="55"/>
                  </a:lnTo>
                  <a:lnTo>
                    <a:pt x="35" y="51"/>
                  </a:lnTo>
                  <a:lnTo>
                    <a:pt x="35" y="51"/>
                  </a:lnTo>
                  <a:lnTo>
                    <a:pt x="39" y="44"/>
                  </a:lnTo>
                  <a:lnTo>
                    <a:pt x="39" y="39"/>
                  </a:lnTo>
                  <a:lnTo>
                    <a:pt x="37" y="34"/>
                  </a:lnTo>
                  <a:lnTo>
                    <a:pt x="35" y="28"/>
                  </a:lnTo>
                  <a:lnTo>
                    <a:pt x="28" y="21"/>
                  </a:lnTo>
                  <a:lnTo>
                    <a:pt x="25" y="20"/>
                  </a:lnTo>
                  <a:lnTo>
                    <a:pt x="25" y="20"/>
                  </a:lnTo>
                  <a:lnTo>
                    <a:pt x="25" y="16"/>
                  </a:lnTo>
                  <a:lnTo>
                    <a:pt x="23" y="7"/>
                  </a:lnTo>
                  <a:lnTo>
                    <a:pt x="21" y="4"/>
                  </a:lnTo>
                  <a:lnTo>
                    <a:pt x="19" y="2"/>
                  </a:lnTo>
                  <a:lnTo>
                    <a:pt x="16" y="0"/>
                  </a:lnTo>
                  <a:lnTo>
                    <a:pt x="11" y="2"/>
                  </a:lnTo>
                  <a:lnTo>
                    <a:pt x="11" y="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3" name="Freeform 59">
              <a:extLst>
                <a:ext uri="{FF2B5EF4-FFF2-40B4-BE49-F238E27FC236}">
                  <a16:creationId xmlns:a16="http://schemas.microsoft.com/office/drawing/2014/main" id="{7735E6F9-F768-4C65-B988-2971023FC74C}"/>
                </a:ext>
              </a:extLst>
            </p:cNvPr>
            <p:cNvSpPr>
              <a:spLocks/>
            </p:cNvSpPr>
            <p:nvPr/>
          </p:nvSpPr>
          <p:spPr bwMode="auto">
            <a:xfrm>
              <a:off x="2708870" y="2392193"/>
              <a:ext cx="39260" cy="28553"/>
            </a:xfrm>
            <a:custGeom>
              <a:avLst/>
              <a:gdLst/>
              <a:ahLst/>
              <a:cxnLst>
                <a:cxn ang="0">
                  <a:pos x="20" y="0"/>
                </a:cxn>
                <a:cxn ang="0">
                  <a:pos x="20" y="0"/>
                </a:cxn>
                <a:cxn ang="0">
                  <a:pos x="16" y="2"/>
                </a:cxn>
                <a:cxn ang="0">
                  <a:pos x="7" y="5"/>
                </a:cxn>
                <a:cxn ang="0">
                  <a:pos x="4" y="7"/>
                </a:cxn>
                <a:cxn ang="0">
                  <a:pos x="2" y="10"/>
                </a:cxn>
                <a:cxn ang="0">
                  <a:pos x="0" y="14"/>
                </a:cxn>
                <a:cxn ang="0">
                  <a:pos x="2" y="18"/>
                </a:cxn>
                <a:cxn ang="0">
                  <a:pos x="2" y="18"/>
                </a:cxn>
                <a:cxn ang="0">
                  <a:pos x="6" y="21"/>
                </a:cxn>
                <a:cxn ang="0">
                  <a:pos x="9" y="25"/>
                </a:cxn>
                <a:cxn ang="0">
                  <a:pos x="20" y="28"/>
                </a:cxn>
                <a:cxn ang="0">
                  <a:pos x="34" y="32"/>
                </a:cxn>
                <a:cxn ang="0">
                  <a:pos x="34" y="32"/>
                </a:cxn>
                <a:cxn ang="0">
                  <a:pos x="37" y="26"/>
                </a:cxn>
                <a:cxn ang="0">
                  <a:pos x="41" y="23"/>
                </a:cxn>
                <a:cxn ang="0">
                  <a:pos x="44" y="18"/>
                </a:cxn>
                <a:cxn ang="0">
                  <a:pos x="44" y="12"/>
                </a:cxn>
                <a:cxn ang="0">
                  <a:pos x="41" y="7"/>
                </a:cxn>
                <a:cxn ang="0">
                  <a:pos x="34" y="2"/>
                </a:cxn>
                <a:cxn ang="0">
                  <a:pos x="20" y="0"/>
                </a:cxn>
                <a:cxn ang="0">
                  <a:pos x="20" y="0"/>
                </a:cxn>
              </a:cxnLst>
              <a:rect l="0" t="0" r="r" b="b"/>
              <a:pathLst>
                <a:path w="44" h="32">
                  <a:moveTo>
                    <a:pt x="20" y="0"/>
                  </a:moveTo>
                  <a:lnTo>
                    <a:pt x="20" y="0"/>
                  </a:lnTo>
                  <a:lnTo>
                    <a:pt x="16" y="2"/>
                  </a:lnTo>
                  <a:lnTo>
                    <a:pt x="7" y="5"/>
                  </a:lnTo>
                  <a:lnTo>
                    <a:pt x="4" y="7"/>
                  </a:lnTo>
                  <a:lnTo>
                    <a:pt x="2" y="10"/>
                  </a:lnTo>
                  <a:lnTo>
                    <a:pt x="0" y="14"/>
                  </a:lnTo>
                  <a:lnTo>
                    <a:pt x="2" y="18"/>
                  </a:lnTo>
                  <a:lnTo>
                    <a:pt x="2" y="18"/>
                  </a:lnTo>
                  <a:lnTo>
                    <a:pt x="6" y="21"/>
                  </a:lnTo>
                  <a:lnTo>
                    <a:pt x="9" y="25"/>
                  </a:lnTo>
                  <a:lnTo>
                    <a:pt x="20" y="28"/>
                  </a:lnTo>
                  <a:lnTo>
                    <a:pt x="34" y="32"/>
                  </a:lnTo>
                  <a:lnTo>
                    <a:pt x="34" y="32"/>
                  </a:lnTo>
                  <a:lnTo>
                    <a:pt x="37" y="26"/>
                  </a:lnTo>
                  <a:lnTo>
                    <a:pt x="41" y="23"/>
                  </a:lnTo>
                  <a:lnTo>
                    <a:pt x="44" y="18"/>
                  </a:lnTo>
                  <a:lnTo>
                    <a:pt x="44" y="12"/>
                  </a:lnTo>
                  <a:lnTo>
                    <a:pt x="41" y="7"/>
                  </a:lnTo>
                  <a:lnTo>
                    <a:pt x="34" y="2"/>
                  </a:lnTo>
                  <a:lnTo>
                    <a:pt x="20" y="0"/>
                  </a:lnTo>
                  <a:lnTo>
                    <a:pt x="2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4" name="Freeform 60">
              <a:extLst>
                <a:ext uri="{FF2B5EF4-FFF2-40B4-BE49-F238E27FC236}">
                  <a16:creationId xmlns:a16="http://schemas.microsoft.com/office/drawing/2014/main" id="{73A275A2-79CC-4FDA-922A-2983232F5A52}"/>
                </a:ext>
              </a:extLst>
            </p:cNvPr>
            <p:cNvSpPr>
              <a:spLocks/>
            </p:cNvSpPr>
            <p:nvPr/>
          </p:nvSpPr>
          <p:spPr bwMode="auto">
            <a:xfrm>
              <a:off x="2649980" y="2370779"/>
              <a:ext cx="17846" cy="12492"/>
            </a:xfrm>
            <a:custGeom>
              <a:avLst/>
              <a:gdLst/>
              <a:ahLst/>
              <a:cxnLst>
                <a:cxn ang="0">
                  <a:pos x="0" y="0"/>
                </a:cxn>
                <a:cxn ang="0">
                  <a:pos x="7" y="14"/>
                </a:cxn>
                <a:cxn ang="0">
                  <a:pos x="7" y="14"/>
                </a:cxn>
                <a:cxn ang="0">
                  <a:pos x="11" y="11"/>
                </a:cxn>
                <a:cxn ang="0">
                  <a:pos x="18" y="6"/>
                </a:cxn>
                <a:cxn ang="0">
                  <a:pos x="20" y="4"/>
                </a:cxn>
                <a:cxn ang="0">
                  <a:pos x="18" y="0"/>
                </a:cxn>
                <a:cxn ang="0">
                  <a:pos x="11" y="0"/>
                </a:cxn>
                <a:cxn ang="0">
                  <a:pos x="0" y="0"/>
                </a:cxn>
                <a:cxn ang="0">
                  <a:pos x="0" y="0"/>
                </a:cxn>
              </a:cxnLst>
              <a:rect l="0" t="0" r="r" b="b"/>
              <a:pathLst>
                <a:path w="20" h="14">
                  <a:moveTo>
                    <a:pt x="0" y="0"/>
                  </a:moveTo>
                  <a:lnTo>
                    <a:pt x="7" y="14"/>
                  </a:lnTo>
                  <a:lnTo>
                    <a:pt x="7" y="14"/>
                  </a:lnTo>
                  <a:lnTo>
                    <a:pt x="11" y="11"/>
                  </a:lnTo>
                  <a:lnTo>
                    <a:pt x="18" y="6"/>
                  </a:lnTo>
                  <a:lnTo>
                    <a:pt x="20" y="4"/>
                  </a:lnTo>
                  <a:lnTo>
                    <a:pt x="18" y="0"/>
                  </a:lnTo>
                  <a:lnTo>
                    <a:pt x="11" y="0"/>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5" name="Freeform 61">
              <a:extLst>
                <a:ext uri="{FF2B5EF4-FFF2-40B4-BE49-F238E27FC236}">
                  <a16:creationId xmlns:a16="http://schemas.microsoft.com/office/drawing/2014/main" id="{E2D28787-1D5B-46FE-B070-8C3AD4C0A3D5}"/>
                </a:ext>
              </a:extLst>
            </p:cNvPr>
            <p:cNvSpPr>
              <a:spLocks/>
            </p:cNvSpPr>
            <p:nvPr/>
          </p:nvSpPr>
          <p:spPr bwMode="auto">
            <a:xfrm>
              <a:off x="2867696" y="2390409"/>
              <a:ext cx="26768" cy="33907"/>
            </a:xfrm>
            <a:custGeom>
              <a:avLst/>
              <a:gdLst/>
              <a:ahLst/>
              <a:cxnLst>
                <a:cxn ang="0">
                  <a:pos x="18" y="0"/>
                </a:cxn>
                <a:cxn ang="0">
                  <a:pos x="0" y="22"/>
                </a:cxn>
                <a:cxn ang="0">
                  <a:pos x="0" y="22"/>
                </a:cxn>
                <a:cxn ang="0">
                  <a:pos x="2" y="27"/>
                </a:cxn>
                <a:cxn ang="0">
                  <a:pos x="7" y="34"/>
                </a:cxn>
                <a:cxn ang="0">
                  <a:pos x="11" y="37"/>
                </a:cxn>
                <a:cxn ang="0">
                  <a:pos x="14" y="39"/>
                </a:cxn>
                <a:cxn ang="0">
                  <a:pos x="18" y="37"/>
                </a:cxn>
                <a:cxn ang="0">
                  <a:pos x="21" y="32"/>
                </a:cxn>
                <a:cxn ang="0">
                  <a:pos x="21" y="32"/>
                </a:cxn>
                <a:cxn ang="0">
                  <a:pos x="27" y="18"/>
                </a:cxn>
                <a:cxn ang="0">
                  <a:pos x="32" y="7"/>
                </a:cxn>
                <a:cxn ang="0">
                  <a:pos x="32" y="4"/>
                </a:cxn>
                <a:cxn ang="0">
                  <a:pos x="30" y="0"/>
                </a:cxn>
                <a:cxn ang="0">
                  <a:pos x="25" y="0"/>
                </a:cxn>
                <a:cxn ang="0">
                  <a:pos x="18" y="0"/>
                </a:cxn>
                <a:cxn ang="0">
                  <a:pos x="18" y="0"/>
                </a:cxn>
              </a:cxnLst>
              <a:rect l="0" t="0" r="r" b="b"/>
              <a:pathLst>
                <a:path w="32" h="39">
                  <a:moveTo>
                    <a:pt x="18" y="0"/>
                  </a:moveTo>
                  <a:lnTo>
                    <a:pt x="0" y="22"/>
                  </a:lnTo>
                  <a:lnTo>
                    <a:pt x="0" y="22"/>
                  </a:lnTo>
                  <a:lnTo>
                    <a:pt x="2" y="27"/>
                  </a:lnTo>
                  <a:lnTo>
                    <a:pt x="7" y="34"/>
                  </a:lnTo>
                  <a:lnTo>
                    <a:pt x="11" y="37"/>
                  </a:lnTo>
                  <a:lnTo>
                    <a:pt x="14" y="39"/>
                  </a:lnTo>
                  <a:lnTo>
                    <a:pt x="18" y="37"/>
                  </a:lnTo>
                  <a:lnTo>
                    <a:pt x="21" y="32"/>
                  </a:lnTo>
                  <a:lnTo>
                    <a:pt x="21" y="32"/>
                  </a:lnTo>
                  <a:lnTo>
                    <a:pt x="27" y="18"/>
                  </a:lnTo>
                  <a:lnTo>
                    <a:pt x="32" y="7"/>
                  </a:lnTo>
                  <a:lnTo>
                    <a:pt x="32" y="4"/>
                  </a:lnTo>
                  <a:lnTo>
                    <a:pt x="30" y="0"/>
                  </a:lnTo>
                  <a:lnTo>
                    <a:pt x="25" y="0"/>
                  </a:lnTo>
                  <a:lnTo>
                    <a:pt x="18" y="0"/>
                  </a:lnTo>
                  <a:lnTo>
                    <a:pt x="1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6" name="Freeform 62">
              <a:extLst>
                <a:ext uri="{FF2B5EF4-FFF2-40B4-BE49-F238E27FC236}">
                  <a16:creationId xmlns:a16="http://schemas.microsoft.com/office/drawing/2014/main" id="{6A5AAD00-73A3-4D47-8F54-5CE1505474A1}"/>
                </a:ext>
              </a:extLst>
            </p:cNvPr>
            <p:cNvSpPr>
              <a:spLocks/>
            </p:cNvSpPr>
            <p:nvPr/>
          </p:nvSpPr>
          <p:spPr bwMode="auto">
            <a:xfrm>
              <a:off x="2905171" y="2336873"/>
              <a:ext cx="14276" cy="30338"/>
            </a:xfrm>
            <a:custGeom>
              <a:avLst/>
              <a:gdLst/>
              <a:ahLst/>
              <a:cxnLst>
                <a:cxn ang="0">
                  <a:pos x="0" y="0"/>
                </a:cxn>
                <a:cxn ang="0">
                  <a:pos x="8" y="35"/>
                </a:cxn>
                <a:cxn ang="0">
                  <a:pos x="8" y="35"/>
                </a:cxn>
                <a:cxn ang="0">
                  <a:pos x="11" y="29"/>
                </a:cxn>
                <a:cxn ang="0">
                  <a:pos x="16" y="17"/>
                </a:cxn>
                <a:cxn ang="0">
                  <a:pos x="16" y="10"/>
                </a:cxn>
                <a:cxn ang="0">
                  <a:pos x="15" y="5"/>
                </a:cxn>
                <a:cxn ang="0">
                  <a:pos x="9" y="1"/>
                </a:cxn>
                <a:cxn ang="0">
                  <a:pos x="0" y="0"/>
                </a:cxn>
                <a:cxn ang="0">
                  <a:pos x="0" y="0"/>
                </a:cxn>
              </a:cxnLst>
              <a:rect l="0" t="0" r="r" b="b"/>
              <a:pathLst>
                <a:path w="16" h="35">
                  <a:moveTo>
                    <a:pt x="0" y="0"/>
                  </a:moveTo>
                  <a:lnTo>
                    <a:pt x="8" y="35"/>
                  </a:lnTo>
                  <a:lnTo>
                    <a:pt x="8" y="35"/>
                  </a:lnTo>
                  <a:lnTo>
                    <a:pt x="11" y="29"/>
                  </a:lnTo>
                  <a:lnTo>
                    <a:pt x="16" y="17"/>
                  </a:lnTo>
                  <a:lnTo>
                    <a:pt x="16" y="10"/>
                  </a:lnTo>
                  <a:lnTo>
                    <a:pt x="15" y="5"/>
                  </a:lnTo>
                  <a:lnTo>
                    <a:pt x="9" y="1"/>
                  </a:lnTo>
                  <a:lnTo>
                    <a:pt x="0" y="0"/>
                  </a:lnTo>
                  <a:lnTo>
                    <a:pt x="0"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7" name="Freeform 63">
              <a:extLst>
                <a:ext uri="{FF2B5EF4-FFF2-40B4-BE49-F238E27FC236}">
                  <a16:creationId xmlns:a16="http://schemas.microsoft.com/office/drawing/2014/main" id="{427D4DF0-25FE-4F5C-9BF6-CB7E0150C8D0}"/>
                </a:ext>
              </a:extLst>
            </p:cNvPr>
            <p:cNvSpPr>
              <a:spLocks/>
            </p:cNvSpPr>
            <p:nvPr/>
          </p:nvSpPr>
          <p:spPr bwMode="auto">
            <a:xfrm>
              <a:off x="2748130" y="2049558"/>
              <a:ext cx="24984" cy="37476"/>
            </a:xfrm>
            <a:custGeom>
              <a:avLst/>
              <a:gdLst/>
              <a:ahLst/>
              <a:cxnLst>
                <a:cxn ang="0">
                  <a:pos x="4" y="0"/>
                </a:cxn>
                <a:cxn ang="0">
                  <a:pos x="0" y="18"/>
                </a:cxn>
                <a:cxn ang="0">
                  <a:pos x="0" y="18"/>
                </a:cxn>
                <a:cxn ang="0">
                  <a:pos x="4" y="23"/>
                </a:cxn>
                <a:cxn ang="0">
                  <a:pos x="14" y="33"/>
                </a:cxn>
                <a:cxn ang="0">
                  <a:pos x="20" y="37"/>
                </a:cxn>
                <a:cxn ang="0">
                  <a:pos x="23" y="40"/>
                </a:cxn>
                <a:cxn ang="0">
                  <a:pos x="27" y="39"/>
                </a:cxn>
                <a:cxn ang="0">
                  <a:pos x="29" y="35"/>
                </a:cxn>
                <a:cxn ang="0">
                  <a:pos x="29" y="35"/>
                </a:cxn>
                <a:cxn ang="0">
                  <a:pos x="27" y="23"/>
                </a:cxn>
                <a:cxn ang="0">
                  <a:pos x="23" y="12"/>
                </a:cxn>
                <a:cxn ang="0">
                  <a:pos x="20" y="9"/>
                </a:cxn>
                <a:cxn ang="0">
                  <a:pos x="14" y="5"/>
                </a:cxn>
                <a:cxn ang="0">
                  <a:pos x="9" y="2"/>
                </a:cxn>
                <a:cxn ang="0">
                  <a:pos x="4" y="0"/>
                </a:cxn>
                <a:cxn ang="0">
                  <a:pos x="4" y="0"/>
                </a:cxn>
              </a:cxnLst>
              <a:rect l="0" t="0" r="r" b="b"/>
              <a:pathLst>
                <a:path w="29" h="40">
                  <a:moveTo>
                    <a:pt x="4" y="0"/>
                  </a:moveTo>
                  <a:lnTo>
                    <a:pt x="0" y="18"/>
                  </a:lnTo>
                  <a:lnTo>
                    <a:pt x="0" y="18"/>
                  </a:lnTo>
                  <a:lnTo>
                    <a:pt x="4" y="23"/>
                  </a:lnTo>
                  <a:lnTo>
                    <a:pt x="14" y="33"/>
                  </a:lnTo>
                  <a:lnTo>
                    <a:pt x="20" y="37"/>
                  </a:lnTo>
                  <a:lnTo>
                    <a:pt x="23" y="40"/>
                  </a:lnTo>
                  <a:lnTo>
                    <a:pt x="27" y="39"/>
                  </a:lnTo>
                  <a:lnTo>
                    <a:pt x="29" y="35"/>
                  </a:lnTo>
                  <a:lnTo>
                    <a:pt x="29" y="35"/>
                  </a:lnTo>
                  <a:lnTo>
                    <a:pt x="27" y="23"/>
                  </a:lnTo>
                  <a:lnTo>
                    <a:pt x="23" y="12"/>
                  </a:lnTo>
                  <a:lnTo>
                    <a:pt x="20" y="9"/>
                  </a:lnTo>
                  <a:lnTo>
                    <a:pt x="14" y="5"/>
                  </a:lnTo>
                  <a:lnTo>
                    <a:pt x="9" y="2"/>
                  </a:lnTo>
                  <a:lnTo>
                    <a:pt x="4" y="0"/>
                  </a:lnTo>
                  <a:lnTo>
                    <a:pt x="4"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8" name="Freeform 72">
              <a:extLst>
                <a:ext uri="{FF2B5EF4-FFF2-40B4-BE49-F238E27FC236}">
                  <a16:creationId xmlns:a16="http://schemas.microsoft.com/office/drawing/2014/main" id="{8A9FF8AE-21B2-4EDC-93F7-8FCE1F0ECAEB}"/>
                </a:ext>
              </a:extLst>
            </p:cNvPr>
            <p:cNvSpPr>
              <a:spLocks/>
            </p:cNvSpPr>
            <p:nvPr/>
          </p:nvSpPr>
          <p:spPr bwMode="auto">
            <a:xfrm>
              <a:off x="2692810" y="3350501"/>
              <a:ext cx="176671" cy="49968"/>
            </a:xfrm>
            <a:custGeom>
              <a:avLst/>
              <a:gdLst/>
              <a:ahLst/>
              <a:cxnLst>
                <a:cxn ang="0">
                  <a:pos x="21" y="5"/>
                </a:cxn>
                <a:cxn ang="0">
                  <a:pos x="21" y="5"/>
                </a:cxn>
                <a:cxn ang="0">
                  <a:pos x="24" y="3"/>
                </a:cxn>
                <a:cxn ang="0">
                  <a:pos x="31" y="1"/>
                </a:cxn>
                <a:cxn ang="0">
                  <a:pos x="47" y="0"/>
                </a:cxn>
                <a:cxn ang="0">
                  <a:pos x="58" y="1"/>
                </a:cxn>
                <a:cxn ang="0">
                  <a:pos x="70" y="3"/>
                </a:cxn>
                <a:cxn ang="0">
                  <a:pos x="70" y="3"/>
                </a:cxn>
                <a:cxn ang="0">
                  <a:pos x="91" y="7"/>
                </a:cxn>
                <a:cxn ang="0">
                  <a:pos x="109" y="7"/>
                </a:cxn>
                <a:cxn ang="0">
                  <a:pos x="125" y="7"/>
                </a:cxn>
                <a:cxn ang="0">
                  <a:pos x="142" y="7"/>
                </a:cxn>
                <a:cxn ang="0">
                  <a:pos x="142" y="7"/>
                </a:cxn>
                <a:cxn ang="0">
                  <a:pos x="164" y="7"/>
                </a:cxn>
                <a:cxn ang="0">
                  <a:pos x="185" y="7"/>
                </a:cxn>
                <a:cxn ang="0">
                  <a:pos x="192" y="8"/>
                </a:cxn>
                <a:cxn ang="0">
                  <a:pos x="197" y="10"/>
                </a:cxn>
                <a:cxn ang="0">
                  <a:pos x="199" y="12"/>
                </a:cxn>
                <a:cxn ang="0">
                  <a:pos x="199" y="15"/>
                </a:cxn>
                <a:cxn ang="0">
                  <a:pos x="197" y="21"/>
                </a:cxn>
                <a:cxn ang="0">
                  <a:pos x="197" y="21"/>
                </a:cxn>
                <a:cxn ang="0">
                  <a:pos x="190" y="35"/>
                </a:cxn>
                <a:cxn ang="0">
                  <a:pos x="186" y="44"/>
                </a:cxn>
                <a:cxn ang="0">
                  <a:pos x="185" y="47"/>
                </a:cxn>
                <a:cxn ang="0">
                  <a:pos x="179" y="51"/>
                </a:cxn>
                <a:cxn ang="0">
                  <a:pos x="174" y="52"/>
                </a:cxn>
                <a:cxn ang="0">
                  <a:pos x="165" y="54"/>
                </a:cxn>
                <a:cxn ang="0">
                  <a:pos x="165" y="54"/>
                </a:cxn>
                <a:cxn ang="0">
                  <a:pos x="158" y="54"/>
                </a:cxn>
                <a:cxn ang="0">
                  <a:pos x="153" y="54"/>
                </a:cxn>
                <a:cxn ang="0">
                  <a:pos x="149" y="52"/>
                </a:cxn>
                <a:cxn ang="0">
                  <a:pos x="148" y="51"/>
                </a:cxn>
                <a:cxn ang="0">
                  <a:pos x="144" y="45"/>
                </a:cxn>
                <a:cxn ang="0">
                  <a:pos x="142" y="44"/>
                </a:cxn>
                <a:cxn ang="0">
                  <a:pos x="137" y="42"/>
                </a:cxn>
                <a:cxn ang="0">
                  <a:pos x="137" y="42"/>
                </a:cxn>
                <a:cxn ang="0">
                  <a:pos x="125" y="42"/>
                </a:cxn>
                <a:cxn ang="0">
                  <a:pos x="111" y="38"/>
                </a:cxn>
                <a:cxn ang="0">
                  <a:pos x="95" y="38"/>
                </a:cxn>
                <a:cxn ang="0">
                  <a:pos x="86" y="40"/>
                </a:cxn>
                <a:cxn ang="0">
                  <a:pos x="79" y="42"/>
                </a:cxn>
                <a:cxn ang="0">
                  <a:pos x="79" y="42"/>
                </a:cxn>
                <a:cxn ang="0">
                  <a:pos x="65" y="49"/>
                </a:cxn>
                <a:cxn ang="0">
                  <a:pos x="53" y="52"/>
                </a:cxn>
                <a:cxn ang="0">
                  <a:pos x="40" y="54"/>
                </a:cxn>
                <a:cxn ang="0">
                  <a:pos x="30" y="54"/>
                </a:cxn>
                <a:cxn ang="0">
                  <a:pos x="30" y="54"/>
                </a:cxn>
                <a:cxn ang="0">
                  <a:pos x="9" y="54"/>
                </a:cxn>
                <a:cxn ang="0">
                  <a:pos x="0" y="56"/>
                </a:cxn>
                <a:cxn ang="0">
                  <a:pos x="0" y="56"/>
                </a:cxn>
                <a:cxn ang="0">
                  <a:pos x="10" y="42"/>
                </a:cxn>
                <a:cxn ang="0">
                  <a:pos x="19" y="31"/>
                </a:cxn>
                <a:cxn ang="0">
                  <a:pos x="21" y="28"/>
                </a:cxn>
                <a:cxn ang="0">
                  <a:pos x="23" y="24"/>
                </a:cxn>
                <a:cxn ang="0">
                  <a:pos x="23" y="24"/>
                </a:cxn>
                <a:cxn ang="0">
                  <a:pos x="23" y="21"/>
                </a:cxn>
                <a:cxn ang="0">
                  <a:pos x="26" y="19"/>
                </a:cxn>
                <a:cxn ang="0">
                  <a:pos x="30" y="14"/>
                </a:cxn>
                <a:cxn ang="0">
                  <a:pos x="31" y="10"/>
                </a:cxn>
                <a:cxn ang="0">
                  <a:pos x="30" y="8"/>
                </a:cxn>
                <a:cxn ang="0">
                  <a:pos x="28" y="7"/>
                </a:cxn>
                <a:cxn ang="0">
                  <a:pos x="21" y="5"/>
                </a:cxn>
                <a:cxn ang="0">
                  <a:pos x="21" y="5"/>
                </a:cxn>
              </a:cxnLst>
              <a:rect l="0" t="0" r="r" b="b"/>
              <a:pathLst>
                <a:path w="199" h="56">
                  <a:moveTo>
                    <a:pt x="21" y="5"/>
                  </a:moveTo>
                  <a:lnTo>
                    <a:pt x="21" y="5"/>
                  </a:lnTo>
                  <a:lnTo>
                    <a:pt x="24" y="3"/>
                  </a:lnTo>
                  <a:lnTo>
                    <a:pt x="31" y="1"/>
                  </a:lnTo>
                  <a:lnTo>
                    <a:pt x="47" y="0"/>
                  </a:lnTo>
                  <a:lnTo>
                    <a:pt x="58" y="1"/>
                  </a:lnTo>
                  <a:lnTo>
                    <a:pt x="70" y="3"/>
                  </a:lnTo>
                  <a:lnTo>
                    <a:pt x="70" y="3"/>
                  </a:lnTo>
                  <a:lnTo>
                    <a:pt x="91" y="7"/>
                  </a:lnTo>
                  <a:lnTo>
                    <a:pt x="109" y="7"/>
                  </a:lnTo>
                  <a:lnTo>
                    <a:pt x="125" y="7"/>
                  </a:lnTo>
                  <a:lnTo>
                    <a:pt x="142" y="7"/>
                  </a:lnTo>
                  <a:lnTo>
                    <a:pt x="142" y="7"/>
                  </a:lnTo>
                  <a:lnTo>
                    <a:pt x="164" y="7"/>
                  </a:lnTo>
                  <a:lnTo>
                    <a:pt x="185" y="7"/>
                  </a:lnTo>
                  <a:lnTo>
                    <a:pt x="192" y="8"/>
                  </a:lnTo>
                  <a:lnTo>
                    <a:pt x="197" y="10"/>
                  </a:lnTo>
                  <a:lnTo>
                    <a:pt x="199" y="12"/>
                  </a:lnTo>
                  <a:lnTo>
                    <a:pt x="199" y="15"/>
                  </a:lnTo>
                  <a:lnTo>
                    <a:pt x="197" y="21"/>
                  </a:lnTo>
                  <a:lnTo>
                    <a:pt x="197" y="21"/>
                  </a:lnTo>
                  <a:lnTo>
                    <a:pt x="190" y="35"/>
                  </a:lnTo>
                  <a:lnTo>
                    <a:pt x="186" y="44"/>
                  </a:lnTo>
                  <a:lnTo>
                    <a:pt x="185" y="47"/>
                  </a:lnTo>
                  <a:lnTo>
                    <a:pt x="179" y="51"/>
                  </a:lnTo>
                  <a:lnTo>
                    <a:pt x="174" y="52"/>
                  </a:lnTo>
                  <a:lnTo>
                    <a:pt x="165" y="54"/>
                  </a:lnTo>
                  <a:lnTo>
                    <a:pt x="165" y="54"/>
                  </a:lnTo>
                  <a:lnTo>
                    <a:pt x="158" y="54"/>
                  </a:lnTo>
                  <a:lnTo>
                    <a:pt x="153" y="54"/>
                  </a:lnTo>
                  <a:lnTo>
                    <a:pt x="149" y="52"/>
                  </a:lnTo>
                  <a:lnTo>
                    <a:pt x="148" y="51"/>
                  </a:lnTo>
                  <a:lnTo>
                    <a:pt x="144" y="45"/>
                  </a:lnTo>
                  <a:lnTo>
                    <a:pt x="142" y="44"/>
                  </a:lnTo>
                  <a:lnTo>
                    <a:pt x="137" y="42"/>
                  </a:lnTo>
                  <a:lnTo>
                    <a:pt x="137" y="42"/>
                  </a:lnTo>
                  <a:lnTo>
                    <a:pt x="125" y="42"/>
                  </a:lnTo>
                  <a:lnTo>
                    <a:pt x="111" y="38"/>
                  </a:lnTo>
                  <a:lnTo>
                    <a:pt x="95" y="38"/>
                  </a:lnTo>
                  <a:lnTo>
                    <a:pt x="86" y="40"/>
                  </a:lnTo>
                  <a:lnTo>
                    <a:pt x="79" y="42"/>
                  </a:lnTo>
                  <a:lnTo>
                    <a:pt x="79" y="42"/>
                  </a:lnTo>
                  <a:lnTo>
                    <a:pt x="65" y="49"/>
                  </a:lnTo>
                  <a:lnTo>
                    <a:pt x="53" y="52"/>
                  </a:lnTo>
                  <a:lnTo>
                    <a:pt x="40" y="54"/>
                  </a:lnTo>
                  <a:lnTo>
                    <a:pt x="30" y="54"/>
                  </a:lnTo>
                  <a:lnTo>
                    <a:pt x="30" y="54"/>
                  </a:lnTo>
                  <a:lnTo>
                    <a:pt x="9" y="54"/>
                  </a:lnTo>
                  <a:lnTo>
                    <a:pt x="0" y="56"/>
                  </a:lnTo>
                  <a:lnTo>
                    <a:pt x="0" y="56"/>
                  </a:lnTo>
                  <a:lnTo>
                    <a:pt x="10" y="42"/>
                  </a:lnTo>
                  <a:lnTo>
                    <a:pt x="19" y="31"/>
                  </a:lnTo>
                  <a:lnTo>
                    <a:pt x="21" y="28"/>
                  </a:lnTo>
                  <a:lnTo>
                    <a:pt x="23" y="24"/>
                  </a:lnTo>
                  <a:lnTo>
                    <a:pt x="23" y="24"/>
                  </a:lnTo>
                  <a:lnTo>
                    <a:pt x="23" y="21"/>
                  </a:lnTo>
                  <a:lnTo>
                    <a:pt x="26" y="19"/>
                  </a:lnTo>
                  <a:lnTo>
                    <a:pt x="30" y="14"/>
                  </a:lnTo>
                  <a:lnTo>
                    <a:pt x="31" y="10"/>
                  </a:lnTo>
                  <a:lnTo>
                    <a:pt x="30" y="8"/>
                  </a:lnTo>
                  <a:lnTo>
                    <a:pt x="28" y="7"/>
                  </a:lnTo>
                  <a:lnTo>
                    <a:pt x="21" y="5"/>
                  </a:lnTo>
                  <a:lnTo>
                    <a:pt x="21" y="5"/>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39" name="Freeform 73">
              <a:extLst>
                <a:ext uri="{FF2B5EF4-FFF2-40B4-BE49-F238E27FC236}">
                  <a16:creationId xmlns:a16="http://schemas.microsoft.com/office/drawing/2014/main" id="{9C6D007D-80DF-48F8-9D24-E2D0803E672A}"/>
                </a:ext>
              </a:extLst>
            </p:cNvPr>
            <p:cNvSpPr>
              <a:spLocks/>
            </p:cNvSpPr>
            <p:nvPr/>
          </p:nvSpPr>
          <p:spPr bwMode="auto">
            <a:xfrm>
              <a:off x="4124024" y="4192812"/>
              <a:ext cx="19630" cy="28553"/>
            </a:xfrm>
            <a:custGeom>
              <a:avLst/>
              <a:gdLst/>
              <a:ahLst/>
              <a:cxnLst>
                <a:cxn ang="0">
                  <a:pos x="7" y="3"/>
                </a:cxn>
                <a:cxn ang="0">
                  <a:pos x="7" y="3"/>
                </a:cxn>
                <a:cxn ang="0">
                  <a:pos x="2" y="12"/>
                </a:cxn>
                <a:cxn ang="0">
                  <a:pos x="0" y="19"/>
                </a:cxn>
                <a:cxn ang="0">
                  <a:pos x="0" y="23"/>
                </a:cxn>
                <a:cxn ang="0">
                  <a:pos x="0" y="26"/>
                </a:cxn>
                <a:cxn ang="0">
                  <a:pos x="0" y="26"/>
                </a:cxn>
                <a:cxn ang="0">
                  <a:pos x="2" y="30"/>
                </a:cxn>
                <a:cxn ang="0">
                  <a:pos x="5" y="31"/>
                </a:cxn>
                <a:cxn ang="0">
                  <a:pos x="12" y="31"/>
                </a:cxn>
                <a:cxn ang="0">
                  <a:pos x="19" y="30"/>
                </a:cxn>
                <a:cxn ang="0">
                  <a:pos x="23" y="26"/>
                </a:cxn>
                <a:cxn ang="0">
                  <a:pos x="23" y="24"/>
                </a:cxn>
                <a:cxn ang="0">
                  <a:pos x="23" y="24"/>
                </a:cxn>
                <a:cxn ang="0">
                  <a:pos x="23" y="16"/>
                </a:cxn>
                <a:cxn ang="0">
                  <a:pos x="21" y="5"/>
                </a:cxn>
                <a:cxn ang="0">
                  <a:pos x="19" y="1"/>
                </a:cxn>
                <a:cxn ang="0">
                  <a:pos x="16" y="0"/>
                </a:cxn>
                <a:cxn ang="0">
                  <a:pos x="12" y="0"/>
                </a:cxn>
                <a:cxn ang="0">
                  <a:pos x="7" y="3"/>
                </a:cxn>
                <a:cxn ang="0">
                  <a:pos x="7" y="3"/>
                </a:cxn>
              </a:cxnLst>
              <a:rect l="0" t="0" r="r" b="b"/>
              <a:pathLst>
                <a:path w="23" h="31">
                  <a:moveTo>
                    <a:pt x="7" y="3"/>
                  </a:moveTo>
                  <a:lnTo>
                    <a:pt x="7" y="3"/>
                  </a:lnTo>
                  <a:lnTo>
                    <a:pt x="2" y="12"/>
                  </a:lnTo>
                  <a:lnTo>
                    <a:pt x="0" y="19"/>
                  </a:lnTo>
                  <a:lnTo>
                    <a:pt x="0" y="23"/>
                  </a:lnTo>
                  <a:lnTo>
                    <a:pt x="0" y="26"/>
                  </a:lnTo>
                  <a:lnTo>
                    <a:pt x="0" y="26"/>
                  </a:lnTo>
                  <a:lnTo>
                    <a:pt x="2" y="30"/>
                  </a:lnTo>
                  <a:lnTo>
                    <a:pt x="5" y="31"/>
                  </a:lnTo>
                  <a:lnTo>
                    <a:pt x="12" y="31"/>
                  </a:lnTo>
                  <a:lnTo>
                    <a:pt x="19" y="30"/>
                  </a:lnTo>
                  <a:lnTo>
                    <a:pt x="23" y="26"/>
                  </a:lnTo>
                  <a:lnTo>
                    <a:pt x="23" y="24"/>
                  </a:lnTo>
                  <a:lnTo>
                    <a:pt x="23" y="24"/>
                  </a:lnTo>
                  <a:lnTo>
                    <a:pt x="23" y="16"/>
                  </a:lnTo>
                  <a:lnTo>
                    <a:pt x="21" y="5"/>
                  </a:lnTo>
                  <a:lnTo>
                    <a:pt x="19" y="1"/>
                  </a:lnTo>
                  <a:lnTo>
                    <a:pt x="16" y="0"/>
                  </a:lnTo>
                  <a:lnTo>
                    <a:pt x="12" y="0"/>
                  </a:lnTo>
                  <a:lnTo>
                    <a:pt x="7" y="3"/>
                  </a:lnTo>
                  <a:lnTo>
                    <a:pt x="7" y="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0" name="Freeform 74">
              <a:extLst>
                <a:ext uri="{FF2B5EF4-FFF2-40B4-BE49-F238E27FC236}">
                  <a16:creationId xmlns:a16="http://schemas.microsoft.com/office/drawing/2014/main" id="{56938A3A-16D6-4530-9FF1-21535D1A0D0E}"/>
                </a:ext>
              </a:extLst>
            </p:cNvPr>
            <p:cNvSpPr>
              <a:spLocks/>
            </p:cNvSpPr>
            <p:nvPr/>
          </p:nvSpPr>
          <p:spPr bwMode="auto">
            <a:xfrm>
              <a:off x="4172207" y="4123213"/>
              <a:ext cx="23199" cy="19631"/>
            </a:xfrm>
            <a:custGeom>
              <a:avLst/>
              <a:gdLst/>
              <a:ahLst/>
              <a:cxnLst>
                <a:cxn ang="0">
                  <a:pos x="3" y="4"/>
                </a:cxn>
                <a:cxn ang="0">
                  <a:pos x="3" y="4"/>
                </a:cxn>
                <a:cxn ang="0">
                  <a:pos x="0" y="13"/>
                </a:cxn>
                <a:cxn ang="0">
                  <a:pos x="0" y="18"/>
                </a:cxn>
                <a:cxn ang="0">
                  <a:pos x="0" y="21"/>
                </a:cxn>
                <a:cxn ang="0">
                  <a:pos x="1" y="21"/>
                </a:cxn>
                <a:cxn ang="0">
                  <a:pos x="1" y="21"/>
                </a:cxn>
                <a:cxn ang="0">
                  <a:pos x="7" y="20"/>
                </a:cxn>
                <a:cxn ang="0">
                  <a:pos x="15" y="16"/>
                </a:cxn>
                <a:cxn ang="0">
                  <a:pos x="24" y="13"/>
                </a:cxn>
                <a:cxn ang="0">
                  <a:pos x="24" y="13"/>
                </a:cxn>
                <a:cxn ang="0">
                  <a:pos x="24" y="9"/>
                </a:cxn>
                <a:cxn ang="0">
                  <a:pos x="23" y="4"/>
                </a:cxn>
                <a:cxn ang="0">
                  <a:pos x="21" y="2"/>
                </a:cxn>
                <a:cxn ang="0">
                  <a:pos x="15" y="0"/>
                </a:cxn>
                <a:cxn ang="0">
                  <a:pos x="10" y="0"/>
                </a:cxn>
                <a:cxn ang="0">
                  <a:pos x="3" y="4"/>
                </a:cxn>
                <a:cxn ang="0">
                  <a:pos x="3" y="4"/>
                </a:cxn>
              </a:cxnLst>
              <a:rect l="0" t="0" r="r" b="b"/>
              <a:pathLst>
                <a:path w="24" h="21">
                  <a:moveTo>
                    <a:pt x="3" y="4"/>
                  </a:moveTo>
                  <a:lnTo>
                    <a:pt x="3" y="4"/>
                  </a:lnTo>
                  <a:lnTo>
                    <a:pt x="0" y="13"/>
                  </a:lnTo>
                  <a:lnTo>
                    <a:pt x="0" y="18"/>
                  </a:lnTo>
                  <a:lnTo>
                    <a:pt x="0" y="21"/>
                  </a:lnTo>
                  <a:lnTo>
                    <a:pt x="1" y="21"/>
                  </a:lnTo>
                  <a:lnTo>
                    <a:pt x="1" y="21"/>
                  </a:lnTo>
                  <a:lnTo>
                    <a:pt x="7" y="20"/>
                  </a:lnTo>
                  <a:lnTo>
                    <a:pt x="15" y="16"/>
                  </a:lnTo>
                  <a:lnTo>
                    <a:pt x="24" y="13"/>
                  </a:lnTo>
                  <a:lnTo>
                    <a:pt x="24" y="13"/>
                  </a:lnTo>
                  <a:lnTo>
                    <a:pt x="24" y="9"/>
                  </a:lnTo>
                  <a:lnTo>
                    <a:pt x="23" y="4"/>
                  </a:lnTo>
                  <a:lnTo>
                    <a:pt x="21" y="2"/>
                  </a:lnTo>
                  <a:lnTo>
                    <a:pt x="15" y="0"/>
                  </a:lnTo>
                  <a:lnTo>
                    <a:pt x="10" y="0"/>
                  </a:lnTo>
                  <a:lnTo>
                    <a:pt x="3" y="4"/>
                  </a:lnTo>
                  <a:lnTo>
                    <a:pt x="3" y="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1" name="Freeform 75">
              <a:extLst>
                <a:ext uri="{FF2B5EF4-FFF2-40B4-BE49-F238E27FC236}">
                  <a16:creationId xmlns:a16="http://schemas.microsoft.com/office/drawing/2014/main" id="{22D33BDD-7032-4905-806F-768B2AA8FA50}"/>
                </a:ext>
              </a:extLst>
            </p:cNvPr>
            <p:cNvSpPr>
              <a:spLocks/>
            </p:cNvSpPr>
            <p:nvPr/>
          </p:nvSpPr>
          <p:spPr bwMode="auto">
            <a:xfrm>
              <a:off x="4257865" y="3982234"/>
              <a:ext cx="41044" cy="41045"/>
            </a:xfrm>
            <a:custGeom>
              <a:avLst/>
              <a:gdLst/>
              <a:ahLst/>
              <a:cxnLst>
                <a:cxn ang="0">
                  <a:pos x="9" y="14"/>
                </a:cxn>
                <a:cxn ang="0">
                  <a:pos x="2" y="28"/>
                </a:cxn>
                <a:cxn ang="0">
                  <a:pos x="2" y="28"/>
                </a:cxn>
                <a:cxn ang="0">
                  <a:pos x="0" y="37"/>
                </a:cxn>
                <a:cxn ang="0">
                  <a:pos x="0" y="42"/>
                </a:cxn>
                <a:cxn ang="0">
                  <a:pos x="2" y="44"/>
                </a:cxn>
                <a:cxn ang="0">
                  <a:pos x="5" y="45"/>
                </a:cxn>
                <a:cxn ang="0">
                  <a:pos x="5" y="45"/>
                </a:cxn>
                <a:cxn ang="0">
                  <a:pos x="12" y="45"/>
                </a:cxn>
                <a:cxn ang="0">
                  <a:pos x="17" y="44"/>
                </a:cxn>
                <a:cxn ang="0">
                  <a:pos x="31" y="35"/>
                </a:cxn>
                <a:cxn ang="0">
                  <a:pos x="31" y="35"/>
                </a:cxn>
                <a:cxn ang="0">
                  <a:pos x="37" y="31"/>
                </a:cxn>
                <a:cxn ang="0">
                  <a:pos x="40" y="28"/>
                </a:cxn>
                <a:cxn ang="0">
                  <a:pos x="42" y="23"/>
                </a:cxn>
                <a:cxn ang="0">
                  <a:pos x="44" y="19"/>
                </a:cxn>
                <a:cxn ang="0">
                  <a:pos x="46" y="14"/>
                </a:cxn>
                <a:cxn ang="0">
                  <a:pos x="44" y="10"/>
                </a:cxn>
                <a:cxn ang="0">
                  <a:pos x="44" y="7"/>
                </a:cxn>
                <a:cxn ang="0">
                  <a:pos x="40" y="5"/>
                </a:cxn>
                <a:cxn ang="0">
                  <a:pos x="40" y="5"/>
                </a:cxn>
                <a:cxn ang="0">
                  <a:pos x="31" y="1"/>
                </a:cxn>
                <a:cxn ang="0">
                  <a:pos x="23" y="0"/>
                </a:cxn>
                <a:cxn ang="0">
                  <a:pos x="17" y="0"/>
                </a:cxn>
                <a:cxn ang="0">
                  <a:pos x="14" y="1"/>
                </a:cxn>
                <a:cxn ang="0">
                  <a:pos x="10" y="7"/>
                </a:cxn>
                <a:cxn ang="0">
                  <a:pos x="9" y="14"/>
                </a:cxn>
                <a:cxn ang="0">
                  <a:pos x="9" y="14"/>
                </a:cxn>
              </a:cxnLst>
              <a:rect l="0" t="0" r="r" b="b"/>
              <a:pathLst>
                <a:path w="46" h="45">
                  <a:moveTo>
                    <a:pt x="9" y="14"/>
                  </a:moveTo>
                  <a:lnTo>
                    <a:pt x="2" y="28"/>
                  </a:lnTo>
                  <a:lnTo>
                    <a:pt x="2" y="28"/>
                  </a:lnTo>
                  <a:lnTo>
                    <a:pt x="0" y="37"/>
                  </a:lnTo>
                  <a:lnTo>
                    <a:pt x="0" y="42"/>
                  </a:lnTo>
                  <a:lnTo>
                    <a:pt x="2" y="44"/>
                  </a:lnTo>
                  <a:lnTo>
                    <a:pt x="5" y="45"/>
                  </a:lnTo>
                  <a:lnTo>
                    <a:pt x="5" y="45"/>
                  </a:lnTo>
                  <a:lnTo>
                    <a:pt x="12" y="45"/>
                  </a:lnTo>
                  <a:lnTo>
                    <a:pt x="17" y="44"/>
                  </a:lnTo>
                  <a:lnTo>
                    <a:pt x="31" y="35"/>
                  </a:lnTo>
                  <a:lnTo>
                    <a:pt x="31" y="35"/>
                  </a:lnTo>
                  <a:lnTo>
                    <a:pt x="37" y="31"/>
                  </a:lnTo>
                  <a:lnTo>
                    <a:pt x="40" y="28"/>
                  </a:lnTo>
                  <a:lnTo>
                    <a:pt x="42" y="23"/>
                  </a:lnTo>
                  <a:lnTo>
                    <a:pt x="44" y="19"/>
                  </a:lnTo>
                  <a:lnTo>
                    <a:pt x="46" y="14"/>
                  </a:lnTo>
                  <a:lnTo>
                    <a:pt x="44" y="10"/>
                  </a:lnTo>
                  <a:lnTo>
                    <a:pt x="44" y="7"/>
                  </a:lnTo>
                  <a:lnTo>
                    <a:pt x="40" y="5"/>
                  </a:lnTo>
                  <a:lnTo>
                    <a:pt x="40" y="5"/>
                  </a:lnTo>
                  <a:lnTo>
                    <a:pt x="31" y="1"/>
                  </a:lnTo>
                  <a:lnTo>
                    <a:pt x="23" y="0"/>
                  </a:lnTo>
                  <a:lnTo>
                    <a:pt x="17" y="0"/>
                  </a:lnTo>
                  <a:lnTo>
                    <a:pt x="14" y="1"/>
                  </a:lnTo>
                  <a:lnTo>
                    <a:pt x="10" y="7"/>
                  </a:lnTo>
                  <a:lnTo>
                    <a:pt x="9" y="14"/>
                  </a:lnTo>
                  <a:lnTo>
                    <a:pt x="9" y="14"/>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2" name="Freeform 76">
              <a:extLst>
                <a:ext uri="{FF2B5EF4-FFF2-40B4-BE49-F238E27FC236}">
                  <a16:creationId xmlns:a16="http://schemas.microsoft.com/office/drawing/2014/main" id="{3EDCC47F-7126-41BA-B40A-4DC44A771CD2}"/>
                </a:ext>
              </a:extLst>
            </p:cNvPr>
            <p:cNvSpPr>
              <a:spLocks/>
            </p:cNvSpPr>
            <p:nvPr/>
          </p:nvSpPr>
          <p:spPr bwMode="auto">
            <a:xfrm>
              <a:off x="2673179" y="2451084"/>
              <a:ext cx="542505" cy="431863"/>
            </a:xfrm>
            <a:custGeom>
              <a:avLst/>
              <a:gdLst/>
              <a:ahLst/>
              <a:cxnLst>
                <a:cxn ang="0">
                  <a:pos x="607" y="0"/>
                </a:cxn>
                <a:cxn ang="0">
                  <a:pos x="366" y="153"/>
                </a:cxn>
                <a:cxn ang="0">
                  <a:pos x="362" y="254"/>
                </a:cxn>
                <a:cxn ang="0">
                  <a:pos x="362" y="285"/>
                </a:cxn>
                <a:cxn ang="0">
                  <a:pos x="359" y="314"/>
                </a:cxn>
                <a:cxn ang="0">
                  <a:pos x="355" y="319"/>
                </a:cxn>
                <a:cxn ang="0">
                  <a:pos x="325" y="342"/>
                </a:cxn>
                <a:cxn ang="0">
                  <a:pos x="304" y="359"/>
                </a:cxn>
                <a:cxn ang="0">
                  <a:pos x="301" y="363"/>
                </a:cxn>
                <a:cxn ang="0">
                  <a:pos x="292" y="391"/>
                </a:cxn>
                <a:cxn ang="0">
                  <a:pos x="292" y="402"/>
                </a:cxn>
                <a:cxn ang="0">
                  <a:pos x="294" y="440"/>
                </a:cxn>
                <a:cxn ang="0">
                  <a:pos x="294" y="451"/>
                </a:cxn>
                <a:cxn ang="0">
                  <a:pos x="280" y="479"/>
                </a:cxn>
                <a:cxn ang="0">
                  <a:pos x="274" y="484"/>
                </a:cxn>
                <a:cxn ang="0">
                  <a:pos x="0" y="463"/>
                </a:cxn>
                <a:cxn ang="0">
                  <a:pos x="10" y="437"/>
                </a:cxn>
                <a:cxn ang="0">
                  <a:pos x="19" y="426"/>
                </a:cxn>
                <a:cxn ang="0">
                  <a:pos x="23" y="421"/>
                </a:cxn>
                <a:cxn ang="0">
                  <a:pos x="26" y="407"/>
                </a:cxn>
                <a:cxn ang="0">
                  <a:pos x="26" y="405"/>
                </a:cxn>
                <a:cxn ang="0">
                  <a:pos x="33" y="388"/>
                </a:cxn>
                <a:cxn ang="0">
                  <a:pos x="45" y="377"/>
                </a:cxn>
                <a:cxn ang="0">
                  <a:pos x="52" y="370"/>
                </a:cxn>
                <a:cxn ang="0">
                  <a:pos x="72" y="340"/>
                </a:cxn>
                <a:cxn ang="0">
                  <a:pos x="84" y="312"/>
                </a:cxn>
                <a:cxn ang="0">
                  <a:pos x="100" y="278"/>
                </a:cxn>
                <a:cxn ang="0">
                  <a:pos x="118" y="247"/>
                </a:cxn>
                <a:cxn ang="0">
                  <a:pos x="121" y="241"/>
                </a:cxn>
                <a:cxn ang="0">
                  <a:pos x="149" y="220"/>
                </a:cxn>
                <a:cxn ang="0">
                  <a:pos x="165" y="215"/>
                </a:cxn>
                <a:cxn ang="0">
                  <a:pos x="170" y="210"/>
                </a:cxn>
                <a:cxn ang="0">
                  <a:pos x="174" y="194"/>
                </a:cxn>
                <a:cxn ang="0">
                  <a:pos x="174" y="185"/>
                </a:cxn>
                <a:cxn ang="0">
                  <a:pos x="174" y="164"/>
                </a:cxn>
                <a:cxn ang="0">
                  <a:pos x="176" y="146"/>
                </a:cxn>
                <a:cxn ang="0">
                  <a:pos x="186" y="129"/>
                </a:cxn>
                <a:cxn ang="0">
                  <a:pos x="258" y="53"/>
                </a:cxn>
                <a:cxn ang="0">
                  <a:pos x="264" y="44"/>
                </a:cxn>
                <a:cxn ang="0">
                  <a:pos x="278" y="16"/>
                </a:cxn>
                <a:cxn ang="0">
                  <a:pos x="278" y="7"/>
                </a:cxn>
              </a:cxnLst>
              <a:rect l="0" t="0" r="r" b="b"/>
              <a:pathLst>
                <a:path w="607" h="484">
                  <a:moveTo>
                    <a:pt x="278" y="7"/>
                  </a:moveTo>
                  <a:lnTo>
                    <a:pt x="607" y="0"/>
                  </a:lnTo>
                  <a:lnTo>
                    <a:pt x="607" y="146"/>
                  </a:lnTo>
                  <a:lnTo>
                    <a:pt x="366" y="153"/>
                  </a:lnTo>
                  <a:lnTo>
                    <a:pt x="366" y="153"/>
                  </a:lnTo>
                  <a:lnTo>
                    <a:pt x="362" y="254"/>
                  </a:lnTo>
                  <a:lnTo>
                    <a:pt x="362" y="254"/>
                  </a:lnTo>
                  <a:lnTo>
                    <a:pt x="362" y="285"/>
                  </a:lnTo>
                  <a:lnTo>
                    <a:pt x="361" y="305"/>
                  </a:lnTo>
                  <a:lnTo>
                    <a:pt x="359" y="314"/>
                  </a:lnTo>
                  <a:lnTo>
                    <a:pt x="355" y="319"/>
                  </a:lnTo>
                  <a:lnTo>
                    <a:pt x="355" y="319"/>
                  </a:lnTo>
                  <a:lnTo>
                    <a:pt x="343" y="329"/>
                  </a:lnTo>
                  <a:lnTo>
                    <a:pt x="325" y="342"/>
                  </a:lnTo>
                  <a:lnTo>
                    <a:pt x="310" y="354"/>
                  </a:lnTo>
                  <a:lnTo>
                    <a:pt x="304" y="359"/>
                  </a:lnTo>
                  <a:lnTo>
                    <a:pt x="301" y="363"/>
                  </a:lnTo>
                  <a:lnTo>
                    <a:pt x="301" y="363"/>
                  </a:lnTo>
                  <a:lnTo>
                    <a:pt x="295" y="381"/>
                  </a:lnTo>
                  <a:lnTo>
                    <a:pt x="292" y="391"/>
                  </a:lnTo>
                  <a:lnTo>
                    <a:pt x="292" y="402"/>
                  </a:lnTo>
                  <a:lnTo>
                    <a:pt x="292" y="402"/>
                  </a:lnTo>
                  <a:lnTo>
                    <a:pt x="294" y="426"/>
                  </a:lnTo>
                  <a:lnTo>
                    <a:pt x="294" y="440"/>
                  </a:lnTo>
                  <a:lnTo>
                    <a:pt x="294" y="451"/>
                  </a:lnTo>
                  <a:lnTo>
                    <a:pt x="294" y="451"/>
                  </a:lnTo>
                  <a:lnTo>
                    <a:pt x="285" y="469"/>
                  </a:lnTo>
                  <a:lnTo>
                    <a:pt x="280" y="479"/>
                  </a:lnTo>
                  <a:lnTo>
                    <a:pt x="276" y="483"/>
                  </a:lnTo>
                  <a:lnTo>
                    <a:pt x="274" y="484"/>
                  </a:lnTo>
                  <a:lnTo>
                    <a:pt x="0" y="463"/>
                  </a:lnTo>
                  <a:lnTo>
                    <a:pt x="0" y="463"/>
                  </a:lnTo>
                  <a:lnTo>
                    <a:pt x="3" y="449"/>
                  </a:lnTo>
                  <a:lnTo>
                    <a:pt x="10" y="437"/>
                  </a:lnTo>
                  <a:lnTo>
                    <a:pt x="14" y="432"/>
                  </a:lnTo>
                  <a:lnTo>
                    <a:pt x="19" y="426"/>
                  </a:lnTo>
                  <a:lnTo>
                    <a:pt x="19" y="426"/>
                  </a:lnTo>
                  <a:lnTo>
                    <a:pt x="23" y="421"/>
                  </a:lnTo>
                  <a:lnTo>
                    <a:pt x="26" y="416"/>
                  </a:lnTo>
                  <a:lnTo>
                    <a:pt x="26" y="407"/>
                  </a:lnTo>
                  <a:lnTo>
                    <a:pt x="26" y="407"/>
                  </a:lnTo>
                  <a:lnTo>
                    <a:pt x="26" y="405"/>
                  </a:lnTo>
                  <a:lnTo>
                    <a:pt x="28" y="398"/>
                  </a:lnTo>
                  <a:lnTo>
                    <a:pt x="33" y="388"/>
                  </a:lnTo>
                  <a:lnTo>
                    <a:pt x="38" y="382"/>
                  </a:lnTo>
                  <a:lnTo>
                    <a:pt x="45" y="377"/>
                  </a:lnTo>
                  <a:lnTo>
                    <a:pt x="45" y="377"/>
                  </a:lnTo>
                  <a:lnTo>
                    <a:pt x="52" y="370"/>
                  </a:lnTo>
                  <a:lnTo>
                    <a:pt x="59" y="361"/>
                  </a:lnTo>
                  <a:lnTo>
                    <a:pt x="72" y="340"/>
                  </a:lnTo>
                  <a:lnTo>
                    <a:pt x="81" y="321"/>
                  </a:lnTo>
                  <a:lnTo>
                    <a:pt x="84" y="312"/>
                  </a:lnTo>
                  <a:lnTo>
                    <a:pt x="84" y="312"/>
                  </a:lnTo>
                  <a:lnTo>
                    <a:pt x="100" y="278"/>
                  </a:lnTo>
                  <a:lnTo>
                    <a:pt x="112" y="255"/>
                  </a:lnTo>
                  <a:lnTo>
                    <a:pt x="118" y="247"/>
                  </a:lnTo>
                  <a:lnTo>
                    <a:pt x="121" y="241"/>
                  </a:lnTo>
                  <a:lnTo>
                    <a:pt x="121" y="241"/>
                  </a:lnTo>
                  <a:lnTo>
                    <a:pt x="137" y="227"/>
                  </a:lnTo>
                  <a:lnTo>
                    <a:pt x="149" y="220"/>
                  </a:lnTo>
                  <a:lnTo>
                    <a:pt x="165" y="215"/>
                  </a:lnTo>
                  <a:lnTo>
                    <a:pt x="165" y="215"/>
                  </a:lnTo>
                  <a:lnTo>
                    <a:pt x="167" y="215"/>
                  </a:lnTo>
                  <a:lnTo>
                    <a:pt x="170" y="210"/>
                  </a:lnTo>
                  <a:lnTo>
                    <a:pt x="174" y="201"/>
                  </a:lnTo>
                  <a:lnTo>
                    <a:pt x="174" y="194"/>
                  </a:lnTo>
                  <a:lnTo>
                    <a:pt x="174" y="185"/>
                  </a:lnTo>
                  <a:lnTo>
                    <a:pt x="174" y="185"/>
                  </a:lnTo>
                  <a:lnTo>
                    <a:pt x="174" y="180"/>
                  </a:lnTo>
                  <a:lnTo>
                    <a:pt x="174" y="164"/>
                  </a:lnTo>
                  <a:lnTo>
                    <a:pt x="174" y="155"/>
                  </a:lnTo>
                  <a:lnTo>
                    <a:pt x="176" y="146"/>
                  </a:lnTo>
                  <a:lnTo>
                    <a:pt x="181" y="137"/>
                  </a:lnTo>
                  <a:lnTo>
                    <a:pt x="186" y="129"/>
                  </a:lnTo>
                  <a:lnTo>
                    <a:pt x="186" y="129"/>
                  </a:lnTo>
                  <a:lnTo>
                    <a:pt x="258" y="53"/>
                  </a:lnTo>
                  <a:lnTo>
                    <a:pt x="258" y="53"/>
                  </a:lnTo>
                  <a:lnTo>
                    <a:pt x="264" y="44"/>
                  </a:lnTo>
                  <a:lnTo>
                    <a:pt x="273" y="30"/>
                  </a:lnTo>
                  <a:lnTo>
                    <a:pt x="278" y="16"/>
                  </a:lnTo>
                  <a:lnTo>
                    <a:pt x="278" y="11"/>
                  </a:lnTo>
                  <a:lnTo>
                    <a:pt x="278" y="7"/>
                  </a:lnTo>
                  <a:lnTo>
                    <a:pt x="278" y="7"/>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3" name="Freeform 100">
              <a:extLst>
                <a:ext uri="{FF2B5EF4-FFF2-40B4-BE49-F238E27FC236}">
                  <a16:creationId xmlns:a16="http://schemas.microsoft.com/office/drawing/2014/main" id="{4E4D1992-ED9F-48EC-A540-CF5ABF38808F}"/>
                </a:ext>
              </a:extLst>
            </p:cNvPr>
            <p:cNvSpPr>
              <a:spLocks/>
            </p:cNvSpPr>
            <p:nvPr/>
          </p:nvSpPr>
          <p:spPr bwMode="auto">
            <a:xfrm>
              <a:off x="5686224" y="44380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4" name="Freeform 101">
              <a:extLst>
                <a:ext uri="{FF2B5EF4-FFF2-40B4-BE49-F238E27FC236}">
                  <a16:creationId xmlns:a16="http://schemas.microsoft.com/office/drawing/2014/main" id="{B3C04612-933C-4E13-9C83-24D35010C4BF}"/>
                </a:ext>
              </a:extLst>
            </p:cNvPr>
            <p:cNvSpPr>
              <a:spLocks/>
            </p:cNvSpPr>
            <p:nvPr/>
          </p:nvSpPr>
          <p:spPr bwMode="auto">
            <a:xfrm>
              <a:off x="5838624" y="4590409"/>
              <a:ext cx="121350" cy="110643"/>
            </a:xfrm>
            <a:custGeom>
              <a:avLst/>
              <a:gdLst/>
              <a:ahLst/>
              <a:cxnLst>
                <a:cxn ang="0">
                  <a:pos x="28" y="33"/>
                </a:cxn>
                <a:cxn ang="0">
                  <a:pos x="21" y="56"/>
                </a:cxn>
                <a:cxn ang="0">
                  <a:pos x="12" y="68"/>
                </a:cxn>
                <a:cxn ang="0">
                  <a:pos x="1" y="86"/>
                </a:cxn>
                <a:cxn ang="0">
                  <a:pos x="1" y="100"/>
                </a:cxn>
                <a:cxn ang="0">
                  <a:pos x="7" y="116"/>
                </a:cxn>
                <a:cxn ang="0">
                  <a:pos x="14" y="125"/>
                </a:cxn>
                <a:cxn ang="0">
                  <a:pos x="12" y="118"/>
                </a:cxn>
                <a:cxn ang="0">
                  <a:pos x="12" y="112"/>
                </a:cxn>
                <a:cxn ang="0">
                  <a:pos x="19" y="112"/>
                </a:cxn>
                <a:cxn ang="0">
                  <a:pos x="44" y="119"/>
                </a:cxn>
                <a:cxn ang="0">
                  <a:pos x="63" y="119"/>
                </a:cxn>
                <a:cxn ang="0">
                  <a:pos x="67" y="118"/>
                </a:cxn>
                <a:cxn ang="0">
                  <a:pos x="72" y="109"/>
                </a:cxn>
                <a:cxn ang="0">
                  <a:pos x="77" y="100"/>
                </a:cxn>
                <a:cxn ang="0">
                  <a:pos x="84" y="98"/>
                </a:cxn>
                <a:cxn ang="0">
                  <a:pos x="88" y="102"/>
                </a:cxn>
                <a:cxn ang="0">
                  <a:pos x="88" y="102"/>
                </a:cxn>
                <a:cxn ang="0">
                  <a:pos x="91" y="91"/>
                </a:cxn>
                <a:cxn ang="0">
                  <a:pos x="100" y="75"/>
                </a:cxn>
                <a:cxn ang="0">
                  <a:pos x="107" y="65"/>
                </a:cxn>
                <a:cxn ang="0">
                  <a:pos x="125" y="37"/>
                </a:cxn>
                <a:cxn ang="0">
                  <a:pos x="132" y="28"/>
                </a:cxn>
                <a:cxn ang="0">
                  <a:pos x="135" y="19"/>
                </a:cxn>
                <a:cxn ang="0">
                  <a:pos x="134" y="10"/>
                </a:cxn>
                <a:cxn ang="0">
                  <a:pos x="128" y="3"/>
                </a:cxn>
                <a:cxn ang="0">
                  <a:pos x="119" y="1"/>
                </a:cxn>
                <a:cxn ang="0">
                  <a:pos x="109" y="1"/>
                </a:cxn>
                <a:cxn ang="0">
                  <a:pos x="95" y="0"/>
                </a:cxn>
                <a:cxn ang="0">
                  <a:pos x="79" y="8"/>
                </a:cxn>
                <a:cxn ang="0">
                  <a:pos x="44" y="30"/>
                </a:cxn>
                <a:cxn ang="0">
                  <a:pos x="38" y="33"/>
                </a:cxn>
                <a:cxn ang="0">
                  <a:pos x="28" y="33"/>
                </a:cxn>
              </a:cxnLst>
              <a:rect l="0" t="0" r="r" b="b"/>
              <a:pathLst>
                <a:path w="135" h="125">
                  <a:moveTo>
                    <a:pt x="28" y="33"/>
                  </a:moveTo>
                  <a:lnTo>
                    <a:pt x="28" y="33"/>
                  </a:lnTo>
                  <a:lnTo>
                    <a:pt x="24" y="45"/>
                  </a:lnTo>
                  <a:lnTo>
                    <a:pt x="21" y="56"/>
                  </a:lnTo>
                  <a:lnTo>
                    <a:pt x="12" y="68"/>
                  </a:lnTo>
                  <a:lnTo>
                    <a:pt x="12" y="68"/>
                  </a:lnTo>
                  <a:lnTo>
                    <a:pt x="3" y="81"/>
                  </a:lnTo>
                  <a:lnTo>
                    <a:pt x="1" y="86"/>
                  </a:lnTo>
                  <a:lnTo>
                    <a:pt x="0" y="93"/>
                  </a:lnTo>
                  <a:lnTo>
                    <a:pt x="1" y="100"/>
                  </a:lnTo>
                  <a:lnTo>
                    <a:pt x="3" y="107"/>
                  </a:lnTo>
                  <a:lnTo>
                    <a:pt x="7" y="116"/>
                  </a:lnTo>
                  <a:lnTo>
                    <a:pt x="14" y="125"/>
                  </a:lnTo>
                  <a:lnTo>
                    <a:pt x="14" y="125"/>
                  </a:lnTo>
                  <a:lnTo>
                    <a:pt x="12" y="123"/>
                  </a:lnTo>
                  <a:lnTo>
                    <a:pt x="12" y="118"/>
                  </a:lnTo>
                  <a:lnTo>
                    <a:pt x="12" y="114"/>
                  </a:lnTo>
                  <a:lnTo>
                    <a:pt x="12" y="112"/>
                  </a:lnTo>
                  <a:lnTo>
                    <a:pt x="16" y="112"/>
                  </a:lnTo>
                  <a:lnTo>
                    <a:pt x="19" y="112"/>
                  </a:lnTo>
                  <a:lnTo>
                    <a:pt x="19" y="112"/>
                  </a:lnTo>
                  <a:lnTo>
                    <a:pt x="44" y="119"/>
                  </a:lnTo>
                  <a:lnTo>
                    <a:pt x="58" y="121"/>
                  </a:lnTo>
                  <a:lnTo>
                    <a:pt x="63" y="119"/>
                  </a:lnTo>
                  <a:lnTo>
                    <a:pt x="67" y="118"/>
                  </a:lnTo>
                  <a:lnTo>
                    <a:pt x="67" y="118"/>
                  </a:lnTo>
                  <a:lnTo>
                    <a:pt x="70" y="114"/>
                  </a:lnTo>
                  <a:lnTo>
                    <a:pt x="72" y="109"/>
                  </a:lnTo>
                  <a:lnTo>
                    <a:pt x="75" y="102"/>
                  </a:lnTo>
                  <a:lnTo>
                    <a:pt x="77" y="100"/>
                  </a:lnTo>
                  <a:lnTo>
                    <a:pt x="81" y="98"/>
                  </a:lnTo>
                  <a:lnTo>
                    <a:pt x="84" y="98"/>
                  </a:lnTo>
                  <a:lnTo>
                    <a:pt x="88" y="102"/>
                  </a:lnTo>
                  <a:lnTo>
                    <a:pt x="88" y="102"/>
                  </a:lnTo>
                  <a:lnTo>
                    <a:pt x="95" y="107"/>
                  </a:lnTo>
                  <a:lnTo>
                    <a:pt x="88" y="102"/>
                  </a:lnTo>
                  <a:lnTo>
                    <a:pt x="88" y="102"/>
                  </a:lnTo>
                  <a:lnTo>
                    <a:pt x="91" y="91"/>
                  </a:lnTo>
                  <a:lnTo>
                    <a:pt x="95" y="82"/>
                  </a:lnTo>
                  <a:lnTo>
                    <a:pt x="100" y="75"/>
                  </a:lnTo>
                  <a:lnTo>
                    <a:pt x="100" y="75"/>
                  </a:lnTo>
                  <a:lnTo>
                    <a:pt x="107" y="65"/>
                  </a:lnTo>
                  <a:lnTo>
                    <a:pt x="116" y="51"/>
                  </a:lnTo>
                  <a:lnTo>
                    <a:pt x="125" y="37"/>
                  </a:lnTo>
                  <a:lnTo>
                    <a:pt x="132" y="28"/>
                  </a:lnTo>
                  <a:lnTo>
                    <a:pt x="132" y="28"/>
                  </a:lnTo>
                  <a:lnTo>
                    <a:pt x="134" y="24"/>
                  </a:lnTo>
                  <a:lnTo>
                    <a:pt x="135" y="19"/>
                  </a:lnTo>
                  <a:lnTo>
                    <a:pt x="135" y="15"/>
                  </a:lnTo>
                  <a:lnTo>
                    <a:pt x="134" y="10"/>
                  </a:lnTo>
                  <a:lnTo>
                    <a:pt x="132" y="7"/>
                  </a:lnTo>
                  <a:lnTo>
                    <a:pt x="128" y="3"/>
                  </a:lnTo>
                  <a:lnTo>
                    <a:pt x="125" y="1"/>
                  </a:lnTo>
                  <a:lnTo>
                    <a:pt x="119" y="1"/>
                  </a:lnTo>
                  <a:lnTo>
                    <a:pt x="119" y="1"/>
                  </a:lnTo>
                  <a:lnTo>
                    <a:pt x="109" y="1"/>
                  </a:lnTo>
                  <a:lnTo>
                    <a:pt x="100" y="0"/>
                  </a:lnTo>
                  <a:lnTo>
                    <a:pt x="95" y="0"/>
                  </a:lnTo>
                  <a:lnTo>
                    <a:pt x="88" y="3"/>
                  </a:lnTo>
                  <a:lnTo>
                    <a:pt x="79" y="8"/>
                  </a:lnTo>
                  <a:lnTo>
                    <a:pt x="70" y="15"/>
                  </a:lnTo>
                  <a:lnTo>
                    <a:pt x="44" y="30"/>
                  </a:lnTo>
                  <a:lnTo>
                    <a:pt x="44" y="30"/>
                  </a:lnTo>
                  <a:lnTo>
                    <a:pt x="38" y="33"/>
                  </a:lnTo>
                  <a:lnTo>
                    <a:pt x="33" y="35"/>
                  </a:lnTo>
                  <a:lnTo>
                    <a:pt x="28" y="33"/>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5" name="Freeform 102">
              <a:extLst>
                <a:ext uri="{FF2B5EF4-FFF2-40B4-BE49-F238E27FC236}">
                  <a16:creationId xmlns:a16="http://schemas.microsoft.com/office/drawing/2014/main" id="{F01DB701-2FCD-4907-8F20-8ADD8AA7CFE0}"/>
                </a:ext>
              </a:extLst>
            </p:cNvPr>
            <p:cNvSpPr>
              <a:spLocks/>
            </p:cNvSpPr>
            <p:nvPr/>
          </p:nvSpPr>
          <p:spPr bwMode="auto">
            <a:xfrm>
              <a:off x="6420748" y="4945895"/>
              <a:ext cx="19630" cy="30338"/>
            </a:xfrm>
            <a:custGeom>
              <a:avLst/>
              <a:gdLst/>
              <a:ahLst/>
              <a:cxnLst>
                <a:cxn ang="0">
                  <a:pos x="8" y="0"/>
                </a:cxn>
                <a:cxn ang="0">
                  <a:pos x="8" y="0"/>
                </a:cxn>
                <a:cxn ang="0">
                  <a:pos x="3" y="11"/>
                </a:cxn>
                <a:cxn ang="0">
                  <a:pos x="0" y="20"/>
                </a:cxn>
                <a:cxn ang="0">
                  <a:pos x="0" y="22"/>
                </a:cxn>
                <a:cxn ang="0">
                  <a:pos x="1" y="23"/>
                </a:cxn>
                <a:cxn ang="0">
                  <a:pos x="1" y="23"/>
                </a:cxn>
                <a:cxn ang="0">
                  <a:pos x="14" y="30"/>
                </a:cxn>
                <a:cxn ang="0">
                  <a:pos x="21" y="36"/>
                </a:cxn>
                <a:cxn ang="0">
                  <a:pos x="21" y="36"/>
                </a:cxn>
                <a:cxn ang="0">
                  <a:pos x="19" y="16"/>
                </a:cxn>
                <a:cxn ang="0">
                  <a:pos x="16" y="4"/>
                </a:cxn>
                <a:cxn ang="0">
                  <a:pos x="12" y="0"/>
                </a:cxn>
                <a:cxn ang="0">
                  <a:pos x="8" y="0"/>
                </a:cxn>
                <a:cxn ang="0">
                  <a:pos x="8" y="0"/>
                </a:cxn>
              </a:cxnLst>
              <a:rect l="0" t="0" r="r" b="b"/>
              <a:pathLst>
                <a:path w="21" h="36">
                  <a:moveTo>
                    <a:pt x="8" y="0"/>
                  </a:moveTo>
                  <a:lnTo>
                    <a:pt x="8" y="0"/>
                  </a:lnTo>
                  <a:lnTo>
                    <a:pt x="3" y="11"/>
                  </a:lnTo>
                  <a:lnTo>
                    <a:pt x="0" y="20"/>
                  </a:lnTo>
                  <a:lnTo>
                    <a:pt x="0" y="22"/>
                  </a:lnTo>
                  <a:lnTo>
                    <a:pt x="1" y="23"/>
                  </a:lnTo>
                  <a:lnTo>
                    <a:pt x="1" y="23"/>
                  </a:lnTo>
                  <a:lnTo>
                    <a:pt x="14" y="30"/>
                  </a:lnTo>
                  <a:lnTo>
                    <a:pt x="21" y="36"/>
                  </a:lnTo>
                  <a:lnTo>
                    <a:pt x="21" y="36"/>
                  </a:lnTo>
                  <a:lnTo>
                    <a:pt x="19" y="16"/>
                  </a:lnTo>
                  <a:lnTo>
                    <a:pt x="16" y="4"/>
                  </a:lnTo>
                  <a:lnTo>
                    <a:pt x="12" y="0"/>
                  </a:lnTo>
                  <a:lnTo>
                    <a:pt x="8" y="0"/>
                  </a:lnTo>
                  <a:lnTo>
                    <a:pt x="8" y="0"/>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6" name="Freeform 103">
              <a:extLst>
                <a:ext uri="{FF2B5EF4-FFF2-40B4-BE49-F238E27FC236}">
                  <a16:creationId xmlns:a16="http://schemas.microsoft.com/office/drawing/2014/main" id="{2946CDE1-06F3-4312-8E63-31FEA924D519}"/>
                </a:ext>
              </a:extLst>
            </p:cNvPr>
            <p:cNvSpPr>
              <a:spLocks/>
            </p:cNvSpPr>
            <p:nvPr/>
          </p:nvSpPr>
          <p:spPr bwMode="auto">
            <a:xfrm>
              <a:off x="6621332" y="51232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 ang="0">
                  <a:pos x="31" y="22"/>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lnTo>
                    <a:pt x="31" y="22"/>
                  </a:lnTo>
                  <a:close/>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sp>
          <p:nvSpPr>
            <p:cNvPr id="147" name="Freeform 104">
              <a:extLst>
                <a:ext uri="{FF2B5EF4-FFF2-40B4-BE49-F238E27FC236}">
                  <a16:creationId xmlns:a16="http://schemas.microsoft.com/office/drawing/2014/main" id="{00991B48-0637-4966-A099-4250D525F8B2}"/>
                </a:ext>
              </a:extLst>
            </p:cNvPr>
            <p:cNvSpPr>
              <a:spLocks/>
            </p:cNvSpPr>
            <p:nvPr/>
          </p:nvSpPr>
          <p:spPr bwMode="auto">
            <a:xfrm>
              <a:off x="6773732" y="5275678"/>
              <a:ext cx="28553" cy="21415"/>
            </a:xfrm>
            <a:custGeom>
              <a:avLst/>
              <a:gdLst/>
              <a:ahLst/>
              <a:cxnLst>
                <a:cxn ang="0">
                  <a:pos x="31" y="22"/>
                </a:cxn>
                <a:cxn ang="0">
                  <a:pos x="31" y="22"/>
                </a:cxn>
                <a:cxn ang="0">
                  <a:pos x="17" y="8"/>
                </a:cxn>
                <a:cxn ang="0">
                  <a:pos x="7" y="1"/>
                </a:cxn>
                <a:cxn ang="0">
                  <a:pos x="3" y="0"/>
                </a:cxn>
                <a:cxn ang="0">
                  <a:pos x="0" y="1"/>
                </a:cxn>
                <a:cxn ang="0">
                  <a:pos x="0" y="1"/>
                </a:cxn>
                <a:cxn ang="0">
                  <a:pos x="1" y="14"/>
                </a:cxn>
                <a:cxn ang="0">
                  <a:pos x="5" y="22"/>
                </a:cxn>
                <a:cxn ang="0">
                  <a:pos x="7" y="24"/>
                </a:cxn>
                <a:cxn ang="0">
                  <a:pos x="8" y="24"/>
                </a:cxn>
              </a:cxnLst>
              <a:rect l="0" t="0" r="r" b="b"/>
              <a:pathLst>
                <a:path w="31" h="24">
                  <a:moveTo>
                    <a:pt x="31" y="22"/>
                  </a:moveTo>
                  <a:lnTo>
                    <a:pt x="31" y="22"/>
                  </a:lnTo>
                  <a:lnTo>
                    <a:pt x="17" y="8"/>
                  </a:lnTo>
                  <a:lnTo>
                    <a:pt x="7" y="1"/>
                  </a:lnTo>
                  <a:lnTo>
                    <a:pt x="3" y="0"/>
                  </a:lnTo>
                  <a:lnTo>
                    <a:pt x="0" y="1"/>
                  </a:lnTo>
                  <a:lnTo>
                    <a:pt x="0" y="1"/>
                  </a:lnTo>
                  <a:lnTo>
                    <a:pt x="1" y="14"/>
                  </a:lnTo>
                  <a:lnTo>
                    <a:pt x="5" y="22"/>
                  </a:lnTo>
                  <a:lnTo>
                    <a:pt x="7" y="24"/>
                  </a:lnTo>
                  <a:lnTo>
                    <a:pt x="8" y="24"/>
                  </a:lnTo>
                </a:path>
              </a:pathLst>
            </a:custGeom>
            <a:grpFill/>
            <a:ln w="6350" cap="rnd" cmpd="sng">
              <a:noFill/>
              <a:prstDash val="solid"/>
              <a:round/>
              <a:headEnd type="none" w="sm" len="sm"/>
              <a:tailEnd type="none" w="sm" len="sm"/>
            </a:ln>
            <a:effectLst/>
          </p:spPr>
          <p:txBody>
            <a:bodyPr vert="horz" wrap="square" lIns="91440" tIns="45720" rIns="91440" bIns="45720" anchor="t"/>
            <a:lstStyle/>
            <a:p>
              <a:pPr algn="ctr" fontAlgn="base">
                <a:spcBef>
                  <a:spcPct val="0"/>
                </a:spcBef>
                <a:spcAft>
                  <a:spcPct val="0"/>
                </a:spcAft>
              </a:pPr>
              <a:endParaRPr lang="en-US" sz="1302">
                <a:solidFill>
                  <a:schemeClr val="bg1">
                    <a:lumMod val="20000"/>
                    <a:lumOff val="80000"/>
                  </a:schemeClr>
                </a:solidFill>
              </a:endParaRPr>
            </a:p>
          </p:txBody>
        </p:sp>
      </p:grpSp>
      <p:sp>
        <p:nvSpPr>
          <p:cNvPr id="2" name="Title 1"/>
          <p:cNvSpPr>
            <a:spLocks noGrp="1"/>
          </p:cNvSpPr>
          <p:nvPr>
            <p:ph type="title" hasCustomPrompt="1"/>
          </p:nvPr>
        </p:nvSpPr>
        <p:spPr>
          <a:xfrm>
            <a:off x="496253" y="294200"/>
            <a:ext cx="8932545" cy="590400"/>
          </a:xfrm>
        </p:spPr>
        <p:txBody>
          <a:bodyPr vert="horz" lIns="0" tIns="0" rIns="0" bIns="0" rtlCol="0" anchor="ctr" anchorCtr="0">
            <a:noAutofit/>
          </a:bodyPr>
          <a:lstStyle>
            <a:lvl1pPr>
              <a:defRPr lang="en-GB" sz="1302" b="1" dirty="0">
                <a:latin typeface="EYInterstate Light" panose="02000506000000020004" pitchFamily="2" charset="0"/>
              </a:defRPr>
            </a:lvl1pPr>
          </a:lstStyle>
          <a:p>
            <a:pPr lvl="0"/>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854033" y="6471572"/>
            <a:ext cx="2510970" cy="180000"/>
          </a:xfrm>
        </p:spPr>
        <p:txBody>
          <a:bodyPr/>
          <a:lstStyle>
            <a:lvl1pPr>
              <a:defRPr/>
            </a:lvl1pPr>
          </a:lstStyle>
          <a:p>
            <a:r>
              <a:rPr lang="fr-FR"/>
              <a:t>Wifak Bank- Elaboration du plan stratégique groupe « Horizon 2027 »</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183343" y="6471244"/>
            <a:ext cx="539496" cy="180000"/>
          </a:xfrm>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
        <p:nvSpPr>
          <p:cNvPr id="7" name="Rectangle 6">
            <a:extLst>
              <a:ext uri="{FF2B5EF4-FFF2-40B4-BE49-F238E27FC236}">
                <a16:creationId xmlns:a16="http://schemas.microsoft.com/office/drawing/2014/main" id="{FA07B844-CD12-4D89-B79A-8C24E8BC97F0}"/>
              </a:ext>
            </a:extLst>
          </p:cNvPr>
          <p:cNvSpPr>
            <a:spLocks/>
          </p:cNvSpPr>
          <p:nvPr userDrawn="1"/>
        </p:nvSpPr>
        <p:spPr>
          <a:xfrm>
            <a:off x="0" y="0"/>
            <a:ext cx="9925050" cy="6858000"/>
          </a:xfrm>
          <a:prstGeom prst="rect">
            <a:avLst/>
          </a:prstGeom>
          <a:noFill/>
          <a:ln w="2540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76" dirty="0">
              <a:solidFill>
                <a:schemeClr val="tx1"/>
              </a:solidFill>
            </a:endParaRPr>
          </a:p>
        </p:txBody>
      </p:sp>
      <p:grpSp>
        <p:nvGrpSpPr>
          <p:cNvPr id="148" name="Group 4">
            <a:extLst>
              <a:ext uri="{FF2B5EF4-FFF2-40B4-BE49-F238E27FC236}">
                <a16:creationId xmlns:a16="http://schemas.microsoft.com/office/drawing/2014/main" id="{937A1B83-BB7C-400F-BAC3-AF133E163EC2}"/>
              </a:ext>
            </a:extLst>
          </p:cNvPr>
          <p:cNvGrpSpPr>
            <a:grpSpLocks/>
          </p:cNvGrpSpPr>
          <p:nvPr userDrawn="1"/>
        </p:nvGrpSpPr>
        <p:grpSpPr bwMode="auto">
          <a:xfrm>
            <a:off x="9473750" y="6396957"/>
            <a:ext cx="246706" cy="252000"/>
            <a:chOff x="7110" y="4004"/>
            <a:chExt cx="191" cy="196"/>
          </a:xfrm>
        </p:grpSpPr>
        <p:sp>
          <p:nvSpPr>
            <p:cNvPr id="149" name="Freeform 5">
              <a:extLst>
                <a:ext uri="{FF2B5EF4-FFF2-40B4-BE49-F238E27FC236}">
                  <a16:creationId xmlns:a16="http://schemas.microsoft.com/office/drawing/2014/main" id="{F06F4589-F030-4815-9EC1-3C08C504910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0" name="Freeform 6">
              <a:extLst>
                <a:ext uri="{FF2B5EF4-FFF2-40B4-BE49-F238E27FC236}">
                  <a16:creationId xmlns:a16="http://schemas.microsoft.com/office/drawing/2014/main" id="{2C6C322D-D5B4-4DAD-8AAF-412BCE41D64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sp>
          <p:nvSpPr>
            <p:cNvPr id="151" name="Freeform 7">
              <a:extLst>
                <a:ext uri="{FF2B5EF4-FFF2-40B4-BE49-F238E27FC236}">
                  <a16:creationId xmlns:a16="http://schemas.microsoft.com/office/drawing/2014/main" id="{AD99AED7-2948-4440-9CF9-B5D61AD0296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64" dirty="0"/>
            </a:p>
          </p:txBody>
        </p:sp>
      </p:grpSp>
    </p:spTree>
    <p:extLst>
      <p:ext uri="{BB962C8B-B14F-4D97-AF65-F5344CB8AC3E}">
        <p14:creationId xmlns:p14="http://schemas.microsoft.com/office/powerpoint/2010/main" val="1101369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671122" y="1"/>
            <a:ext cx="3253929" cy="6156104"/>
          </a:xfrm>
        </p:spPr>
        <p:txBody>
          <a:bodyPr/>
          <a:lstStyle/>
          <a:p>
            <a:endParaRPr lang="en-IN" dirty="0"/>
          </a:p>
        </p:txBody>
      </p:sp>
      <p:sp>
        <p:nvSpPr>
          <p:cNvPr id="2" name="Title 1"/>
          <p:cNvSpPr>
            <a:spLocks noGrp="1"/>
          </p:cNvSpPr>
          <p:nvPr>
            <p:ph type="title"/>
          </p:nvPr>
        </p:nvSpPr>
        <p:spPr>
          <a:xfrm>
            <a:off x="496254" y="294200"/>
            <a:ext cx="6057070" cy="590400"/>
          </a:xfrm>
        </p:spPr>
        <p:txBody>
          <a:bodyPr/>
          <a:lstStyle>
            <a:lvl1pPr>
              <a:defRPr sz="1953">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96253" y="1137921"/>
            <a:ext cx="5939271" cy="873760"/>
          </a:xfrm>
        </p:spPr>
        <p:txBody>
          <a:bodyPr/>
          <a:lstStyle>
            <a:lvl1pPr marL="0" indent="0">
              <a:buNone/>
              <a:defRPr sz="1464">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96253" y="2311401"/>
            <a:ext cx="2912922" cy="3844704"/>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522603" y="2311402"/>
            <a:ext cx="2912922" cy="1254759"/>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522603" y="4236721"/>
            <a:ext cx="2912922" cy="1944160"/>
          </a:xfrm>
        </p:spPr>
        <p:txBody>
          <a:bodyPr numCol="1"/>
          <a:lstStyle>
            <a:lvl1pPr marL="0" indent="0">
              <a:buNone/>
              <a:defRPr sz="1464">
                <a:solidFill>
                  <a:schemeClr val="bg1"/>
                </a:solidFill>
                <a:latin typeface="Georgia" panose="02040502050405020303" pitchFamily="18" charset="0"/>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96253" y="907750"/>
            <a:ext cx="628442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1450013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940089" cy="6857999"/>
          </a:xfrm>
        </p:spPr>
        <p:txBody>
          <a:bodyPr/>
          <a:lstStyle/>
          <a:p>
            <a:endParaRPr lang="en-IN" dirty="0"/>
          </a:p>
        </p:txBody>
      </p:sp>
      <p:sp>
        <p:nvSpPr>
          <p:cNvPr id="2" name="Title 1"/>
          <p:cNvSpPr>
            <a:spLocks noGrp="1"/>
          </p:cNvSpPr>
          <p:nvPr>
            <p:ph type="title"/>
          </p:nvPr>
        </p:nvSpPr>
        <p:spPr>
          <a:xfrm>
            <a:off x="2192995" y="294200"/>
            <a:ext cx="7234876" cy="590400"/>
          </a:xfrm>
        </p:spPr>
        <p:txBody>
          <a:bodyPr/>
          <a:lstStyle>
            <a:lvl1pPr>
              <a:defRPr sz="1953">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192995" y="1137921"/>
            <a:ext cx="2231715" cy="5018184"/>
          </a:xfrm>
        </p:spPr>
        <p:txBody>
          <a:bodyPr/>
          <a:lstStyle>
            <a:lvl1pPr marL="0" indent="0">
              <a:buNone/>
              <a:defRPr sz="1464">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659777" y="1137921"/>
            <a:ext cx="2281314" cy="5018184"/>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7176157" y="1137922"/>
            <a:ext cx="2252640" cy="2796151"/>
          </a:xfrm>
        </p:spPr>
        <p:txBody>
          <a:bodyPr numCol="1"/>
          <a:lstStyle>
            <a:lvl1pPr marL="0" indent="0">
              <a:buNone/>
              <a:defRPr sz="1139">
                <a:solidFill>
                  <a:schemeClr val="bg1"/>
                </a:solidFill>
              </a:defRPr>
            </a:lvl1pPr>
            <a:lvl2pPr marL="290143" indent="0">
              <a:buNone/>
              <a:defRPr sz="1464">
                <a:solidFill>
                  <a:schemeClr val="bg1"/>
                </a:solidFill>
              </a:defRPr>
            </a:lvl2pPr>
            <a:lvl3pPr marL="580286" indent="0">
              <a:buNone/>
              <a:defRPr sz="1302">
                <a:solidFill>
                  <a:schemeClr val="bg1"/>
                </a:solidFill>
              </a:defRPr>
            </a:lvl3pPr>
            <a:lvl4pPr marL="870428" indent="0">
              <a:buNone/>
              <a:defRPr sz="1139">
                <a:solidFill>
                  <a:schemeClr val="bg1"/>
                </a:solidFill>
              </a:defRPr>
            </a:lvl4pPr>
            <a:lvl5pPr marL="1160571" indent="0">
              <a:buNone/>
              <a:defRPr sz="976">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192995" y="907750"/>
            <a:ext cx="723487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fr-FR"/>
              <a:t>Wifak Bank- Elaboration du plan stratégique groupe « Horizon 2027 »</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71089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96253" y="294200"/>
            <a:ext cx="893254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96253" y="1137920"/>
            <a:ext cx="6703361" cy="4834800"/>
          </a:xfrm>
        </p:spPr>
        <p:txBody>
          <a:bodyPr/>
          <a:lstStyle>
            <a:lvl1pPr marL="0" indent="0">
              <a:spcBef>
                <a:spcPts val="0"/>
              </a:spcBef>
              <a:buNone/>
              <a:defRPr>
                <a:solidFill>
                  <a:schemeClr val="bg1"/>
                </a:solidFill>
              </a:defRPr>
            </a:lvl1pPr>
            <a:lvl2pPr marL="0" indent="0">
              <a:spcBef>
                <a:spcPts val="0"/>
              </a:spcBef>
              <a:buNone/>
              <a:defRPr sz="1464">
                <a:solidFill>
                  <a:schemeClr val="bg1"/>
                </a:solidFill>
              </a:defRPr>
            </a:lvl2pPr>
            <a:lvl3pPr marL="0" indent="0">
              <a:spcBef>
                <a:spcPts val="0"/>
              </a:spcBef>
              <a:buNone/>
              <a:defRPr sz="1302">
                <a:solidFill>
                  <a:schemeClr val="bg1"/>
                </a:solidFill>
              </a:defRPr>
            </a:lvl3pPr>
            <a:lvl4pPr marL="0" indent="0">
              <a:spcBef>
                <a:spcPts val="0"/>
              </a:spcBef>
              <a:buNone/>
              <a:defRPr sz="1139">
                <a:solidFill>
                  <a:schemeClr val="bg1"/>
                </a:solidFill>
              </a:defRPr>
            </a:lvl4pPr>
            <a:lvl5pPr marL="0" indent="0">
              <a:spcBef>
                <a:spcPts val="0"/>
              </a:spcBef>
              <a:buNone/>
              <a:defRPr sz="976">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496253" y="907750"/>
            <a:ext cx="8933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4"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fr-FR"/>
              <a:t>Wifak Bank- Elaboration du plan stratégique groupe « Horizon 2027 »</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6460789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BB2FDC-40A7-411D-8807-3B19B63F408F}"/>
              </a:ext>
            </a:extLst>
          </p:cNvPr>
          <p:cNvGraphicFramePr>
            <a:graphicFrameLocks noChangeAspect="1"/>
          </p:cNvGraphicFramePr>
          <p:nvPr userDrawn="1">
            <p:custDataLst>
              <p:tags r:id="rId33"/>
            </p:custDataLst>
            <p:extLst>
              <p:ext uri="{D42A27DB-BD31-4B8C-83A1-F6EECF244321}">
                <p14:modId xmlns:p14="http://schemas.microsoft.com/office/powerpoint/2010/main" val="6642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4" imgW="247" imgH="248" progId="TCLayout.ActiveDocument.1">
                  <p:embed/>
                </p:oleObj>
              </mc:Choice>
              <mc:Fallback>
                <p:oleObj name="Diapositive think-cell" r:id="rId34" imgW="247" imgH="248" progId="TCLayout.ActiveDocument.1">
                  <p:embed/>
                  <p:pic>
                    <p:nvPicPr>
                      <p:cNvPr id="5" name="Object 4" hidden="1">
                        <a:extLst>
                          <a:ext uri="{FF2B5EF4-FFF2-40B4-BE49-F238E27FC236}">
                            <a16:creationId xmlns:a16="http://schemas.microsoft.com/office/drawing/2014/main" id="{F2BB2FDC-40A7-411D-8807-3B19B63F408F}"/>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6253" y="294200"/>
            <a:ext cx="893254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96253" y="1137920"/>
            <a:ext cx="893254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162631" y="6471244"/>
            <a:ext cx="969254" cy="180000"/>
          </a:xfrm>
          <a:prstGeom prst="rect">
            <a:avLst/>
          </a:prstGeom>
        </p:spPr>
        <p:txBody>
          <a:bodyPr/>
          <a:lstStyle>
            <a:lvl1pPr marL="0" algn="l" defTabSz="743956" rtl="0" eaLnBrk="1" latinLnBrk="0" hangingPunct="1">
              <a:defRPr lang="en-US" sz="651" kern="1200" smtClean="0">
                <a:solidFill>
                  <a:schemeClr val="bg1"/>
                </a:solidFill>
                <a:latin typeface="EYInterstate Light" panose="02000506000000020004" pitchFamily="2" charset="0"/>
                <a:ea typeface="+mn-ea"/>
                <a:cs typeface="+mn-cs"/>
              </a:defRPr>
            </a:lvl1pPr>
          </a:lstStyle>
          <a:p>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35529" y="6471244"/>
            <a:ext cx="2510970" cy="180000"/>
          </a:xfrm>
          <a:prstGeom prst="rect">
            <a:avLst/>
          </a:prstGeom>
        </p:spPr>
        <p:txBody>
          <a:bodyPr/>
          <a:lstStyle>
            <a:lvl1pPr marL="0" algn="l" defTabSz="743956" rtl="0" eaLnBrk="1" latinLnBrk="0" hangingPunct="1">
              <a:defRPr lang="en-US" sz="651" kern="1200" smtClean="0">
                <a:solidFill>
                  <a:schemeClr val="bg1"/>
                </a:solidFill>
                <a:latin typeface="EYInterstate Light" panose="02000506000000020004" pitchFamily="2" charset="0"/>
                <a:ea typeface="+mn-ea"/>
                <a:cs typeface="+mn-cs"/>
              </a:defRPr>
            </a:lvl1pPr>
          </a:lstStyle>
          <a:p>
            <a:r>
              <a:rPr lang="fr-FR" dirty="0" err="1"/>
              <a:t>Wifak</a:t>
            </a:r>
            <a:r>
              <a:rPr lang="fr-FR" dirty="0"/>
              <a:t> Bank- Elaboration du plan stratégique groupe « Horizon 2027 »</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502195" y="6471244"/>
            <a:ext cx="539496" cy="180000"/>
          </a:xfrm>
          <a:prstGeom prst="rect">
            <a:avLst/>
          </a:prstGeom>
        </p:spPr>
        <p:txBody>
          <a:bodyPr/>
          <a:lstStyle>
            <a:lvl1pPr marL="0" algn="l" defTabSz="743956" rtl="0" eaLnBrk="1" latinLnBrk="0" hangingPunct="1">
              <a:defRPr lang="en-GB" sz="651" kern="1200" smtClean="0">
                <a:solidFill>
                  <a:schemeClr val="bg1"/>
                </a:solidFill>
                <a:latin typeface="EYInterstate" panose="02000503020000020004" pitchFamily="2" charset="0"/>
                <a:ea typeface="+mn-ea"/>
                <a:cs typeface="+mn-cs"/>
              </a:defRPr>
            </a:lvl1pPr>
          </a:lstStyle>
          <a:p>
            <a:r>
              <a:rPr lang="en-IN" dirty="0">
                <a:latin typeface="EYInterstate Light" panose="02000506000000020004" pitchFamily="2" charset="0"/>
              </a:rPr>
              <a:t>Page </a:t>
            </a:r>
            <a:fld id="{F1BC30E3-FFE5-4B91-AA19-87A149EBB9EE}" type="slidenum">
              <a:rPr smtClean="0">
                <a:latin typeface="EYInterstate Light" panose="02000506000000020004" pitchFamily="2" charset="0"/>
              </a:rPr>
              <a:pPr/>
              <a:t>‹#›</a:t>
            </a:fld>
            <a:endParaRPr dirty="0">
              <a:latin typeface="EYInterstate Light" panose="02000506000000020004" pitchFamily="2" charset="0"/>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5" r:id="rId1"/>
    <p:sldLayoutId id="2147483897" r:id="rId2"/>
    <p:sldLayoutId id="2147483898" r:id="rId3"/>
    <p:sldLayoutId id="2147483930" r:id="rId4"/>
    <p:sldLayoutId id="2147483931" r:id="rId5"/>
    <p:sldLayoutId id="2147483929"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sldNum="0" hdr="0" dt="0"/>
  <p:txStyles>
    <p:titleStyle>
      <a:lvl1pPr algn="l" defTabSz="743956" rtl="0" eaLnBrk="1" latinLnBrk="0" hangingPunct="1">
        <a:lnSpc>
          <a:spcPct val="85000"/>
        </a:lnSpc>
        <a:spcBef>
          <a:spcPct val="0"/>
        </a:spcBef>
        <a:buNone/>
        <a:defRPr sz="1953" b="0" kern="1200">
          <a:solidFill>
            <a:schemeClr val="bg1"/>
          </a:solidFill>
          <a:latin typeface="EYInterstate Light" panose="02000506000000020004" pitchFamily="2" charset="0"/>
          <a:ea typeface="+mj-ea"/>
          <a:cs typeface="Arial" pitchFamily="34" charset="0"/>
        </a:defRPr>
      </a:lvl1pPr>
    </p:titleStyle>
    <p:bodyStyle>
      <a:lvl1pPr marL="290143" indent="-290143" algn="l" defTabSz="743956" rtl="0" eaLnBrk="1" latinLnBrk="0" hangingPunct="1">
        <a:spcBef>
          <a:spcPct val="20000"/>
        </a:spcBef>
        <a:buClr>
          <a:schemeClr val="tx2"/>
        </a:buClr>
        <a:buSzPct val="110000"/>
        <a:buFont typeface="EYInterstate Light" panose="02000506000000020004" pitchFamily="2" charset="0"/>
        <a:buChar char="•"/>
        <a:defRPr sz="1627" kern="1200">
          <a:solidFill>
            <a:schemeClr val="bg1"/>
          </a:solidFill>
          <a:latin typeface="EYInterstate Light" panose="02000506000000020004" pitchFamily="2" charset="0"/>
          <a:ea typeface="+mn-ea"/>
          <a:cs typeface="+mn-cs"/>
        </a:defRPr>
      </a:lvl1pPr>
      <a:lvl2pPr marL="580286" indent="-290143" algn="l" defTabSz="743956" rtl="0" eaLnBrk="1" latinLnBrk="0" hangingPunct="1">
        <a:spcBef>
          <a:spcPct val="20000"/>
        </a:spcBef>
        <a:buClr>
          <a:schemeClr val="tx2"/>
        </a:buClr>
        <a:buSzPct val="110000"/>
        <a:buFont typeface="EYInterstate Light" panose="02000506000000020004" pitchFamily="2" charset="0"/>
        <a:buChar char="•"/>
        <a:defRPr sz="1464" kern="1200">
          <a:solidFill>
            <a:schemeClr val="bg1"/>
          </a:solidFill>
          <a:latin typeface="EYInterstate Light" panose="02000506000000020004" pitchFamily="2" charset="0"/>
          <a:ea typeface="+mn-ea"/>
          <a:cs typeface="+mn-cs"/>
        </a:defRPr>
      </a:lvl2pPr>
      <a:lvl3pPr marL="870428" indent="-290143" algn="l" defTabSz="743956" rtl="0" eaLnBrk="1" latinLnBrk="0" hangingPunct="1">
        <a:spcBef>
          <a:spcPct val="20000"/>
        </a:spcBef>
        <a:buClr>
          <a:schemeClr val="tx2"/>
        </a:buClr>
        <a:buSzPct val="110000"/>
        <a:buFont typeface="EYInterstate Light" panose="02000506000000020004" pitchFamily="2" charset="0"/>
        <a:buChar char="•"/>
        <a:defRPr sz="1302" kern="1200">
          <a:solidFill>
            <a:schemeClr val="bg1"/>
          </a:solidFill>
          <a:latin typeface="EYInterstate Light" panose="02000506000000020004" pitchFamily="2" charset="0"/>
          <a:ea typeface="+mn-ea"/>
          <a:cs typeface="+mn-cs"/>
        </a:defRPr>
      </a:lvl3pPr>
      <a:lvl4pPr marL="1160571" indent="-290143" algn="l" defTabSz="743956" rtl="0" eaLnBrk="1" latinLnBrk="0" hangingPunct="1">
        <a:spcBef>
          <a:spcPct val="20000"/>
        </a:spcBef>
        <a:buClr>
          <a:schemeClr val="tx2"/>
        </a:buClr>
        <a:buSzPct val="110000"/>
        <a:buFont typeface="EYInterstate Light" panose="02000506000000020004" pitchFamily="2" charset="0"/>
        <a:buChar char="•"/>
        <a:defRPr sz="1139" kern="1200">
          <a:solidFill>
            <a:schemeClr val="bg1"/>
          </a:solidFill>
          <a:latin typeface="EYInterstate Light" panose="02000506000000020004" pitchFamily="2" charset="0"/>
          <a:ea typeface="+mn-ea"/>
          <a:cs typeface="+mn-cs"/>
        </a:defRPr>
      </a:lvl4pPr>
      <a:lvl5pPr marL="1450714" indent="-290143" algn="l" defTabSz="743956" rtl="0" eaLnBrk="1" latinLnBrk="0" hangingPunct="1">
        <a:spcBef>
          <a:spcPct val="20000"/>
        </a:spcBef>
        <a:buClr>
          <a:schemeClr val="tx2"/>
        </a:buClr>
        <a:buSzPct val="110000"/>
        <a:buFont typeface="EYInterstate Light" panose="02000506000000020004" pitchFamily="2" charset="0"/>
        <a:buChar char="•"/>
        <a:defRPr sz="976" kern="1200">
          <a:solidFill>
            <a:schemeClr val="bg1"/>
          </a:solidFill>
          <a:latin typeface="EYInterstate Light" panose="02000506000000020004" pitchFamily="2" charset="0"/>
          <a:ea typeface="+mn-ea"/>
          <a:cs typeface="+mn-cs"/>
        </a:defRPr>
      </a:lvl5pPr>
      <a:lvl6pPr marL="2045879"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6pPr>
      <a:lvl7pPr marL="2417856"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7pPr>
      <a:lvl8pPr marL="2789834"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8pPr>
      <a:lvl9pPr marL="3161812" indent="-185989" algn="l" defTabSz="743956" rtl="0" eaLnBrk="1" latinLnBrk="0" hangingPunct="1">
        <a:spcBef>
          <a:spcPct val="20000"/>
        </a:spcBef>
        <a:buFont typeface="Arial" pitchFamily="34" charset="0"/>
        <a:buChar char="•"/>
        <a:defRPr sz="1627" kern="1200">
          <a:solidFill>
            <a:schemeClr val="tx1"/>
          </a:solidFill>
          <a:latin typeface="+mn-lt"/>
          <a:ea typeface="+mn-ea"/>
          <a:cs typeface="+mn-cs"/>
        </a:defRPr>
      </a:lvl9pPr>
    </p:bodyStyle>
    <p:otherStyle>
      <a:defPPr>
        <a:defRPr lang="en-US"/>
      </a:defPPr>
      <a:lvl1pPr marL="0" algn="l" defTabSz="743956" rtl="0" eaLnBrk="1" latinLnBrk="0" hangingPunct="1">
        <a:defRPr sz="1464" kern="1200">
          <a:solidFill>
            <a:schemeClr val="tx1"/>
          </a:solidFill>
          <a:latin typeface="+mn-lt"/>
          <a:ea typeface="+mn-ea"/>
          <a:cs typeface="+mn-cs"/>
        </a:defRPr>
      </a:lvl1pPr>
      <a:lvl2pPr marL="371978" algn="l" defTabSz="743956" rtl="0" eaLnBrk="1" latinLnBrk="0" hangingPunct="1">
        <a:defRPr sz="1464" kern="1200">
          <a:solidFill>
            <a:schemeClr val="tx1"/>
          </a:solidFill>
          <a:latin typeface="+mn-lt"/>
          <a:ea typeface="+mn-ea"/>
          <a:cs typeface="+mn-cs"/>
        </a:defRPr>
      </a:lvl2pPr>
      <a:lvl3pPr marL="743956" algn="l" defTabSz="743956" rtl="0" eaLnBrk="1" latinLnBrk="0" hangingPunct="1">
        <a:defRPr sz="1464" kern="1200">
          <a:solidFill>
            <a:schemeClr val="tx1"/>
          </a:solidFill>
          <a:latin typeface="+mn-lt"/>
          <a:ea typeface="+mn-ea"/>
          <a:cs typeface="+mn-cs"/>
        </a:defRPr>
      </a:lvl3pPr>
      <a:lvl4pPr marL="1115934" algn="l" defTabSz="743956" rtl="0" eaLnBrk="1" latinLnBrk="0" hangingPunct="1">
        <a:defRPr sz="1464" kern="1200">
          <a:solidFill>
            <a:schemeClr val="tx1"/>
          </a:solidFill>
          <a:latin typeface="+mn-lt"/>
          <a:ea typeface="+mn-ea"/>
          <a:cs typeface="+mn-cs"/>
        </a:defRPr>
      </a:lvl4pPr>
      <a:lvl5pPr marL="1487912" algn="l" defTabSz="743956" rtl="0" eaLnBrk="1" latinLnBrk="0" hangingPunct="1">
        <a:defRPr sz="1464" kern="1200">
          <a:solidFill>
            <a:schemeClr val="tx1"/>
          </a:solidFill>
          <a:latin typeface="+mn-lt"/>
          <a:ea typeface="+mn-ea"/>
          <a:cs typeface="+mn-cs"/>
        </a:defRPr>
      </a:lvl5pPr>
      <a:lvl6pPr marL="1859890" algn="l" defTabSz="743956" rtl="0" eaLnBrk="1" latinLnBrk="0" hangingPunct="1">
        <a:defRPr sz="1464" kern="1200">
          <a:solidFill>
            <a:schemeClr val="tx1"/>
          </a:solidFill>
          <a:latin typeface="+mn-lt"/>
          <a:ea typeface="+mn-ea"/>
          <a:cs typeface="+mn-cs"/>
        </a:defRPr>
      </a:lvl6pPr>
      <a:lvl7pPr marL="2231868" algn="l" defTabSz="743956" rtl="0" eaLnBrk="1" latinLnBrk="0" hangingPunct="1">
        <a:defRPr sz="1464" kern="1200">
          <a:solidFill>
            <a:schemeClr val="tx1"/>
          </a:solidFill>
          <a:latin typeface="+mn-lt"/>
          <a:ea typeface="+mn-ea"/>
          <a:cs typeface="+mn-cs"/>
        </a:defRPr>
      </a:lvl7pPr>
      <a:lvl8pPr marL="2603845" algn="l" defTabSz="743956" rtl="0" eaLnBrk="1" latinLnBrk="0" hangingPunct="1">
        <a:defRPr sz="1464" kern="1200">
          <a:solidFill>
            <a:schemeClr val="tx1"/>
          </a:solidFill>
          <a:latin typeface="+mn-lt"/>
          <a:ea typeface="+mn-ea"/>
          <a:cs typeface="+mn-cs"/>
        </a:defRPr>
      </a:lvl8pPr>
      <a:lvl9pPr marL="2975823" algn="l" defTabSz="743956" rtl="0" eaLnBrk="1" latinLnBrk="0" hangingPunct="1">
        <a:defRPr sz="14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emf"/><Relationship Id="rId5" Type="http://schemas.openxmlformats.org/officeDocument/2006/relationships/oleObject" Target="../embeddings/oleObject5.bin"/><Relationship Id="rId4" Type="http://schemas.microsoft.com/office/2018/10/relationships/comments" Target="../comments/modernComment_14F_7AE714B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943B9D-6110-4EE2-AF53-24F3413EF405}"/>
              </a:ext>
            </a:extLst>
          </p:cNvPr>
          <p:cNvGraphicFramePr>
            <a:graphicFrameLocks noChangeAspect="1"/>
          </p:cNvGraphicFramePr>
          <p:nvPr>
            <p:custDataLst>
              <p:tags r:id="rId1"/>
            </p:custDataLst>
            <p:extLst>
              <p:ext uri="{D42A27DB-BD31-4B8C-83A1-F6EECF244321}">
                <p14:modId xmlns:p14="http://schemas.microsoft.com/office/powerpoint/2010/main" val="163135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6" progId="TCLayout.ActiveDocument.1">
                  <p:embed/>
                </p:oleObj>
              </mc:Choice>
              <mc:Fallback>
                <p:oleObj name="Diapositive think-cell" r:id="rId4" imgW="473" imgH="476" progId="TCLayout.ActiveDocument.1">
                  <p:embed/>
                  <p:pic>
                    <p:nvPicPr>
                      <p:cNvPr id="8" name="Object 7" hidden="1">
                        <a:extLst>
                          <a:ext uri="{FF2B5EF4-FFF2-40B4-BE49-F238E27FC236}">
                            <a16:creationId xmlns:a16="http://schemas.microsoft.com/office/drawing/2014/main" id="{68943B9D-6110-4EE2-AF53-24F3413EF4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0560DC-E33A-4444-9986-1177F0BB9AC5}"/>
              </a:ext>
            </a:extLst>
          </p:cNvPr>
          <p:cNvSpPr>
            <a:spLocks noGrp="1"/>
          </p:cNvSpPr>
          <p:nvPr>
            <p:ph type="title"/>
          </p:nvPr>
        </p:nvSpPr>
        <p:spPr/>
        <p:txBody>
          <a:bodyPr vert="horz" lIns="0" tIns="0" rIns="0" bIns="0" rtlCol="0" anchor="ctr" anchorCtr="0">
            <a:noAutofit/>
          </a:bodyPr>
          <a:lstStyle/>
          <a:p>
            <a:pPr>
              <a:lnSpc>
                <a:spcPct val="100000"/>
              </a:lnSpc>
            </a:pPr>
            <a:r>
              <a:rPr lang="en-US" sz="1400" b="1" dirty="0" err="1"/>
              <a:t>Annexe</a:t>
            </a:r>
            <a:r>
              <a:rPr lang="en-US" sz="1400" b="1" dirty="0"/>
              <a:t> 8 : LISTE DES INTERVENANTS </a:t>
            </a:r>
            <a:br>
              <a:rPr lang="en-US" sz="1302" b="1" dirty="0"/>
            </a:br>
            <a:r>
              <a:rPr lang="en-US" sz="1302" dirty="0"/>
              <a:t>Expert </a:t>
            </a:r>
            <a:r>
              <a:rPr lang="en-US" sz="1302" dirty="0" err="1"/>
              <a:t>Stratégie</a:t>
            </a:r>
            <a:r>
              <a:rPr lang="en-US" sz="1302" dirty="0"/>
              <a:t> </a:t>
            </a:r>
            <a:r>
              <a:rPr lang="en-US" sz="1302" dirty="0" err="1"/>
              <a:t>Bancaire</a:t>
            </a:r>
            <a:r>
              <a:rPr lang="en-US" sz="1302" dirty="0"/>
              <a:t> (1/4)</a:t>
            </a:r>
            <a:endParaRPr lang="en-US" sz="1400" dirty="0"/>
          </a:p>
        </p:txBody>
      </p:sp>
      <p:graphicFrame>
        <p:nvGraphicFramePr>
          <p:cNvPr id="13" name="Tableau 12">
            <a:extLst>
              <a:ext uri="{FF2B5EF4-FFF2-40B4-BE49-F238E27FC236}">
                <a16:creationId xmlns:a16="http://schemas.microsoft.com/office/drawing/2014/main" id="{8BE54033-F6CE-4FEA-A5CE-50B69EF57EC3}"/>
              </a:ext>
            </a:extLst>
          </p:cNvPr>
          <p:cNvGraphicFramePr>
            <a:graphicFrameLocks noGrp="1"/>
          </p:cNvGraphicFramePr>
          <p:nvPr>
            <p:custDataLst>
              <p:tags r:id="rId2"/>
            </p:custDataLst>
            <p:extLst>
              <p:ext uri="{D42A27DB-BD31-4B8C-83A1-F6EECF244321}">
                <p14:modId xmlns:p14="http://schemas.microsoft.com/office/powerpoint/2010/main" val="1786768252"/>
              </p:ext>
            </p:extLst>
          </p:nvPr>
        </p:nvGraphicFramePr>
        <p:xfrm>
          <a:off x="496253" y="1014414"/>
          <a:ext cx="8932544" cy="5477351"/>
        </p:xfrm>
        <a:graphic>
          <a:graphicData uri="http://schemas.openxmlformats.org/drawingml/2006/table">
            <a:tbl>
              <a:tblPr/>
              <a:tblGrid>
                <a:gridCol w="2001019">
                  <a:extLst>
                    <a:ext uri="{9D8B030D-6E8A-4147-A177-3AD203B41FA5}">
                      <a16:colId xmlns:a16="http://schemas.microsoft.com/office/drawing/2014/main" val="2527728950"/>
                    </a:ext>
                  </a:extLst>
                </a:gridCol>
                <a:gridCol w="1512769">
                  <a:extLst>
                    <a:ext uri="{9D8B030D-6E8A-4147-A177-3AD203B41FA5}">
                      <a16:colId xmlns:a16="http://schemas.microsoft.com/office/drawing/2014/main" val="4025556225"/>
                    </a:ext>
                  </a:extLst>
                </a:gridCol>
                <a:gridCol w="963315">
                  <a:extLst>
                    <a:ext uri="{9D8B030D-6E8A-4147-A177-3AD203B41FA5}">
                      <a16:colId xmlns:a16="http://schemas.microsoft.com/office/drawing/2014/main" val="1746796232"/>
                    </a:ext>
                  </a:extLst>
                </a:gridCol>
                <a:gridCol w="4455441">
                  <a:extLst>
                    <a:ext uri="{9D8B030D-6E8A-4147-A177-3AD203B41FA5}">
                      <a16:colId xmlns:a16="http://schemas.microsoft.com/office/drawing/2014/main" val="1894767145"/>
                    </a:ext>
                  </a:extLst>
                </a:gridCol>
              </a:tblGrid>
              <a:tr h="173070">
                <a:tc gridSpan="4">
                  <a:txBody>
                    <a:bodyPr/>
                    <a:lstStyle/>
                    <a:p>
                      <a:pPr algn="ctr" fontAlgn="ctr"/>
                      <a:r>
                        <a:rPr lang="fr-FR" sz="1100" b="1" i="0" u="none" strike="noStrike" dirty="0">
                          <a:solidFill>
                            <a:srgbClr val="000000"/>
                          </a:solidFill>
                          <a:effectLst/>
                          <a:latin typeface="+mn-lt"/>
                          <a:cs typeface="Calibri" panose="020F0502020204030204" pitchFamily="34" charset="0"/>
                        </a:rPr>
                        <a:t>Nadia TOUHAMI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532496453"/>
                  </a:ext>
                </a:extLst>
              </a:tr>
              <a:tr h="173070">
                <a:tc gridSpan="4">
                  <a:txBody>
                    <a:bodyPr/>
                    <a:lstStyle/>
                    <a:p>
                      <a:pPr algn="ctr" fontAlgn="ctr"/>
                      <a:r>
                        <a:rPr lang="fr-FR" sz="1000" b="1" i="0" u="none" strike="noStrike" dirty="0">
                          <a:solidFill>
                            <a:srgbClr val="000000"/>
                          </a:solidFill>
                          <a:effectLst/>
                          <a:latin typeface="+mn-lt"/>
                        </a:rPr>
                        <a:t>Nombre d’années d’expérience: 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solidFill>
                      <a:schemeClr val="tx1">
                        <a:lumMod val="85000"/>
                      </a:schemeClr>
                    </a:solidFill>
                  </a:tcPr>
                </a:tc>
                <a:extLst>
                  <a:ext uri="{0D108BD9-81ED-4DB2-BD59-A6C34878D82A}">
                    <a16:rowId xmlns:a16="http://schemas.microsoft.com/office/drawing/2014/main" val="1912037596"/>
                  </a:ext>
                </a:extLst>
              </a:tr>
              <a:tr h="173070">
                <a:tc gridSpan="4">
                  <a:txBody>
                    <a:bodyPr/>
                    <a:lstStyle/>
                    <a:p>
                      <a:pPr algn="ctr" fontAlgn="ctr"/>
                      <a:r>
                        <a:rPr lang="fr-FR" sz="1000" b="1" i="0" u="none" strike="noStrike" dirty="0">
                          <a:solidFill>
                            <a:srgbClr val="000000"/>
                          </a:solidFill>
                          <a:effectLst/>
                          <a:latin typeface="+mn-lt"/>
                        </a:rPr>
                        <a:t>Nombre des missions similaires dans le secteur bancaire: 17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solidFill>
                      <a:schemeClr val="tx1">
                        <a:lumMod val="85000"/>
                      </a:schemeClr>
                    </a:solidFill>
                  </a:tcPr>
                </a:tc>
                <a:extLst>
                  <a:ext uri="{0D108BD9-81ED-4DB2-BD59-A6C34878D82A}">
                    <a16:rowId xmlns:a16="http://schemas.microsoft.com/office/drawing/2014/main" val="3162895506"/>
                  </a:ext>
                </a:extLst>
              </a:tr>
              <a:tr h="173070">
                <a:tc gridSpan="4">
                  <a:txBody>
                    <a:bodyPr/>
                    <a:lstStyle/>
                    <a:p>
                      <a:pPr algn="ctr" fontAlgn="ctr"/>
                      <a:r>
                        <a:rPr lang="fr-FR" sz="1000" b="1" i="0" u="none" strike="noStrike" dirty="0">
                          <a:solidFill>
                            <a:srgbClr val="000000"/>
                          </a:solidFill>
                          <a:effectLst/>
                          <a:latin typeface="+mn-lt"/>
                        </a:rPr>
                        <a:t>Domaines de compétences: Stratégie bancaire | Change Manage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fr-FR"/>
                    </a:p>
                  </a:txBody>
                  <a:tcPr/>
                </a:tc>
                <a:tc hMerge="1">
                  <a:txBody>
                    <a:bodyPr/>
                    <a:lstStyle/>
                    <a:p>
                      <a:pPr algn="ctr" fontAlgn="ctr"/>
                      <a:endParaRPr lang="fr-FR" sz="11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85000"/>
                      </a:schemeClr>
                    </a:solidFill>
                  </a:tcPr>
                </a:tc>
                <a:tc hMerge="1">
                  <a:txBody>
                    <a:bodyPr/>
                    <a:lstStyle/>
                    <a:p>
                      <a:pPr marL="0" algn="ctr" defTabSz="743956" rtl="0" eaLnBrk="1" fontAlgn="ctr" latinLnBrk="0" hangingPunct="1"/>
                      <a:endParaRPr lang="fr-FR" sz="1100" b="1" i="0" u="none" strike="noStrike" kern="1200" dirty="0">
                        <a:solidFill>
                          <a:srgbClr val="000000"/>
                        </a:solidFill>
                        <a:effectLst/>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solidFill>
                      <a:schemeClr val="tx1">
                        <a:lumMod val="85000"/>
                      </a:schemeClr>
                    </a:solidFill>
                  </a:tcPr>
                </a:tc>
                <a:extLst>
                  <a:ext uri="{0D108BD9-81ED-4DB2-BD59-A6C34878D82A}">
                    <a16:rowId xmlns:a16="http://schemas.microsoft.com/office/drawing/2014/main" val="4207261369"/>
                  </a:ext>
                </a:extLst>
              </a:tr>
              <a:tr h="173070">
                <a:tc gridSpan="2">
                  <a:txBody>
                    <a:bodyPr/>
                    <a:lstStyle/>
                    <a:p>
                      <a:pPr algn="ctr" fontAlgn="ctr"/>
                      <a:r>
                        <a:rPr lang="fr-FR" sz="1000" b="1" i="0" u="none" strike="noStrike" dirty="0">
                          <a:solidFill>
                            <a:srgbClr val="000000"/>
                          </a:solidFill>
                          <a:effectLst/>
                          <a:latin typeface="+mn-lt"/>
                        </a:rPr>
                        <a:t>Diplôme universitaire </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hMerge="1">
                  <a:txBody>
                    <a:bodyPr/>
                    <a:lstStyle/>
                    <a:p>
                      <a:endParaRPr lang="en-US"/>
                    </a:p>
                  </a:txBody>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tc>
                  <a:txBody>
                    <a:bodyPr/>
                    <a:lstStyle/>
                    <a:p>
                      <a:pPr marL="0" algn="ctr" defTabSz="743956" rtl="0" eaLnBrk="1" fontAlgn="ctr" latinLnBrk="0" hangingPunct="1"/>
                      <a:r>
                        <a:rPr lang="fr-FR" sz="1000" b="1" i="0" u="none" strike="noStrike" kern="1200" dirty="0">
                          <a:solidFill>
                            <a:srgbClr val="000000"/>
                          </a:solidFill>
                          <a:effectLst/>
                          <a:latin typeface="+mn-lt"/>
                          <a:ea typeface="+mn-ea"/>
                          <a:cs typeface="+mn-cs"/>
                        </a:rPr>
                        <a:t>Ecol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634190798"/>
                  </a:ext>
                </a:extLst>
              </a:tr>
              <a:tr h="367085">
                <a:tc gridSpan="2">
                  <a:txBody>
                    <a:bodyPr/>
                    <a:lstStyle/>
                    <a:p>
                      <a:pPr algn="ctr" fontAlgn="ctr"/>
                      <a:r>
                        <a:rPr lang="fr-FR" sz="1000" b="0" i="0" u="none" strike="noStrike" dirty="0">
                          <a:solidFill>
                            <a:srgbClr val="000000"/>
                          </a:solidFill>
                          <a:effectLst/>
                          <a:latin typeface="+mn-lt"/>
                        </a:rPr>
                        <a:t>Master en CES </a:t>
                      </a:r>
                      <a:r>
                        <a:rPr lang="fr-FR" sz="1000" b="0" i="0" u="none" strike="noStrike" dirty="0" err="1">
                          <a:solidFill>
                            <a:srgbClr val="000000"/>
                          </a:solidFill>
                          <a:effectLst/>
                          <a:latin typeface="+mn-lt"/>
                        </a:rPr>
                        <a:t>Accounting</a:t>
                      </a:r>
                      <a:r>
                        <a:rPr lang="fr-FR" sz="1000" b="0" i="0" u="none" strike="noStrike" dirty="0">
                          <a:solidFill>
                            <a:srgbClr val="000000"/>
                          </a:solidFill>
                          <a:effectLst/>
                          <a:latin typeface="+mn-lt"/>
                        </a:rPr>
                        <a:t> </a:t>
                      </a:r>
                      <a:r>
                        <a:rPr lang="fr-FR" sz="1000" b="0" i="0" u="none" strike="noStrike" dirty="0" err="1">
                          <a:solidFill>
                            <a:srgbClr val="000000"/>
                          </a:solidFill>
                          <a:effectLst/>
                          <a:latin typeface="+mn-lt"/>
                        </a:rPr>
                        <a:t>Review</a:t>
                      </a:r>
                      <a:endParaRPr lang="fr-FR" sz="1000" b="0" i="0" u="none" strike="noStrike" dirty="0">
                        <a:solidFill>
                          <a:srgbClr val="000000"/>
                        </a:solidFill>
                        <a:effectLst/>
                        <a:latin typeface="+mn-lt"/>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fontAlgn="ctr"/>
                      <a:r>
                        <a:rPr lang="fr-FR" sz="1000" b="0" i="0" u="none" strike="noStrike" dirty="0">
                          <a:solidFill>
                            <a:schemeClr val="bg1"/>
                          </a:solidFill>
                          <a:effectLst/>
                          <a:latin typeface="+mn-lt"/>
                        </a:rPr>
                        <a:t> 200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fr-FR" sz="1000" dirty="0">
                          <a:solidFill>
                            <a:schemeClr val="bg1"/>
                          </a:solidFill>
                        </a:rPr>
                        <a:t>Institut des Hautes Etudes Commerciales de Carthage (IH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31216635"/>
                  </a:ext>
                </a:extLst>
              </a:tr>
              <a:tr h="231475">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1929787818"/>
                  </a:ext>
                </a:extLst>
              </a:tr>
              <a:tr h="1475399">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noProof="0" dirty="0">
                          <a:solidFill>
                            <a:srgbClr val="000000"/>
                          </a:solidFill>
                          <a:effectLst/>
                          <a:latin typeface="+mn-lt"/>
                          <a:ea typeface="+mn-ea"/>
                          <a:cs typeface="+mn-cs"/>
                          <a:sym typeface="Wingdings" pitchFamily="2" charset="2"/>
                        </a:rPr>
                        <a:t>Accompagnement dans le cadre du projet d’élaboration du plan stratégique </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743956" rtl="0" eaLnBrk="1" fontAlgn="ctr" latinLnBrk="0" hangingPunct="1"/>
                      <a:r>
                        <a:rPr lang="fr-FR" sz="800" b="0" i="0" u="none" strike="noStrike" kern="1200" noProof="0" dirty="0" err="1">
                          <a:solidFill>
                            <a:srgbClr val="000000"/>
                          </a:solidFill>
                          <a:effectLst/>
                          <a:latin typeface="+mn-lt"/>
                          <a:ea typeface="+mn-ea"/>
                          <a:cs typeface="+mn-cs"/>
                          <a:sym typeface="Wingdings" pitchFamily="2" charset="2"/>
                        </a:rPr>
                        <a:t>Wifak</a:t>
                      </a:r>
                      <a:r>
                        <a:rPr lang="fr-FR" sz="800" b="0" i="0" u="none" strike="noStrike" kern="1200" noProof="0" dirty="0">
                          <a:solidFill>
                            <a:srgbClr val="000000"/>
                          </a:solidFill>
                          <a:effectLst/>
                          <a:latin typeface="+mn-lt"/>
                          <a:ea typeface="+mn-ea"/>
                          <a:cs typeface="+mn-cs"/>
                          <a:sym typeface="Wingdings" pitchFamily="2" charset="2"/>
                        </a:rPr>
                        <a:t> Bank</a:t>
                      </a:r>
                      <a:endParaRPr lang="fr-FR" sz="800" b="0" i="0" u="none" strike="noStrike" kern="1200" dirty="0">
                        <a:solidFill>
                          <a:srgbClr val="000000"/>
                        </a:solidFill>
                        <a:effectLst/>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Réalisation d'un diagnostic de la Banque ​</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Analyse de la maturité organisationnelle avec un focus sur les capacités et les structures des RH, ainsi que l'analyse du portefeuille​</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Évaluation de l'efficacité et de l'efficience du dispositif commercial​</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Évaluation de la maturité opérationnelle (Processus et flux de travail)​</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Examen de la position de la banque sur le marché national et analyse des meilleures pratiques internationales​</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Élaboration du plan stratégique pour le Groupe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Wifak</a:t>
                      </a:r>
                      <a:r>
                        <a:rPr lang="fr-FR" sz="800" kern="1200" noProof="0" dirty="0">
                          <a:solidFill>
                            <a:srgbClr val="000000"/>
                          </a:solidFill>
                          <a:effectLst/>
                          <a:uFill>
                            <a:solidFill>
                              <a:srgbClr val="993366"/>
                            </a:solidFill>
                          </a:uFill>
                          <a:latin typeface="+mn-lt"/>
                          <a:ea typeface="+mn-ea"/>
                          <a:cs typeface="Calibri" panose="020F0502020204030204" pitchFamily="34" charset="0"/>
                        </a:rPr>
                        <a:t> : Développement de la vision 2027 et définition de la stratégie de croissance de la banque​</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Élaboration de la feuille de route du groupe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Wifak</a:t>
                      </a:r>
                      <a:r>
                        <a:rPr lang="fr-FR" sz="800" kern="1200" noProof="0" dirty="0">
                          <a:solidFill>
                            <a:srgbClr val="000000"/>
                          </a:solidFill>
                          <a:effectLst/>
                          <a:uFill>
                            <a:solidFill>
                              <a:srgbClr val="993366"/>
                            </a:solidFill>
                          </a:uFill>
                          <a:latin typeface="+mn-lt"/>
                          <a:ea typeface="+mn-ea"/>
                          <a:cs typeface="Calibri" panose="020F0502020204030204" pitchFamily="34" charset="0"/>
                        </a:rPr>
                        <a:t> et développement du plan d'affaires​   </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3058028"/>
                  </a:ext>
                </a:extLst>
              </a:tr>
              <a:tr h="2535852">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dirty="0">
                          <a:solidFill>
                            <a:schemeClr val="bg1"/>
                          </a:solidFill>
                          <a:latin typeface="+mn-lt"/>
                        </a:rPr>
                        <a:t>Accompagnement au pilotage des projets IT de la banque</a:t>
                      </a:r>
                      <a:endParaRPr kumimoji="0" lang="fr-FR" sz="800" b="0" i="0" u="none" strike="noStrike" kern="1200" cap="none" spc="0" normalizeH="0" baseline="0" noProof="0" dirty="0">
                        <a:ln>
                          <a:noFill/>
                        </a:ln>
                        <a:solidFill>
                          <a:schemeClr val="bg1"/>
                        </a:solidFill>
                        <a:effectLst/>
                        <a:uLnTx/>
                        <a:uFillTx/>
                        <a:latin typeface="+mn-lt"/>
                        <a:ea typeface="+mn-ea"/>
                        <a:cs typeface="+mn-cs"/>
                      </a:endParaRP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743956" rtl="0" eaLnBrk="1" fontAlgn="ctr" latinLnBrk="0" hangingPunct="1"/>
                      <a:r>
                        <a:rPr lang="fr-FR" sz="800" b="0" i="0" u="none" strike="noStrike" kern="1200" dirty="0">
                          <a:solidFill>
                            <a:srgbClr val="000000"/>
                          </a:solidFill>
                          <a:effectLst/>
                          <a:latin typeface="+mn-lt"/>
                          <a:ea typeface="+mn-ea"/>
                          <a:cs typeface="+mn-cs"/>
                        </a:rPr>
                        <a:t>BIAT Bank</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Lot Pilotage : Ce lot a pour objectif de définir le socle méthodologique et organisationnel de gestion de projets IT, et d’accompagner la BIAT dans l’opérationnalisation de ce socle à travers un appui au pilotage de projets pilotes.</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Lot Change Management : Ce lot a pour objectif de mettre en place une stratégie de conduite de changement pour accompagner les collaborateurs BIAT dans l’appropriation du nouveau Business Model et des nouveaux accélérateurs technologiques </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Lot Data : Définir la vision stratégique et la vision opérationnelle de l’activité Data (travaux incluant une feuille de route Data et des Uses Case) et assister la BIAT dans le choix d’outils (intégration &amp;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storage</a:t>
                      </a:r>
                      <a:r>
                        <a:rPr lang="fr-FR" sz="800" kern="1200" noProof="0" dirty="0">
                          <a:solidFill>
                            <a:srgbClr val="000000"/>
                          </a:solidFill>
                          <a:effectLst/>
                          <a:uFill>
                            <a:solidFill>
                              <a:srgbClr val="993366"/>
                            </a:solidFill>
                          </a:uFill>
                          <a:latin typeface="+mn-lt"/>
                          <a:ea typeface="+mn-ea"/>
                          <a:cs typeface="Calibri" panose="020F0502020204030204" pitchFamily="34" charset="0"/>
                        </a:rPr>
                        <a:t>, data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lake</a:t>
                      </a:r>
                      <a:r>
                        <a:rPr lang="fr-FR" sz="800" kern="1200" noProof="0" dirty="0">
                          <a:solidFill>
                            <a:srgbClr val="000000"/>
                          </a:solidFill>
                          <a:effectLst/>
                          <a:uFill>
                            <a:solidFill>
                              <a:srgbClr val="993366"/>
                            </a:solidFill>
                          </a:uFill>
                          <a:latin typeface="+mn-lt"/>
                          <a:ea typeface="+mn-ea"/>
                          <a:cs typeface="Calibri" panose="020F0502020204030204" pitchFamily="34" charset="0"/>
                        </a:rPr>
                        <a:t>,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gouv</a:t>
                      </a:r>
                      <a:r>
                        <a:rPr lang="fr-FR" sz="800" kern="1200" noProof="0" dirty="0">
                          <a:solidFill>
                            <a:srgbClr val="000000"/>
                          </a:solidFill>
                          <a:effectLst/>
                          <a:uFill>
                            <a:solidFill>
                              <a:srgbClr val="993366"/>
                            </a:solidFill>
                          </a:uFill>
                          <a:latin typeface="+mn-lt"/>
                          <a:ea typeface="+mn-ea"/>
                          <a:cs typeface="Calibri" panose="020F0502020204030204" pitchFamily="34" charset="0"/>
                        </a:rPr>
                        <a:t>. data…)</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Lot Digital : Ce lot a pour objectifs de formaliser le processus de Delivery Digital de bout en bout en incluant les actions à court termes ainsi que les initiatives à long termes, les synergies avec la couche d’intégration </a:t>
                      </a:r>
                      <a:r>
                        <a:rPr lang="fr-FR" sz="800" kern="1200" noProof="0" dirty="0" err="1">
                          <a:solidFill>
                            <a:srgbClr val="000000"/>
                          </a:solidFill>
                          <a:effectLst/>
                          <a:uFill>
                            <a:solidFill>
                              <a:srgbClr val="993366"/>
                            </a:solidFill>
                          </a:uFill>
                          <a:latin typeface="+mn-lt"/>
                          <a:ea typeface="+mn-ea"/>
                          <a:cs typeface="Calibri" panose="020F0502020204030204" pitchFamily="34" charset="0"/>
                        </a:rPr>
                        <a:t>back-end</a:t>
                      </a:r>
                      <a:r>
                        <a:rPr lang="fr-FR" sz="800" kern="1200" noProof="0" dirty="0">
                          <a:solidFill>
                            <a:srgbClr val="000000"/>
                          </a:solidFill>
                          <a:effectLst/>
                          <a:uFill>
                            <a:solidFill>
                              <a:srgbClr val="993366"/>
                            </a:solidFill>
                          </a:uFill>
                          <a:latin typeface="+mn-lt"/>
                          <a:ea typeface="+mn-ea"/>
                          <a:cs typeface="Calibri" panose="020F0502020204030204" pitchFamily="34" charset="0"/>
                        </a:rPr>
                        <a:t> et les conclusions quant à la gouvernance Digitale.</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Lot TOM IT : Ce lot a pour objectif d’identifier les leviers d’optimisation autour de 4 thématiques : People, Processus, Gouvernance et Outils, et accompagner la BIAT à les mettre en œuvre pour opérationnaliser l’organisation IT et l’ancrer dans la durée au service de la performance et l’efficience global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4842406"/>
                  </a:ext>
                </a:extLst>
              </a:tr>
            </a:tbl>
          </a:graphicData>
        </a:graphic>
      </p:graphicFrame>
    </p:spTree>
    <p:extLst>
      <p:ext uri="{BB962C8B-B14F-4D97-AF65-F5344CB8AC3E}">
        <p14:creationId xmlns:p14="http://schemas.microsoft.com/office/powerpoint/2010/main" val="3687031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extLst>
              <p:ext uri="{D42A27DB-BD31-4B8C-83A1-F6EECF244321}">
                <p14:modId xmlns:p14="http://schemas.microsoft.com/office/powerpoint/2010/main" val="310956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5" progId="TCLayout.ActiveDocument.1">
                  <p:embed/>
                </p:oleObj>
              </mc:Choice>
              <mc:Fallback>
                <p:oleObj name="Diapositive think-cell" r:id="rId4"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custDataLst>
              <p:tags r:id="rId2"/>
            </p:custDataLst>
            <p:extLst>
              <p:ext uri="{D42A27DB-BD31-4B8C-83A1-F6EECF244321}">
                <p14:modId xmlns:p14="http://schemas.microsoft.com/office/powerpoint/2010/main" val="770081068"/>
              </p:ext>
            </p:extLst>
          </p:nvPr>
        </p:nvGraphicFramePr>
        <p:xfrm>
          <a:off x="284222" y="1000835"/>
          <a:ext cx="9255093" cy="7500616"/>
        </p:xfrm>
        <a:graphic>
          <a:graphicData uri="http://schemas.openxmlformats.org/drawingml/2006/table">
            <a:tbl>
              <a:tblPr/>
              <a:tblGrid>
                <a:gridCol w="1953250">
                  <a:extLst>
                    <a:ext uri="{9D8B030D-6E8A-4147-A177-3AD203B41FA5}">
                      <a16:colId xmlns:a16="http://schemas.microsoft.com/office/drawing/2014/main" val="913313140"/>
                    </a:ext>
                  </a:extLst>
                </a:gridCol>
                <a:gridCol w="1476656">
                  <a:extLst>
                    <a:ext uri="{9D8B030D-6E8A-4147-A177-3AD203B41FA5}">
                      <a16:colId xmlns:a16="http://schemas.microsoft.com/office/drawing/2014/main" val="4028225687"/>
                    </a:ext>
                  </a:extLst>
                </a:gridCol>
                <a:gridCol w="1326741">
                  <a:extLst>
                    <a:ext uri="{9D8B030D-6E8A-4147-A177-3AD203B41FA5}">
                      <a16:colId xmlns:a16="http://schemas.microsoft.com/office/drawing/2014/main" val="2606539621"/>
                    </a:ext>
                  </a:extLst>
                </a:gridCol>
                <a:gridCol w="4498446">
                  <a:extLst>
                    <a:ext uri="{9D8B030D-6E8A-4147-A177-3AD203B41FA5}">
                      <a16:colId xmlns:a16="http://schemas.microsoft.com/office/drawing/2014/main" val="2810886987"/>
                    </a:ext>
                  </a:extLst>
                </a:gridCol>
              </a:tblGrid>
              <a:tr h="297190">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828914">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noProof="0" dirty="0">
                          <a:solidFill>
                            <a:srgbClr val="000000"/>
                          </a:solidFill>
                          <a:effectLst/>
                          <a:latin typeface="+mn-lt"/>
                          <a:ea typeface="+mn-ea"/>
                          <a:cs typeface="+mn-cs"/>
                          <a:sym typeface="Wingdings" pitchFamily="2" charset="2"/>
                        </a:rPr>
                        <a:t>Plan stratégique et Accompagnement à l’Activation de la Dynamisation Commerciale</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743956" rtl="0" eaLnBrk="1" fontAlgn="ctr" latinLnBrk="0" hangingPunct="1"/>
                      <a:r>
                        <a:rPr lang="fr-FR" sz="800" b="0" i="0" u="none" strike="noStrike" kern="1200" dirty="0">
                          <a:solidFill>
                            <a:srgbClr val="000000"/>
                          </a:solidFill>
                          <a:effectLst/>
                          <a:latin typeface="+mn-lt"/>
                          <a:ea typeface="+mn-ea"/>
                          <a:cs typeface="+mn-cs"/>
                        </a:rPr>
                        <a:t>MAE Assurances </a:t>
                      </a:r>
                    </a:p>
                    <a:p>
                      <a:pPr marL="0" algn="ctr" defTabSz="743956" rtl="0" eaLnBrk="1" fontAlgn="ctr" latinLnBrk="0" hangingPunct="1"/>
                      <a:r>
                        <a:rPr lang="fr-FR" sz="800" b="0" i="0" u="none" strike="noStrike" kern="1200" dirty="0">
                          <a:solidFill>
                            <a:srgbClr val="000000"/>
                          </a:solidFill>
                          <a:effectLst/>
                          <a:latin typeface="+mn-lt"/>
                          <a:ea typeface="+mn-ea"/>
                          <a:cs typeface="+mn-cs"/>
                        </a:rPr>
                        <a:t>Tunis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rPr>
                        <a:t>2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Élaboration de la stratégie 2026</a:t>
                      </a:r>
                    </a:p>
                    <a:p>
                      <a:pPr marL="171450" lvl="0" indent="-171450" algn="l" rtl="0">
                        <a:buClr>
                          <a:srgbClr val="FFCC00"/>
                        </a:buClr>
                        <a:buSzPts val="1000"/>
                        <a:buFont typeface="Wingdings" panose="05000000000000000000" pitchFamily="2" charset="2"/>
                        <a:buChar char="Ø"/>
                        <a:tabLst>
                          <a:tab pos="1003935" algn="l"/>
                        </a:tabLst>
                      </a:pPr>
                      <a:r>
                        <a:rPr lang="fr-FR" sz="800" kern="1200" noProof="0" dirty="0">
                          <a:solidFill>
                            <a:srgbClr val="000000"/>
                          </a:solidFill>
                          <a:effectLst/>
                          <a:uFill>
                            <a:solidFill>
                              <a:srgbClr val="993366"/>
                            </a:solidFill>
                          </a:uFill>
                          <a:latin typeface="+mn-lt"/>
                          <a:ea typeface="+mn-ea"/>
                          <a:cs typeface="Calibri" panose="020F0502020204030204" pitchFamily="34" charset="0"/>
                        </a:rPr>
                        <a:t>Déploiement de la FDR au niveau d’un pilote et préparation d’une stratégie de généralisation</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7037957"/>
                  </a:ext>
                </a:extLst>
              </a:tr>
              <a:tr h="2982404">
                <a:tc>
                  <a:txBody>
                    <a:bodyPr/>
                    <a:lstStyle/>
                    <a:p>
                      <a:pPr algn="ctr">
                        <a:tabLst>
                          <a:tab pos="1003935" algn="l"/>
                        </a:tabLst>
                      </a:pPr>
                      <a:r>
                        <a:rPr lang="fr-FR" sz="800" b="0" kern="1200" dirty="0">
                          <a:solidFill>
                            <a:srgbClr val="000000"/>
                          </a:solidFill>
                          <a:effectLst/>
                          <a:latin typeface="+mn-lt"/>
                          <a:ea typeface="Times New Roman" panose="02020603050405020304" pitchFamily="18" charset="0"/>
                          <a:cs typeface="Calibri" panose="020F0502020204030204" pitchFamily="34" charset="0"/>
                        </a:rPr>
                        <a:t>Élaboration de la Road </a:t>
                      </a:r>
                      <a:r>
                        <a:rPr lang="fr-FR" sz="800" b="0" kern="1200" dirty="0" err="1">
                          <a:solidFill>
                            <a:srgbClr val="000000"/>
                          </a:solidFill>
                          <a:effectLst/>
                          <a:latin typeface="+mn-lt"/>
                          <a:ea typeface="Times New Roman" panose="02020603050405020304" pitchFamily="18" charset="0"/>
                          <a:cs typeface="Calibri" panose="020F0502020204030204" pitchFamily="34" charset="0"/>
                        </a:rPr>
                        <a:t>Map</a:t>
                      </a:r>
                      <a:r>
                        <a:rPr lang="fr-FR" sz="800" b="0" kern="1200" dirty="0">
                          <a:solidFill>
                            <a:srgbClr val="000000"/>
                          </a:solidFill>
                          <a:effectLst/>
                          <a:latin typeface="+mn-lt"/>
                          <a:ea typeface="Times New Roman" panose="02020603050405020304" pitchFamily="18" charset="0"/>
                          <a:cs typeface="Calibri" panose="020F0502020204030204" pitchFamily="34" charset="0"/>
                        </a:rPr>
                        <a:t> Stratégie Digitale et Accompagnement</a:t>
                      </a:r>
                      <a:endParaRPr lang="fr-FR" sz="800" b="0" dirty="0">
                        <a:effectLst/>
                        <a:latin typeface="+mn-lt"/>
                        <a:ea typeface="Times New Roman" panose="02020603050405020304" pitchFamily="18" charset="0"/>
                        <a:cs typeface="Calibri" panose="020F0502020204030204" pitchFamily="34" charset="0"/>
                      </a:endParaRPr>
                    </a:p>
                    <a:p>
                      <a:pPr algn="ctr">
                        <a:tabLst>
                          <a:tab pos="104140" algn="l"/>
                          <a:tab pos="1003935" algn="l"/>
                        </a:tabLst>
                      </a:pPr>
                      <a:r>
                        <a:rPr lang="fr-FR" sz="800" b="0" i="0" u="none" strike="noStrike" dirty="0">
                          <a:solidFill>
                            <a:srgbClr val="000000"/>
                          </a:solidFill>
                          <a:effectLst/>
                          <a:latin typeface="+mn-lt"/>
                          <a:cs typeface="Calibri" panose="020F0502020204030204" pitchFamily="34" charset="0"/>
                        </a:rPr>
                        <a:t> </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a:rPr>
                        <a:t> </a:t>
                      </a:r>
                      <a:r>
                        <a:rPr lang="fr-FR" sz="800" b="0" i="0" u="none" strike="noStrike" kern="1200" dirty="0">
                          <a:solidFill>
                            <a:srgbClr val="000000"/>
                          </a:solidFill>
                          <a:effectLst/>
                          <a:latin typeface="+mn-lt"/>
                          <a:ea typeface="+mn-ea"/>
                          <a:cs typeface="Calibri"/>
                        </a:rPr>
                        <a:t> </a:t>
                      </a:r>
                      <a:r>
                        <a:rPr lang="fr-FR" sz="800" b="0" i="0" u="none" strike="noStrike" kern="1200" dirty="0" err="1">
                          <a:solidFill>
                            <a:srgbClr val="000000"/>
                          </a:solidFill>
                          <a:effectLst/>
                          <a:latin typeface="+mn-lt"/>
                          <a:ea typeface="+mn-ea"/>
                          <a:cs typeface="Calibri"/>
                        </a:rPr>
                        <a:t>AlBaraka</a:t>
                      </a:r>
                      <a:r>
                        <a:rPr lang="fr-FR" sz="800" b="0" i="0" u="none" strike="noStrike" kern="1200" dirty="0">
                          <a:solidFill>
                            <a:srgbClr val="000000"/>
                          </a:solidFill>
                          <a:effectLst/>
                          <a:latin typeface="+mn-lt"/>
                          <a:ea typeface="+mn-ea"/>
                          <a:cs typeface="Calibri"/>
                        </a:rPr>
                        <a:t> Bank</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cs typeface="Calibri" panose="020F0502020204030204" pitchFamily="34" charset="0"/>
                        </a:rPr>
                        <a:t> 20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iagnostic de l’existant</a:t>
                      </a: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Évaluation de la maturité digitale de la Banque</a:t>
                      </a: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e la stratégie digitale cible</a:t>
                      </a: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e la feuille de route digitale</a:t>
                      </a: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Élaboration des fiches projet Accompagnement à la mise en œuvre (PMO, conduite de changement, définition du Schéma Directeur du SI, conception de solution Mobil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5673428"/>
                  </a:ext>
                </a:extLst>
              </a:tr>
              <a:tr h="863398">
                <a:tc>
                  <a:txBody>
                    <a:bodyPr/>
                    <a:lstStyle/>
                    <a:p>
                      <a:pPr marL="0" marR="0" lvl="0" indent="0" algn="ctr" defTabSz="685800" rtl="0" eaLnBrk="1" fontAlgn="auto" latinLnBrk="0" hangingPunct="1">
                        <a:lnSpc>
                          <a:spcPct val="100000"/>
                        </a:lnSpc>
                        <a:spcBef>
                          <a:spcPts val="0"/>
                        </a:spcBef>
                        <a:spcAft>
                          <a:spcPts val="0"/>
                        </a:spcAft>
                        <a:buClrTx/>
                        <a:buSzTx/>
                        <a:buFontTx/>
                        <a:buNone/>
                        <a:tabLst>
                          <a:tab pos="1003935" algn="l"/>
                        </a:tabLst>
                        <a:defRPr/>
                      </a:pP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Accompagnement dans la préparation du dossier d’agrément de la création de l’établissement de paiement</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Banque </a:t>
                      </a:r>
                      <a:r>
                        <a:rPr lang="fr-FR" sz="800" b="0" i="0" u="none" strike="noStrike" dirty="0" err="1">
                          <a:solidFill>
                            <a:srgbClr val="000000"/>
                          </a:solidFill>
                          <a:effectLst/>
                          <a:latin typeface="+mn-lt"/>
                          <a:cs typeface="Calibri" panose="020F0502020204030204" pitchFamily="34" charset="0"/>
                        </a:rPr>
                        <a:t>Zitouna</a:t>
                      </a:r>
                      <a:endParaRPr lang="fr-FR" sz="800" b="0" i="0" u="none" strike="noStrike" dirty="0">
                        <a:solidFill>
                          <a:srgbClr val="000000"/>
                        </a:solidFill>
                        <a:effectLst/>
                        <a:latin typeface="+mn-lt"/>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20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kumimoji="0" lang="fr-FR" sz="800" b="0" i="0" u="none" strike="noStrike" kern="1200" cap="none" spc="0" normalizeH="0" baseline="0" noProof="0" dirty="0">
                          <a:ln>
                            <a:noFill/>
                          </a:ln>
                          <a:solidFill>
                            <a:srgbClr val="000000"/>
                          </a:solidFill>
                          <a:effectLst/>
                          <a:uLnTx/>
                          <a:uFill>
                            <a:solidFill>
                              <a:srgbClr val="993366"/>
                            </a:solidFill>
                          </a:uFill>
                          <a:latin typeface="+mn-lt"/>
                          <a:ea typeface="Times New Roman" panose="02020603050405020304" pitchFamily="18" charset="0"/>
                          <a:cs typeface="Calibri" panose="020F0502020204030204" pitchFamily="34" charset="0"/>
                        </a:rPr>
                        <a:t>Etude de marché</a:t>
                      </a:r>
                    </a:p>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kumimoji="0" lang="fr-FR" sz="800" b="0" i="0" u="none" strike="noStrike" kern="1200" cap="none" spc="0" normalizeH="0" baseline="0" noProof="0" dirty="0">
                          <a:ln>
                            <a:noFill/>
                          </a:ln>
                          <a:solidFill>
                            <a:srgbClr val="000000"/>
                          </a:solidFill>
                          <a:effectLst/>
                          <a:uLnTx/>
                          <a:uFill>
                            <a:solidFill>
                              <a:srgbClr val="993366"/>
                            </a:solidFill>
                          </a:uFill>
                          <a:latin typeface="+mn-lt"/>
                          <a:ea typeface="Times New Roman" panose="02020603050405020304" pitchFamily="18" charset="0"/>
                          <a:cs typeface="Calibri" panose="020F0502020204030204" pitchFamily="34" charset="0"/>
                        </a:rPr>
                        <a:t>Benchmarking international et régional</a:t>
                      </a:r>
                      <a:endParaRPr kumimoji="0" lang="fr-FR" sz="800" b="0" i="0" u="none" strike="noStrike" kern="1200" cap="none" spc="0" normalizeH="0" baseline="0" noProof="0" dirty="0">
                        <a:ln>
                          <a:noFill/>
                        </a:ln>
                        <a:solidFill>
                          <a:prstClr val="black"/>
                        </a:solidFill>
                        <a:effectLst/>
                        <a:uLnTx/>
                        <a:uFill>
                          <a:solidFill>
                            <a:srgbClr val="993366"/>
                          </a:solidFill>
                        </a:uFill>
                        <a:latin typeface="+mn-lt"/>
                        <a:ea typeface="Times New Roman" panose="02020603050405020304" pitchFamily="18" charset="0"/>
                        <a:cs typeface="Calibri" panose="020F0502020204030204" pitchFamily="34" charset="0"/>
                      </a:endParaRPr>
                    </a:p>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kumimoji="0" lang="fr-FR" sz="800" b="0" i="0" u="none" strike="noStrike" kern="1200" cap="none" spc="0" normalizeH="0" baseline="0" noProof="0" dirty="0">
                          <a:ln>
                            <a:noFill/>
                          </a:ln>
                          <a:solidFill>
                            <a:srgbClr val="000000"/>
                          </a:solidFill>
                          <a:effectLst/>
                          <a:uLnTx/>
                          <a:uFill>
                            <a:solidFill>
                              <a:srgbClr val="993366"/>
                            </a:solidFill>
                          </a:uFill>
                          <a:latin typeface="+mn-lt"/>
                          <a:ea typeface="Times New Roman" panose="02020603050405020304" pitchFamily="18" charset="0"/>
                          <a:cs typeface="Calibri" panose="020F0502020204030204" pitchFamily="34" charset="0"/>
                        </a:rPr>
                        <a:t>Définition des choix stratégiques et opérationnels</a:t>
                      </a:r>
                      <a:endParaRPr kumimoji="0" lang="fr-FR" sz="800" b="0" i="0" u="none" strike="noStrike" kern="1200" cap="none" spc="0" normalizeH="0" baseline="0" noProof="0" dirty="0">
                        <a:ln>
                          <a:noFill/>
                        </a:ln>
                        <a:solidFill>
                          <a:prstClr val="black"/>
                        </a:solidFill>
                        <a:effectLst/>
                        <a:uLnTx/>
                        <a:uFill>
                          <a:solidFill>
                            <a:srgbClr val="993366"/>
                          </a:solidFill>
                        </a:uFill>
                        <a:latin typeface="+mn-lt"/>
                        <a:ea typeface="Times New Roman" panose="02020603050405020304" pitchFamily="18" charset="0"/>
                        <a:cs typeface="Calibri" panose="020F0502020204030204" pitchFamily="34" charset="0"/>
                      </a:endParaRPr>
                    </a:p>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kumimoji="0" lang="fr-FR" sz="800" b="0" i="0" u="none" strike="noStrike" kern="1200" cap="none" spc="0" normalizeH="0" baseline="0" noProof="0" dirty="0">
                          <a:ln>
                            <a:noFill/>
                          </a:ln>
                          <a:solidFill>
                            <a:srgbClr val="000000"/>
                          </a:solidFill>
                          <a:effectLst/>
                          <a:uLnTx/>
                          <a:uFill>
                            <a:solidFill>
                              <a:srgbClr val="993366"/>
                            </a:solidFill>
                          </a:uFill>
                          <a:latin typeface="+mn-lt"/>
                          <a:ea typeface="Times New Roman" panose="02020603050405020304" pitchFamily="18" charset="0"/>
                          <a:cs typeface="Calibri" panose="020F0502020204030204" pitchFamily="34" charset="0"/>
                        </a:rPr>
                        <a:t>Elaboration d’un Business Model</a:t>
                      </a:r>
                      <a:endParaRPr kumimoji="0" lang="fr-FR" sz="800" b="0" i="0" u="none" strike="noStrike" kern="1200" cap="none" spc="0" normalizeH="0" baseline="0" noProof="0" dirty="0">
                        <a:ln>
                          <a:noFill/>
                        </a:ln>
                        <a:solidFill>
                          <a:prstClr val="black"/>
                        </a:solidFill>
                        <a:effectLst/>
                        <a:uLnTx/>
                        <a:uFill>
                          <a:solidFill>
                            <a:srgbClr val="993366"/>
                          </a:solidFill>
                        </a:uFill>
                        <a:latin typeface="+mn-lt"/>
                        <a:ea typeface="Times New Roman" panose="02020603050405020304" pitchFamily="18" charset="0"/>
                        <a:cs typeface="Calibri" panose="020F0502020204030204" pitchFamily="34" charset="0"/>
                      </a:endParaRPr>
                    </a:p>
                    <a:p>
                      <a:pPr marL="171450" marR="0" lvl="0" indent="-171450" algn="l"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kumimoji="0" lang="fr-FR" sz="800" b="0" i="0" u="none" strike="noStrike" kern="1200" cap="none" spc="0" normalizeH="0" baseline="0" noProof="0" dirty="0">
                          <a:ln>
                            <a:noFill/>
                          </a:ln>
                          <a:solidFill>
                            <a:srgbClr val="000000"/>
                          </a:solidFill>
                          <a:effectLst/>
                          <a:uLnTx/>
                          <a:uFill>
                            <a:solidFill>
                              <a:srgbClr val="993366"/>
                            </a:solidFill>
                          </a:uFill>
                          <a:latin typeface="+mn-lt"/>
                          <a:ea typeface="Times New Roman" panose="02020603050405020304" pitchFamily="18" charset="0"/>
                          <a:cs typeface="Calibri" panose="020F0502020204030204" pitchFamily="34" charset="0"/>
                        </a:rPr>
                        <a:t>Elaboration du Business Plan</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5424994"/>
                  </a:ext>
                </a:extLst>
              </a:tr>
              <a:tr h="828914">
                <a:tc>
                  <a:txBody>
                    <a:bodyPr/>
                    <a:lstStyle/>
                    <a:p>
                      <a:pPr marL="0" algn="ctr" defTabSz="743956" rtl="0" eaLnBrk="1" fontAlgn="ctr" latinLnBrk="0" hangingPunct="1">
                        <a:tabLst>
                          <a:tab pos="1003935" algn="l"/>
                        </a:tabLst>
                      </a:pPr>
                      <a:r>
                        <a:rPr lang="fr-FR" sz="800" b="0" i="0" u="none" strike="noStrike" kern="1200" dirty="0">
                          <a:solidFill>
                            <a:srgbClr val="000000"/>
                          </a:solidFill>
                          <a:effectLst/>
                          <a:latin typeface="+mn-lt"/>
                          <a:ea typeface="+mn-ea"/>
                          <a:cs typeface="Calibri" panose="020F0502020204030204" pitchFamily="34" charset="0"/>
                        </a:rPr>
                        <a:t>Définition de l'approche Open Banking</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BCT et GIZ</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cs typeface="Calibri" panose="020F0502020204030204" pitchFamily="34" charset="0"/>
                        </a:rPr>
                        <a:t>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Projet Digital4Refomrs de la GIZ _ Programme BCT Paiement | Accompagnement de la Banque Centrale de Tunisie à la mise en œuvre de la démarche open Banking (cheffe de projet)</a:t>
                      </a: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Examiner et analyser les enjeux et l’impact de l’Open Banking en Tunisie en vue de formaliser une démarche contextualisée pour sa mise en plac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8237978"/>
                  </a:ext>
                </a:extLst>
              </a:tr>
              <a:tr h="838736">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Dynamisation du réseau, pilotage des ventes et animation commerciale</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mn-cs"/>
                        </a:rPr>
                        <a:t>Banque de l'habitat </a:t>
                      </a:r>
                      <a:br>
                        <a:rPr lang="fr-FR" sz="800" b="0" i="0" u="none" strike="noStrike" kern="1200" dirty="0">
                          <a:solidFill>
                            <a:srgbClr val="000000"/>
                          </a:solidFill>
                          <a:effectLst/>
                          <a:latin typeface="+mn-lt"/>
                          <a:ea typeface="+mn-ea"/>
                          <a:cs typeface="+mn-cs"/>
                        </a:rPr>
                      </a:br>
                      <a:r>
                        <a:rPr lang="fr-FR" sz="800" b="0" i="0" u="none" strike="noStrike" kern="1200" dirty="0">
                          <a:solidFill>
                            <a:srgbClr val="000000"/>
                          </a:solidFill>
                          <a:effectLst/>
                          <a:latin typeface="+mn-lt"/>
                          <a:ea typeface="+mn-ea"/>
                          <a:cs typeface="+mn-cs"/>
                        </a:rPr>
                        <a:t>(BH)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a:rPr>
                        <a:t>20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iagnostic du dispositif commercial existant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laboration de la politique de dynamisation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Définition des procédures, mécanisme et outils de pilotage des ventes et animation commercial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Formation de l’équipe commerciale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Évaluation des Agences pilotes </a:t>
                      </a:r>
                    </a:p>
                    <a:p>
                      <a:pPr marL="171450" lvl="0" indent="-171450" algn="l" defTabSz="743956" rtl="0" eaLnBrk="1"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PMO et Conduite du Changement</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0398190"/>
                  </a:ext>
                </a:extLst>
              </a:tr>
              <a:tr h="838736">
                <a:tc>
                  <a:txBody>
                    <a:bodyPr/>
                    <a:lstStyle/>
                    <a:p>
                      <a:pPr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Etude Ecosystème Digital Secteur Financier</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IFC</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dirty="0">
                          <a:solidFill>
                            <a:srgbClr val="000000"/>
                          </a:solidFill>
                          <a:effectLst/>
                          <a:latin typeface="+mn-lt"/>
                          <a:cs typeface="Calibri" panose="020F0502020204030204" pitchFamily="34" charset="0"/>
                        </a:rPr>
                        <a:t>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2800" lvl="0" indent="-171450" algn="l" defTabSz="743956" rtl="0" eaLnBrk="1" latinLnBrk="0" hangingPunct="1">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mn-ea"/>
                          <a:cs typeface="Calibri" panose="020F0502020204030204" pitchFamily="34" charset="0"/>
                        </a:rPr>
                        <a:t>Identification des nouvelles opportunités d’innovation dans les SFD pour combler le déficit de financement des PME /TPE en Algérie grâce à des nouveaux types d’engagement et de modèles de partenariat entre les institutions financières traditionnelles et les acteurs émergents </a:t>
                      </a:r>
                    </a:p>
                    <a:p>
                      <a:pPr marL="172800" lvl="0" indent="-171450" algn="l" rtl="0">
                        <a:buClr>
                          <a:srgbClr val="FFCC00"/>
                        </a:buClr>
                        <a:buSzPts val="1000"/>
                        <a:buFont typeface="Wingdings" panose="05000000000000000000" pitchFamily="2" charset="2"/>
                        <a:buChar char="Ø"/>
                        <a:tabLst>
                          <a:tab pos="1003935" algn="l"/>
                        </a:tabLst>
                      </a:pPr>
                      <a:endPar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336679"/>
                  </a:ext>
                </a:extLst>
              </a:tr>
            </a:tbl>
          </a:graphicData>
        </a:graphic>
      </p:graphicFrame>
      <p:sp>
        <p:nvSpPr>
          <p:cNvPr id="13" name="Title 1">
            <a:extLst>
              <a:ext uri="{FF2B5EF4-FFF2-40B4-BE49-F238E27FC236}">
                <a16:creationId xmlns:a16="http://schemas.microsoft.com/office/drawing/2014/main" id="{91511BCD-DF52-4CD3-8A22-137A2A4ED4EF}"/>
              </a:ext>
            </a:extLst>
          </p:cNvPr>
          <p:cNvSpPr txBox="1">
            <a:spLocks/>
          </p:cNvSpPr>
          <p:nvPr/>
        </p:nvSpPr>
        <p:spPr>
          <a:xfrm>
            <a:off x="496252" y="289845"/>
            <a:ext cx="8932545" cy="590400"/>
          </a:xfrm>
          <a:prstGeom prst="rect">
            <a:avLst/>
          </a:prstGeom>
        </p:spPr>
        <p:txBody>
          <a:bodyPr vert="horz" lIns="0" tIns="0" rIns="0" bIns="0" rtlCol="0" anchor="ctr" anchorCtr="0">
            <a:noAutofit/>
          </a:bodyPr>
          <a:lstStyle>
            <a:lvl1pPr algn="l" defTabSz="743956" rtl="0" eaLnBrk="1" latinLnBrk="0" hangingPunct="1">
              <a:lnSpc>
                <a:spcPct val="85000"/>
              </a:lnSpc>
              <a:spcBef>
                <a:spcPct val="0"/>
              </a:spcBef>
              <a:buNone/>
              <a:defRPr sz="1953"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400" b="1" dirty="0" err="1"/>
              <a:t>Annexe</a:t>
            </a:r>
            <a:r>
              <a:rPr lang="en-US" sz="1400" b="1" dirty="0"/>
              <a:t> 8 : LISTE DES INTERVENANTS </a:t>
            </a:r>
            <a:br>
              <a:rPr lang="en-US" sz="1302" b="1" dirty="0"/>
            </a:br>
            <a:r>
              <a:rPr lang="en-US" sz="1302" dirty="0"/>
              <a:t>Expert </a:t>
            </a:r>
            <a:r>
              <a:rPr lang="en-US" sz="1302" dirty="0" err="1"/>
              <a:t>Stratégie</a:t>
            </a:r>
            <a:r>
              <a:rPr lang="en-US" sz="1302" dirty="0"/>
              <a:t> </a:t>
            </a:r>
            <a:r>
              <a:rPr lang="en-US" sz="1302" dirty="0" err="1"/>
              <a:t>Bancaire</a:t>
            </a:r>
            <a:r>
              <a:rPr lang="en-US" sz="1302" dirty="0"/>
              <a:t> (2/4)</a:t>
            </a:r>
            <a:endParaRPr lang="en-US" sz="1400" dirty="0"/>
          </a:p>
        </p:txBody>
      </p:sp>
    </p:spTree>
    <p:extLst>
      <p:ext uri="{BB962C8B-B14F-4D97-AF65-F5344CB8AC3E}">
        <p14:creationId xmlns:p14="http://schemas.microsoft.com/office/powerpoint/2010/main" val="3940363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5" progId="TCLayout.ActiveDocument.1">
                  <p:embed/>
                </p:oleObj>
              </mc:Choice>
              <mc:Fallback>
                <p:oleObj name="Diapositive think-cell" r:id="rId5"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custDataLst>
              <p:tags r:id="rId2"/>
            </p:custDataLst>
            <p:extLst>
              <p:ext uri="{D42A27DB-BD31-4B8C-83A1-F6EECF244321}">
                <p14:modId xmlns:p14="http://schemas.microsoft.com/office/powerpoint/2010/main" val="4210004783"/>
              </p:ext>
            </p:extLst>
          </p:nvPr>
        </p:nvGraphicFramePr>
        <p:xfrm>
          <a:off x="496887" y="1022826"/>
          <a:ext cx="8931910" cy="5271440"/>
        </p:xfrm>
        <a:graphic>
          <a:graphicData uri="http://schemas.openxmlformats.org/drawingml/2006/table">
            <a:tbl>
              <a:tblPr/>
              <a:tblGrid>
                <a:gridCol w="2000877">
                  <a:extLst>
                    <a:ext uri="{9D8B030D-6E8A-4147-A177-3AD203B41FA5}">
                      <a16:colId xmlns:a16="http://schemas.microsoft.com/office/drawing/2014/main" val="913313140"/>
                    </a:ext>
                  </a:extLst>
                </a:gridCol>
                <a:gridCol w="1512662">
                  <a:extLst>
                    <a:ext uri="{9D8B030D-6E8A-4147-A177-3AD203B41FA5}">
                      <a16:colId xmlns:a16="http://schemas.microsoft.com/office/drawing/2014/main" val="4028225687"/>
                    </a:ext>
                  </a:extLst>
                </a:gridCol>
                <a:gridCol w="1359093">
                  <a:extLst>
                    <a:ext uri="{9D8B030D-6E8A-4147-A177-3AD203B41FA5}">
                      <a16:colId xmlns:a16="http://schemas.microsoft.com/office/drawing/2014/main" val="2606539621"/>
                    </a:ext>
                  </a:extLst>
                </a:gridCol>
                <a:gridCol w="4059278">
                  <a:extLst>
                    <a:ext uri="{9D8B030D-6E8A-4147-A177-3AD203B41FA5}">
                      <a16:colId xmlns:a16="http://schemas.microsoft.com/office/drawing/2014/main" val="2810886987"/>
                    </a:ext>
                  </a:extLst>
                </a:gridCol>
              </a:tblGrid>
              <a:tr h="328923">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Cli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176816">
                <a:tc>
                  <a:txBody>
                    <a:bodyPr/>
                    <a:lstStyle/>
                    <a:p>
                      <a:pPr algn="ctr">
                        <a:tabLst>
                          <a:tab pos="1003935" algn="l"/>
                        </a:tabLst>
                      </a:pPr>
                      <a:r>
                        <a:rPr lang="fr-FR" sz="800" b="0" i="0" u="none" strike="noStrike" dirty="0">
                          <a:solidFill>
                            <a:srgbClr val="000000"/>
                          </a:solidFill>
                          <a:effectLst/>
                          <a:latin typeface="+mn-lt"/>
                          <a:cs typeface="Calibri" panose="020F0502020204030204" pitchFamily="34" charset="0"/>
                        </a:rPr>
                        <a:t>Plan de transformation</a:t>
                      </a:r>
                    </a:p>
                    <a:p>
                      <a:pPr algn="ctr">
                        <a:tabLst>
                          <a:tab pos="1003935" algn="l"/>
                        </a:tabLst>
                      </a:pPr>
                      <a:r>
                        <a:rPr lang="fr-FR" sz="800" b="0" i="0" u="none" strike="noStrike" dirty="0">
                          <a:solidFill>
                            <a:srgbClr val="000000"/>
                          </a:solidFill>
                          <a:effectLst/>
                          <a:latin typeface="+mn-lt"/>
                          <a:cs typeface="Calibri" panose="020F0502020204030204" pitchFamily="34" charset="0"/>
                        </a:rPr>
                        <a:t> </a:t>
                      </a:r>
                      <a:r>
                        <a:rPr lang="fr-FR" sz="800" b="0" kern="1200" dirty="0">
                          <a:solidFill>
                            <a:srgbClr val="000000"/>
                          </a:solidFill>
                          <a:effectLst/>
                          <a:latin typeface="+mn-lt"/>
                          <a:ea typeface="Times New Roman" panose="02020603050405020304" pitchFamily="18" charset="0"/>
                          <a:cs typeface="Calibri" panose="020F0502020204030204" pitchFamily="34" charset="0"/>
                        </a:rPr>
                        <a:t>Diagnostic opérationnel, organisationnel et technologique</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 </a:t>
                      </a: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 </a:t>
                      </a:r>
                      <a:r>
                        <a:rPr lang="en-GB" sz="800" b="0" kern="1200" dirty="0">
                          <a:solidFill>
                            <a:srgbClr val="000000"/>
                          </a:solidFill>
                          <a:effectLst/>
                          <a:latin typeface="+mn-lt"/>
                          <a:ea typeface="Times New Roman" panose="02020603050405020304" pitchFamily="18" charset="0"/>
                          <a:cs typeface="Calibri" panose="020F0502020204030204" pitchFamily="34" charset="0"/>
                        </a:rPr>
                        <a:t>SUNU Banque </a:t>
                      </a:r>
                      <a:endPar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 </a:t>
                      </a: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 20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Evaluation de l’environnement général et des différents facteurs pouvant influencer positivement ou négativement la résilience ou l’efficacité des processus (alignement stratégie; gouvernance et organisation, dispositif de contrôle interne, système d’information)</a:t>
                      </a:r>
                      <a:endParaRPr lang="fr-FR" sz="800" kern="1200" dirty="0">
                        <a:solidFill>
                          <a:schemeClr val="tx1"/>
                        </a:solidFill>
                        <a:effectLst/>
                        <a:uFill>
                          <a:solidFill>
                            <a:srgbClr val="993366"/>
                          </a:solidFill>
                        </a:uFill>
                        <a:latin typeface="+mn-lt"/>
                        <a:ea typeface="Times New Roman" panose="02020603050405020304" pitchFamily="18" charset="0"/>
                        <a:cs typeface="Calibri" panose="020F0502020204030204" pitchFamily="34" charset="0"/>
                      </a:endParaRP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Revue critique des processus clés et identification des axes d’amélioration</a:t>
                      </a:r>
                      <a:endParaRPr lang="fr-FR" sz="800" kern="1200" dirty="0">
                        <a:solidFill>
                          <a:schemeClr val="tx1"/>
                        </a:solidFill>
                        <a:effectLst/>
                        <a:uFill>
                          <a:solidFill>
                            <a:srgbClr val="993366"/>
                          </a:solidFill>
                        </a:uFill>
                        <a:latin typeface="+mn-lt"/>
                        <a:ea typeface="Times New Roman" panose="02020603050405020304" pitchFamily="18" charset="0"/>
                        <a:cs typeface="Calibri" panose="020F0502020204030204" pitchFamily="34" charset="0"/>
                      </a:endParaRP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Élaboration de la feuille de route pour la mise en place des recommandation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9871424"/>
                  </a:ext>
                </a:extLst>
              </a:tr>
              <a:tr h="1176816">
                <a:tc>
                  <a:txBody>
                    <a:bodyPr/>
                    <a:lstStyle/>
                    <a:p>
                      <a:pPr algn="ctr">
                        <a:tabLst>
                          <a:tab pos="1003935" algn="l"/>
                        </a:tabLst>
                      </a:pPr>
                      <a:r>
                        <a:rPr lang="fr-FR" sz="800" b="0" kern="1200" dirty="0">
                          <a:solidFill>
                            <a:srgbClr val="000000"/>
                          </a:solidFill>
                          <a:effectLst/>
                          <a:latin typeface="+mn-lt"/>
                          <a:ea typeface="Times New Roman" panose="02020603050405020304" pitchFamily="18" charset="0"/>
                          <a:cs typeface="Calibri" panose="020F0502020204030204" pitchFamily="34" charset="0"/>
                        </a:rPr>
                        <a:t>Développement du capital humain - Banque Populaire de Mauritanie – BPM Mauritanie </a:t>
                      </a:r>
                      <a:endParaRPr lang="fr-FR" sz="800" b="0" dirty="0">
                        <a:effectLst/>
                        <a:latin typeface="+mn-lt"/>
                        <a:ea typeface="Times New Roman" panose="02020603050405020304" pitchFamily="18" charset="0"/>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en-GB" sz="800" b="0" kern="1200">
                          <a:solidFill>
                            <a:srgbClr val="000000"/>
                          </a:solidFill>
                          <a:effectLst/>
                          <a:latin typeface="+mn-lt"/>
                          <a:ea typeface="Times New Roman" panose="02020603050405020304" pitchFamily="18" charset="0"/>
                          <a:cs typeface="Calibri" panose="020F0502020204030204" pitchFamily="34" charset="0"/>
                        </a:rPr>
                        <a:t>Banque Populaire de Mauritanie (BPM)</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un référentiel des compétences</a:t>
                      </a:r>
                      <a:endParaRPr lang="fr-FR" sz="800" kern="1200" dirty="0">
                        <a:solidFill>
                          <a:schemeClr val="tx1"/>
                        </a:solidFill>
                        <a:effectLst/>
                        <a:uFill>
                          <a:solidFill>
                            <a:srgbClr val="993366"/>
                          </a:solidFill>
                        </a:uFill>
                        <a:latin typeface="+mn-lt"/>
                        <a:ea typeface="Times New Roman" panose="02020603050405020304" pitchFamily="18" charset="0"/>
                        <a:cs typeface="Calibri" panose="020F0502020204030204" pitchFamily="34" charset="0"/>
                      </a:endParaRP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Élaboration du bilan des compétences</a:t>
                      </a:r>
                      <a:endParaRPr lang="fr-FR" sz="800" kern="1200" dirty="0">
                        <a:solidFill>
                          <a:schemeClr val="tx1"/>
                        </a:solidFill>
                        <a:effectLst/>
                        <a:uFill>
                          <a:solidFill>
                            <a:srgbClr val="993366"/>
                          </a:solidFill>
                        </a:uFill>
                        <a:latin typeface="+mn-lt"/>
                        <a:ea typeface="Times New Roman" panose="02020603050405020304" pitchFamily="18" charset="0"/>
                        <a:cs typeface="Calibri" panose="020F0502020204030204" pitchFamily="34" charset="0"/>
                      </a:endParaRP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es chemins de carrière  </a:t>
                      </a:r>
                      <a:endParaRPr lang="fr-FR" sz="800" kern="1200" dirty="0">
                        <a:solidFill>
                          <a:schemeClr val="tx1"/>
                        </a:solidFill>
                        <a:effectLst/>
                        <a:uFill>
                          <a:solidFill>
                            <a:srgbClr val="993366"/>
                          </a:solidFill>
                        </a:uFill>
                        <a:latin typeface="+mn-lt"/>
                        <a:ea typeface="Times New Roman" panose="02020603050405020304" pitchFamily="18" charset="0"/>
                        <a:cs typeface="Calibri" panose="020F0502020204030204" pitchFamily="34" charset="0"/>
                      </a:endParaRPr>
                    </a:p>
                    <a:p>
                      <a:pPr marL="17280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latin typeface="+mn-lt"/>
                          <a:ea typeface="Times New Roman" panose="02020603050405020304" pitchFamily="18" charset="0"/>
                          <a:cs typeface="Calibri" panose="020F0502020204030204" pitchFamily="34" charset="0"/>
                        </a:rPr>
                        <a:t>Définition du dispositif cible de l’académie (programme, sujets, partenaires, personnes concernée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4951068"/>
                  </a:ext>
                </a:extLst>
              </a:tr>
              <a:tr h="1283312">
                <a:tc>
                  <a:txBody>
                    <a:bodyPr/>
                    <a:lstStyle/>
                    <a:p>
                      <a:pPr marL="0" marR="0" lvl="2" indent="0" algn="ctr" defTabSz="743956" rtl="0" eaLnBrk="1" fontAlgn="ctr" latinLnBrk="0" hangingPunct="1">
                        <a:lnSpc>
                          <a:spcPts val="931"/>
                        </a:lnSpc>
                        <a:spcBef>
                          <a:spcPts val="0"/>
                        </a:spcBef>
                        <a:spcAft>
                          <a:spcPts val="300"/>
                        </a:spcAft>
                        <a:buClr>
                          <a:srgbClr val="FFD200"/>
                        </a:buClr>
                        <a:buSzPct val="70000"/>
                        <a:buFont typeface="Arial" panose="020B0604020202020204" pitchFamily="34" charset="0"/>
                        <a:buNone/>
                        <a:tabLst>
                          <a:tab pos="1740251" algn="l"/>
                          <a:tab pos="3480502" algn="l"/>
                          <a:tab pos="5029100" algn="r"/>
                        </a:tabLst>
                        <a:defRPr/>
                      </a:pPr>
                      <a:r>
                        <a:rPr lang="fr-FR" sz="800" b="0" i="0" u="none" strike="noStrike" kern="1200" dirty="0">
                          <a:solidFill>
                            <a:srgbClr val="000000"/>
                          </a:solidFill>
                          <a:effectLst/>
                          <a:latin typeface="+mn-lt"/>
                          <a:ea typeface="+mn-ea"/>
                          <a:cs typeface="+mn-cs"/>
                        </a:rPr>
                        <a:t>Transformation organisationnelle et réingénierie des processus </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a:solidFill>
                            <a:srgbClr val="000000"/>
                          </a:solidFill>
                          <a:effectLst/>
                          <a:latin typeface="+mn-lt"/>
                          <a:ea typeface="+mn-ea"/>
                          <a:cs typeface="+mn-cs"/>
                        </a:rPr>
                        <a:t> </a:t>
                      </a:r>
                      <a:r>
                        <a:rPr lang="fr-FR" sz="800" b="0" i="0" u="none" strike="noStrike" kern="1200" noProof="0">
                          <a:solidFill>
                            <a:srgbClr val="000000"/>
                          </a:solidFill>
                          <a:effectLst/>
                          <a:latin typeface="+mn-lt"/>
                          <a:ea typeface="+mn-ea"/>
                          <a:cs typeface="+mn-cs"/>
                        </a:rPr>
                        <a:t> </a:t>
                      </a:r>
                      <a:r>
                        <a:rPr lang="en-GB" sz="800" b="0" i="0" u="none" strike="noStrike" kern="1200">
                          <a:solidFill>
                            <a:srgbClr val="000000"/>
                          </a:solidFill>
                          <a:effectLst/>
                          <a:latin typeface="+mn-lt"/>
                          <a:ea typeface="+mn-ea"/>
                          <a:cs typeface="+mn-cs"/>
                        </a:rPr>
                        <a:t>Arab Tunisian Bank (ATB)</a:t>
                      </a:r>
                    </a:p>
                    <a:p>
                      <a:pPr marL="0" marR="0" lvl="0" indent="0" algn="ctr" defTabSz="743956" rtl="0" eaLnBrk="1" fontAlgn="ctr" latinLnBrk="0" hangingPunct="1">
                        <a:lnSpc>
                          <a:spcPct val="100000"/>
                        </a:lnSpc>
                        <a:spcBef>
                          <a:spcPts val="0"/>
                        </a:spcBef>
                        <a:spcAft>
                          <a:spcPts val="0"/>
                        </a:spcAft>
                        <a:buClrTx/>
                        <a:buSzTx/>
                        <a:buFontTx/>
                        <a:buNone/>
                        <a:tabLst/>
                        <a:defRPr/>
                      </a:pPr>
                      <a:r>
                        <a:rPr lang="en-GB" sz="800" b="0" i="0" u="none" strike="noStrike" kern="1200">
                          <a:solidFill>
                            <a:srgbClr val="000000"/>
                          </a:solidFill>
                          <a:effectLst/>
                          <a:latin typeface="+mn-lt"/>
                          <a:ea typeface="+mn-ea"/>
                          <a:cs typeface="+mn-cs"/>
                        </a:rPr>
                        <a:t>Tunisie</a:t>
                      </a:r>
                      <a:endParaRPr lang="en-GB" sz="800" b="0" i="0" u="none" strike="noStrike" kern="1200" dirty="0">
                        <a:solidFill>
                          <a:srgbClr val="000000"/>
                        </a:solidFill>
                        <a:effectLst/>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rPr>
                        <a:t> </a:t>
                      </a:r>
                      <a:r>
                        <a:rPr kumimoji="0" lang="fr-FR" sz="800" b="0" i="0" u="none" strike="noStrike" kern="1200" cap="none" spc="0" normalizeH="0" baseline="0" noProof="0" dirty="0">
                          <a:ln>
                            <a:noFill/>
                          </a:ln>
                          <a:solidFill>
                            <a:srgbClr val="000000"/>
                          </a:solidFill>
                          <a:effectLst/>
                          <a:uLnTx/>
                          <a:uFillTx/>
                          <a:latin typeface="+mn-lt"/>
                          <a:ea typeface="+mn-ea"/>
                          <a:cs typeface="+mn-cs"/>
                        </a:rPr>
                        <a:t> 2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cs typeface="Calibri" panose="020F0502020204030204" pitchFamily="34" charset="0"/>
                        </a:rPr>
                        <a:t>Diagnostic de l’organisation et proposition de scénarii d’organigramme cible</a:t>
                      </a:r>
                    </a:p>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cs typeface="Calibri" panose="020F0502020204030204" pitchFamily="34" charset="0"/>
                        </a:rPr>
                        <a:t>Déclinaison de l’organisation cible retenue et dimensionnement des effectifs</a:t>
                      </a:r>
                    </a:p>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cs typeface="Calibri" panose="020F0502020204030204" pitchFamily="34" charset="0"/>
                        </a:rPr>
                        <a:t>Diagnostic du référentiel des processus/procédures Métiers et Support existants</a:t>
                      </a:r>
                    </a:p>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cs typeface="Calibri" panose="020F0502020204030204" pitchFamily="34" charset="0"/>
                        </a:rPr>
                        <a:t>Élaboration d’un plan de mise en œuvre et d’assistanc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583491"/>
                  </a:ext>
                </a:extLst>
              </a:tr>
              <a:tr h="773176">
                <a:tc>
                  <a:txBody>
                    <a:bodyPr/>
                    <a:lstStyle/>
                    <a:p>
                      <a:pPr marL="91440" algn="ctr">
                        <a:tabLst>
                          <a:tab pos="1003935" algn="l"/>
                        </a:tabLst>
                      </a:pPr>
                      <a:endParaRPr lang="fr-FR" sz="800" b="0" i="0" u="none" strike="noStrike" kern="1200" dirty="0">
                        <a:solidFill>
                          <a:srgbClr val="000000"/>
                        </a:solidFill>
                        <a:effectLst/>
                        <a:latin typeface="+mn-lt"/>
                        <a:ea typeface="+mn-ea"/>
                        <a:cs typeface="Calibri" panose="020F0502020204030204" pitchFamily="34" charset="0"/>
                      </a:endParaRPr>
                    </a:p>
                    <a:p>
                      <a:pPr marL="91440"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Projet de transformation et de robotisation des opérations du Back-Office</a:t>
                      </a:r>
                    </a:p>
                    <a:p>
                      <a:pPr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 </a:t>
                      </a:r>
                    </a:p>
                    <a:p>
                      <a:pPr algn="ctr" fontAlgn="ct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UBCI</a:t>
                      </a:r>
                    </a:p>
                    <a:p>
                      <a:pPr marL="0" marR="0" lvl="0" indent="0" algn="ctr" defTabSz="743956" rtl="0" eaLnBrk="1" fontAlgn="ctr"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Tunis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2019</a:t>
                      </a:r>
                      <a:endParaRPr kumimoji="0" lang="fr-FR" sz="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p>
                      <a:pPr algn="ctr" fontAlgn="ctr"/>
                      <a:endParaRPr lang="fr-FR" sz="800" b="0" i="0" u="none" strike="noStrike" dirty="0">
                        <a:solidFill>
                          <a:srgbClr val="000000"/>
                        </a:solidFill>
                        <a:effectLst/>
                        <a:latin typeface="+mn-lt"/>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iagnostic, élaboration des spécifications fonctionnelles des robots et conduite de changement lors de la mise en place</a:t>
                      </a:r>
                    </a:p>
                    <a:p>
                      <a:pPr marL="0" lvl="0" indent="0" algn="just" rtl="0">
                        <a:buClr>
                          <a:srgbClr val="FFCC00"/>
                        </a:buClr>
                        <a:buSzPts val="1000"/>
                        <a:buFont typeface="Wingdings" panose="05000000000000000000" pitchFamily="2" charset="2"/>
                        <a:buNone/>
                        <a:tabLst>
                          <a:tab pos="1003935" algn="l"/>
                        </a:tabLst>
                      </a:pPr>
                      <a:endParaRPr lang="fr-FR" sz="800" dirty="0">
                        <a:effectLst/>
                        <a:uFill>
                          <a:solidFill>
                            <a:srgbClr val="993366"/>
                          </a:solidFill>
                        </a:uFill>
                        <a:latin typeface="+mn-lt"/>
                        <a:ea typeface="Times New Roman" panose="02020603050405020304" pitchFamily="18"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708559"/>
                  </a:ext>
                </a:extLst>
              </a:tr>
              <a:tr h="532397">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Optimisation des parcours clients</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mn-lt"/>
                          <a:ea typeface="+mn-ea"/>
                          <a:cs typeface="+mn-cs"/>
                        </a:rPr>
                        <a:t>Amen Bank</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0000"/>
                          </a:solidFill>
                          <a:effectLst/>
                          <a:uLnTx/>
                          <a:uFillTx/>
                          <a:latin typeface="+mn-lt"/>
                          <a:ea typeface="+mn-ea"/>
                          <a:cs typeface="+mn-cs"/>
                        </a:rPr>
                        <a:t>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iagnostic des processus en cours​</a:t>
                      </a:r>
                    </a:p>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Proposition de pistes d'amélioration​</a:t>
                      </a:r>
                    </a:p>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Accompagnement dans la mise en œuvre des solutions innovantes sélectionnée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530592"/>
                  </a:ext>
                </a:extLst>
              </a:tr>
            </a:tbl>
          </a:graphicData>
        </a:graphic>
      </p:graphicFrame>
      <p:sp>
        <p:nvSpPr>
          <p:cNvPr id="13" name="Title 1">
            <a:extLst>
              <a:ext uri="{FF2B5EF4-FFF2-40B4-BE49-F238E27FC236}">
                <a16:creationId xmlns:a16="http://schemas.microsoft.com/office/drawing/2014/main" id="{91511BCD-DF52-4CD3-8A22-137A2A4ED4EF}"/>
              </a:ext>
            </a:extLst>
          </p:cNvPr>
          <p:cNvSpPr txBox="1">
            <a:spLocks/>
          </p:cNvSpPr>
          <p:nvPr/>
        </p:nvSpPr>
        <p:spPr>
          <a:xfrm>
            <a:off x="496252" y="289845"/>
            <a:ext cx="8932545" cy="590400"/>
          </a:xfrm>
          <a:prstGeom prst="rect">
            <a:avLst/>
          </a:prstGeom>
        </p:spPr>
        <p:txBody>
          <a:bodyPr vert="horz" lIns="0" tIns="0" rIns="0" bIns="0" rtlCol="0" anchor="ctr" anchorCtr="0">
            <a:noAutofit/>
          </a:bodyPr>
          <a:lstStyle>
            <a:lvl1pPr algn="l" defTabSz="743956" rtl="0" eaLnBrk="1" latinLnBrk="0" hangingPunct="1">
              <a:lnSpc>
                <a:spcPct val="85000"/>
              </a:lnSpc>
              <a:spcBef>
                <a:spcPct val="0"/>
              </a:spcBef>
              <a:buNone/>
              <a:defRPr sz="1953"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400" b="1" dirty="0" err="1"/>
              <a:t>Annexe</a:t>
            </a:r>
            <a:r>
              <a:rPr lang="en-US" sz="1400" b="1" dirty="0"/>
              <a:t> 8 : LISTE DES INTERVENANTS</a:t>
            </a:r>
            <a:br>
              <a:rPr lang="en-US" sz="1302" b="1" dirty="0"/>
            </a:br>
            <a:r>
              <a:rPr lang="en-US" sz="1302" dirty="0"/>
              <a:t>Expert </a:t>
            </a:r>
            <a:r>
              <a:rPr lang="en-US" sz="1302" dirty="0" err="1"/>
              <a:t>Stratégie</a:t>
            </a:r>
            <a:r>
              <a:rPr lang="en-US" sz="1302" dirty="0"/>
              <a:t> </a:t>
            </a:r>
            <a:r>
              <a:rPr lang="en-US" sz="1302" dirty="0" err="1"/>
              <a:t>Bancaire</a:t>
            </a:r>
            <a:r>
              <a:rPr lang="en-US" sz="1302" dirty="0"/>
              <a:t> (3/4)</a:t>
            </a:r>
            <a:endParaRPr lang="en-US" sz="1400" dirty="0"/>
          </a:p>
        </p:txBody>
      </p:sp>
    </p:spTree>
    <p:extLst>
      <p:ext uri="{BB962C8B-B14F-4D97-AF65-F5344CB8AC3E}">
        <p14:creationId xmlns:p14="http://schemas.microsoft.com/office/powerpoint/2010/main" val="2061964473"/>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2AC49135-08FA-42AE-86BD-A81062203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5" progId="TCLayout.ActiveDocument.1">
                  <p:embed/>
                </p:oleObj>
              </mc:Choice>
              <mc:Fallback>
                <p:oleObj name="Diapositive think-cell" r:id="rId4" imgW="592" imgH="595" progId="TCLayout.ActiveDocument.1">
                  <p:embed/>
                  <p:pic>
                    <p:nvPicPr>
                      <p:cNvPr id="10" name="Objet 9" hidden="1">
                        <a:extLst>
                          <a:ext uri="{FF2B5EF4-FFF2-40B4-BE49-F238E27FC236}">
                            <a16:creationId xmlns:a16="http://schemas.microsoft.com/office/drawing/2014/main" id="{2AC49135-08FA-42AE-86BD-A81062203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Espace réservé du contenu 5">
            <a:extLst>
              <a:ext uri="{FF2B5EF4-FFF2-40B4-BE49-F238E27FC236}">
                <a16:creationId xmlns:a16="http://schemas.microsoft.com/office/drawing/2014/main" id="{B139E64A-453C-4AEE-8AAB-961D52D07645}"/>
              </a:ext>
            </a:extLst>
          </p:cNvPr>
          <p:cNvGraphicFramePr>
            <a:graphicFrameLocks noGrp="1"/>
          </p:cNvGraphicFramePr>
          <p:nvPr>
            <p:ph idx="1"/>
            <p:custDataLst>
              <p:tags r:id="rId2"/>
            </p:custDataLst>
            <p:extLst>
              <p:ext uri="{D42A27DB-BD31-4B8C-83A1-F6EECF244321}">
                <p14:modId xmlns:p14="http://schemas.microsoft.com/office/powerpoint/2010/main" val="3395623229"/>
              </p:ext>
            </p:extLst>
          </p:nvPr>
        </p:nvGraphicFramePr>
        <p:xfrm>
          <a:off x="496887" y="1022827"/>
          <a:ext cx="8931910" cy="5360218"/>
        </p:xfrm>
        <a:graphic>
          <a:graphicData uri="http://schemas.openxmlformats.org/drawingml/2006/table">
            <a:tbl>
              <a:tblPr/>
              <a:tblGrid>
                <a:gridCol w="2000877">
                  <a:extLst>
                    <a:ext uri="{9D8B030D-6E8A-4147-A177-3AD203B41FA5}">
                      <a16:colId xmlns:a16="http://schemas.microsoft.com/office/drawing/2014/main" val="913313140"/>
                    </a:ext>
                  </a:extLst>
                </a:gridCol>
                <a:gridCol w="1512662">
                  <a:extLst>
                    <a:ext uri="{9D8B030D-6E8A-4147-A177-3AD203B41FA5}">
                      <a16:colId xmlns:a16="http://schemas.microsoft.com/office/drawing/2014/main" val="4028225687"/>
                    </a:ext>
                  </a:extLst>
                </a:gridCol>
                <a:gridCol w="1359093">
                  <a:extLst>
                    <a:ext uri="{9D8B030D-6E8A-4147-A177-3AD203B41FA5}">
                      <a16:colId xmlns:a16="http://schemas.microsoft.com/office/drawing/2014/main" val="2606539621"/>
                    </a:ext>
                  </a:extLst>
                </a:gridCol>
                <a:gridCol w="4059278">
                  <a:extLst>
                    <a:ext uri="{9D8B030D-6E8A-4147-A177-3AD203B41FA5}">
                      <a16:colId xmlns:a16="http://schemas.microsoft.com/office/drawing/2014/main" val="2810886987"/>
                    </a:ext>
                  </a:extLst>
                </a:gridCol>
              </a:tblGrid>
              <a:tr h="577439">
                <a:tc>
                  <a:txBody>
                    <a:bodyPr/>
                    <a:lstStyle/>
                    <a:p>
                      <a:pPr algn="ctr" fontAlgn="ctr"/>
                      <a:r>
                        <a:rPr lang="fr-FR" sz="1000" b="1" i="0" u="none" strike="noStrike" dirty="0">
                          <a:solidFill>
                            <a:srgbClr val="000000"/>
                          </a:solidFill>
                          <a:effectLst/>
                          <a:latin typeface="+mn-lt"/>
                        </a:rPr>
                        <a:t>Proje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a:solidFill>
                            <a:srgbClr val="000000"/>
                          </a:solidFill>
                          <a:effectLst/>
                          <a:latin typeface="+mn-lt"/>
                        </a:rPr>
                        <a:t>Client</a:t>
                      </a:r>
                      <a:endParaRPr lang="fr-FR" sz="1000" b="1" i="0" u="none" strike="noStrike" dirty="0">
                        <a:solidFill>
                          <a:srgbClr val="000000"/>
                        </a:solidFill>
                        <a:effectLst/>
                        <a:latin typeface="+mn-lt"/>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Anné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ctr" fontAlgn="ctr"/>
                      <a:r>
                        <a:rPr lang="fr-FR" sz="1000" b="1" i="0" u="none" strike="noStrike" dirty="0">
                          <a:solidFill>
                            <a:srgbClr val="000000"/>
                          </a:solidFill>
                          <a:effectLst/>
                          <a:latin typeface="+mn-lt"/>
                        </a:rPr>
                        <a:t>Principales activité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04100796"/>
                  </a:ext>
                </a:extLst>
              </a:tr>
              <a:tr h="1581234">
                <a:tc>
                  <a:txBody>
                    <a:bodyPr/>
                    <a:lstStyle/>
                    <a:p>
                      <a:pPr algn="ctr" fontAlgn="ctr"/>
                      <a:r>
                        <a:rPr lang="fr-FR" sz="800" b="0" i="0" u="none" strike="noStrike" dirty="0">
                          <a:solidFill>
                            <a:srgbClr val="000000"/>
                          </a:solidFill>
                          <a:effectLst/>
                          <a:latin typeface="+mn-lt"/>
                        </a:rPr>
                        <a:t> </a:t>
                      </a:r>
                      <a:r>
                        <a:rPr lang="fr-FR" sz="800" b="0" i="0" u="none" strike="noStrike" kern="1200" dirty="0">
                          <a:solidFill>
                            <a:srgbClr val="000000"/>
                          </a:solidFill>
                          <a:effectLst/>
                          <a:latin typeface="+mn-lt"/>
                          <a:ea typeface="+mn-ea"/>
                          <a:cs typeface="Calibri" panose="020F0502020204030204" pitchFamily="34" charset="0"/>
                        </a:rPr>
                        <a:t>Change Management dans le cadre de la migration vers le Global Bancaire T24</a:t>
                      </a:r>
                    </a:p>
                  </a:txBody>
                  <a:tcPr marL="7620" marR="7620" marT="7620" marB="0" anchor="ctr">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a:solidFill>
                            <a:srgbClr val="000000"/>
                          </a:solidFill>
                          <a:effectLst/>
                          <a:latin typeface="+mn-lt"/>
                        </a:rPr>
                        <a:t> </a:t>
                      </a:r>
                      <a:r>
                        <a:rPr kumimoji="0" lang="fr-FR" sz="800" b="0" i="0" u="none" strike="noStrike" kern="1200" cap="none" spc="0" normalizeH="0" baseline="0" noProof="0">
                          <a:ln>
                            <a:noFill/>
                          </a:ln>
                          <a:solidFill>
                            <a:srgbClr val="000000"/>
                          </a:solidFill>
                          <a:effectLst/>
                          <a:uLnTx/>
                          <a:uFillTx/>
                          <a:latin typeface="+mn-lt"/>
                          <a:ea typeface="+mn-ea"/>
                          <a:cs typeface="+mn-cs"/>
                        </a:rPr>
                        <a:t> Arab Tunisian Bank (ATB)</a:t>
                      </a:r>
                      <a:endParaRPr kumimoji="0" lang="fr-FR" sz="800" b="0" i="0" u="none" strike="noStrike" kern="1200" cap="none" spc="0" normalizeH="0" baseline="0" noProof="0" dirty="0">
                        <a:ln>
                          <a:noFill/>
                        </a:ln>
                        <a:solidFill>
                          <a:srgbClr val="000000"/>
                        </a:solidFill>
                        <a:effectLst/>
                        <a:uLnTx/>
                        <a:uFillTx/>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a:solidFill>
                            <a:srgbClr val="000000"/>
                          </a:solidFill>
                          <a:effectLst/>
                          <a:latin typeface="+mn-lt"/>
                        </a:rPr>
                        <a:t> </a:t>
                      </a:r>
                      <a:r>
                        <a:rPr kumimoji="0" lang="fr-FR" sz="800" b="0" i="0" u="none" strike="noStrike" kern="1200" cap="none" spc="0" normalizeH="0" baseline="0" noProof="0">
                          <a:ln>
                            <a:noFill/>
                          </a:ln>
                          <a:solidFill>
                            <a:srgbClr val="000000"/>
                          </a:solidFill>
                          <a:effectLst/>
                          <a:uLnTx/>
                          <a:uFillTx/>
                          <a:latin typeface="+mn-lt"/>
                          <a:ea typeface="+mn-ea"/>
                          <a:cs typeface="+mn-cs"/>
                        </a:rPr>
                        <a:t> 2021</a:t>
                      </a:r>
                      <a:endParaRPr kumimoji="0" lang="fr-FR" sz="800" b="0" i="0" u="none" strike="noStrike" kern="1200" cap="none" spc="0" normalizeH="0" baseline="0" noProof="0" dirty="0">
                        <a:ln>
                          <a:noFill/>
                        </a:ln>
                        <a:solidFill>
                          <a:srgbClr val="000000"/>
                        </a:solidFill>
                        <a:effectLst/>
                        <a:uLnTx/>
                        <a:uFillTx/>
                        <a:latin typeface="+mn-lt"/>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lvl="0" indent="-171450" algn="l" rtl="0">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iagnostic de la culture de l’entreprise ATB et son cadre socio-culturel</a:t>
                      </a:r>
                    </a:p>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Elaboration de l’étude d’impact du projet de transformation Système d’Information (SI)</a:t>
                      </a:r>
                    </a:p>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Élaboration et déclinaison de la stratégie d’accompagnement au changement</a:t>
                      </a:r>
                    </a:p>
                    <a:p>
                      <a:pPr marL="171450" lvl="0" indent="-171450" algn="l">
                        <a:buClr>
                          <a:srgbClr val="FFCC00"/>
                        </a:buClr>
                        <a:buSzPts val="1000"/>
                        <a:buFont typeface="Wingdings" panose="05000000000000000000" pitchFamily="2" charset="2"/>
                        <a:buChar char="Ø"/>
                        <a:tabLst>
                          <a:tab pos="1003935" algn="l"/>
                        </a:tabLst>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Mise en œuvre et suivi du plan d’actions</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0663468"/>
                  </a:ext>
                </a:extLst>
              </a:tr>
              <a:tr h="934644">
                <a:tc>
                  <a:txBody>
                    <a:bodyPr/>
                    <a:lstStyle/>
                    <a:p>
                      <a:pPr marL="91440" algn="ctr">
                        <a:tabLst>
                          <a:tab pos="1003935" algn="l"/>
                        </a:tabLst>
                      </a:pPr>
                      <a:r>
                        <a:rPr lang="fr-FR" sz="800" b="0" i="0" u="none" strike="noStrike" kern="1200">
                          <a:solidFill>
                            <a:srgbClr val="000000"/>
                          </a:solidFill>
                          <a:effectLst/>
                          <a:latin typeface="+mn-lt"/>
                          <a:ea typeface="+mn-ea"/>
                          <a:cs typeface="Calibri" panose="020F0502020204030204" pitchFamily="34" charset="0"/>
                        </a:rPr>
                        <a:t>Conduite du changement dans le cadre de la mise en place du nouveau système d’information</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dirty="0">
                          <a:solidFill>
                            <a:srgbClr val="000000"/>
                          </a:solidFill>
                          <a:effectLst/>
                          <a:latin typeface="+mn-lt"/>
                          <a:cs typeface="Calibri" panose="020F0502020204030204" pitchFamily="34" charset="0"/>
                        </a:rPr>
                        <a:t>BADR</a:t>
                      </a:r>
                    </a:p>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Algér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20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2800" lvl="0" indent="-171450" algn="just" rtl="0">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e la politique de communication </a:t>
                      </a:r>
                    </a:p>
                    <a:p>
                      <a:pPr marL="172800" lvl="0" indent="-171450" algn="just" rtl="0">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des impacts procéduraux et organisationnels</a:t>
                      </a:r>
                    </a:p>
                    <a:p>
                      <a:pPr marL="172800" lvl="0" indent="-171450" algn="just" rtl="0">
                        <a:buClr>
                          <a:srgbClr val="FFCC00"/>
                        </a:buClr>
                        <a:buSzPts val="1000"/>
                        <a:buFont typeface="Wingdings" panose="05000000000000000000" pitchFamily="2" charset="2"/>
                        <a:buChar char="Ø"/>
                        <a:tabLst>
                          <a:tab pos="1003935" algn="l"/>
                        </a:tabLst>
                      </a:pPr>
                      <a:r>
                        <a:rPr lang="fr-FR" sz="800" kern="120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éfinition et mise en place du plan de formation</a:t>
                      </a:r>
                      <a:endPar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6453527"/>
                  </a:ext>
                </a:extLst>
              </a:tr>
              <a:tr h="1357342">
                <a:tc>
                  <a:txBody>
                    <a:bodyPr/>
                    <a:lstStyle/>
                    <a:p>
                      <a:pPr algn="ctr">
                        <a:tabLst>
                          <a:tab pos="1003935" algn="l"/>
                        </a:tabLst>
                      </a:pPr>
                      <a:r>
                        <a:rPr lang="fr-FR" sz="800" b="0" i="0" u="none" strike="noStrike" kern="1200">
                          <a:solidFill>
                            <a:srgbClr val="000000"/>
                          </a:solidFill>
                          <a:effectLst/>
                          <a:latin typeface="+mn-lt"/>
                          <a:ea typeface="+mn-ea"/>
                          <a:cs typeface="Calibri" panose="020F0502020204030204" pitchFamily="34" charset="0"/>
                        </a:rPr>
                        <a:t>Accompagnement dans la conception du plan quinquennal de la  Banque Maghrébine d'Investissement et du Commerce Extérieur (BMICE) </a:t>
                      </a:r>
                    </a:p>
                    <a:p>
                      <a:pPr algn="ctr">
                        <a:tabLst>
                          <a:tab pos="193040" algn="l"/>
                        </a:tabLst>
                      </a:pP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a:solidFill>
                            <a:srgbClr val="000000"/>
                          </a:solidFill>
                          <a:effectLst/>
                          <a:latin typeface="+mn-lt"/>
                          <a:ea typeface="+mn-ea"/>
                          <a:cs typeface="Calibri" panose="020F0502020204030204" pitchFamily="34" charset="0"/>
                        </a:rPr>
                        <a:t>Banque Maghrébine d'Investissement et du Commerce Extérieur (BMICE Tunisie)</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800" b="0" i="0" u="none" strike="noStrike" kern="1200" dirty="0">
                          <a:solidFill>
                            <a:srgbClr val="000000"/>
                          </a:solidFill>
                          <a:effectLst/>
                          <a:latin typeface="+mn-lt"/>
                          <a:ea typeface="+mn-ea"/>
                          <a:cs typeface="Calibri" panose="020F0502020204030204" pitchFamily="34" charset="0"/>
                        </a:rPr>
                        <a:t>20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just">
                        <a:buClr>
                          <a:srgbClr val="FFC000"/>
                        </a:buClr>
                        <a:buFont typeface="Wingdings" panose="05000000000000000000" pitchFamily="2" charset="2"/>
                        <a:buChar char="Ø"/>
                      </a:pPr>
                      <a:r>
                        <a:rPr lang="fr-FR" sz="800" kern="1200" dirty="0">
                          <a:solidFill>
                            <a:srgbClr val="000000"/>
                          </a:solidFill>
                          <a:effectLst/>
                          <a:latin typeface="+mn-lt"/>
                          <a:ea typeface="Times New Roman" panose="02020603050405020304" pitchFamily="18" charset="0"/>
                          <a:cs typeface="Calibri" panose="020F0502020204030204" pitchFamily="34" charset="0"/>
                        </a:rPr>
                        <a:t>Accompagnement dans le cadre de définition de sa stratégie, de ses politiques (RH, risque, SI..) et des chantiers opérationnels – y compris la définition de l’organisation détaillée de la banque</a:t>
                      </a:r>
                      <a:endParaRPr lang="fr-FR" sz="800" kern="1200" dirty="0">
                        <a:solidFill>
                          <a:srgbClr val="000000"/>
                        </a:solidFill>
                        <a:effectLst/>
                        <a:uFill>
                          <a:solidFill>
                            <a:srgbClr val="993366"/>
                          </a:solidFill>
                        </a:uFill>
                        <a:latin typeface="+mn-lt"/>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0675719"/>
                  </a:ext>
                </a:extLst>
              </a:tr>
              <a:tr h="909559">
                <a:tc>
                  <a:txBody>
                    <a:bodyPr/>
                    <a:lstStyle/>
                    <a:p>
                      <a:pPr algn="ctr">
                        <a:tabLst>
                          <a:tab pos="1003935" algn="l"/>
                        </a:tabLst>
                      </a:pPr>
                      <a:r>
                        <a:rPr lang="fr-FR" sz="800" b="0" i="0" u="none" strike="noStrike" kern="1200" dirty="0">
                          <a:solidFill>
                            <a:srgbClr val="000000"/>
                          </a:solidFill>
                          <a:effectLst/>
                          <a:latin typeface="+mn-lt"/>
                          <a:ea typeface="+mn-ea"/>
                          <a:cs typeface="Calibri" panose="020F0502020204030204" pitchFamily="34" charset="0"/>
                        </a:rPr>
                        <a:t>Transformation organisationnelle et opérationnelle de la filière recouvrement de l’Amen Bank</a:t>
                      </a:r>
                    </a:p>
                  </a:txBody>
                  <a:tcPr marL="7620" marR="7620" marT="7620"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a:solidFill>
                            <a:srgbClr val="000000"/>
                          </a:solidFill>
                          <a:effectLst/>
                          <a:latin typeface="+mn-lt"/>
                          <a:cs typeface="Calibri" panose="020F0502020204030204" pitchFamily="34" charset="0"/>
                        </a:rPr>
                        <a:t>AMEN Bank</a:t>
                      </a:r>
                    </a:p>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a:solidFill>
                            <a:srgbClr val="000000"/>
                          </a:solidFill>
                          <a:effectLst/>
                          <a:latin typeface="+mn-lt"/>
                          <a:ea typeface="+mn-ea"/>
                          <a:cs typeface="Calibri" panose="020F0502020204030204" pitchFamily="34" charset="0"/>
                        </a:rPr>
                        <a:t>Tunisie</a:t>
                      </a:r>
                      <a:endParaRPr lang="fr-FR" sz="800" b="0" i="0" u="none" strike="noStrike" kern="1200" dirty="0">
                        <a:solidFill>
                          <a:srgbClr val="000000"/>
                        </a:solidFill>
                        <a:effectLst/>
                        <a:latin typeface="+mn-lt"/>
                        <a:ea typeface="+mn-ea"/>
                        <a:cs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743956"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0000"/>
                          </a:solidFill>
                          <a:effectLst/>
                          <a:latin typeface="+mn-lt"/>
                          <a:ea typeface="+mn-ea"/>
                          <a:cs typeface="Calibri" panose="020F0502020204030204" pitchFamily="34" charset="0"/>
                        </a:rPr>
                        <a:t>20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Diagnostic de la filière recouvrement (organisation actuelle, effectif actuel, procédures et degré d’application, …)</a:t>
                      </a:r>
                    </a:p>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Conception d’un processus de recouvrement cible</a:t>
                      </a:r>
                    </a:p>
                    <a:p>
                      <a:pPr marL="171450" marR="0" lvl="0" indent="-171450" algn="just" defTabSz="743956" rtl="0" eaLnBrk="1" fontAlgn="auto" latinLnBrk="0" hangingPunct="1">
                        <a:lnSpc>
                          <a:spcPct val="100000"/>
                        </a:lnSpc>
                        <a:spcBef>
                          <a:spcPts val="0"/>
                        </a:spcBef>
                        <a:spcAft>
                          <a:spcPts val="0"/>
                        </a:spcAft>
                        <a:buClr>
                          <a:srgbClr val="FFCC00"/>
                        </a:buClr>
                        <a:buSzPts val="1000"/>
                        <a:buFont typeface="Wingdings" panose="05000000000000000000" pitchFamily="2" charset="2"/>
                        <a:buChar char="Ø"/>
                        <a:tabLst>
                          <a:tab pos="1003935" algn="l"/>
                        </a:tabLst>
                        <a:defRPr/>
                      </a:pPr>
                      <a:r>
                        <a:rPr lang="fr-FR" sz="800" kern="1200" dirty="0">
                          <a:solidFill>
                            <a:srgbClr val="000000"/>
                          </a:solidFill>
                          <a:effectLst/>
                          <a:uFill>
                            <a:solidFill>
                              <a:srgbClr val="993366"/>
                            </a:solidFill>
                          </a:uFill>
                          <a:latin typeface="+mn-lt"/>
                          <a:ea typeface="Times New Roman" panose="02020603050405020304" pitchFamily="18" charset="0"/>
                          <a:cs typeface="Calibri" panose="020F0502020204030204" pitchFamily="34" charset="0"/>
                        </a:rPr>
                        <a:t>Conception de l’organisation cible</a:t>
                      </a:r>
                    </a:p>
                  </a:txBody>
                  <a:tcPr marL="7620" marR="7620" marT="762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2748960"/>
                  </a:ext>
                </a:extLst>
              </a:tr>
            </a:tbl>
          </a:graphicData>
        </a:graphic>
      </p:graphicFrame>
      <p:sp>
        <p:nvSpPr>
          <p:cNvPr id="13" name="Title 1">
            <a:extLst>
              <a:ext uri="{FF2B5EF4-FFF2-40B4-BE49-F238E27FC236}">
                <a16:creationId xmlns:a16="http://schemas.microsoft.com/office/drawing/2014/main" id="{91511BCD-DF52-4CD3-8A22-137A2A4ED4EF}"/>
              </a:ext>
            </a:extLst>
          </p:cNvPr>
          <p:cNvSpPr txBox="1">
            <a:spLocks/>
          </p:cNvSpPr>
          <p:nvPr/>
        </p:nvSpPr>
        <p:spPr>
          <a:xfrm>
            <a:off x="496252" y="289845"/>
            <a:ext cx="8932545" cy="590400"/>
          </a:xfrm>
          <a:prstGeom prst="rect">
            <a:avLst/>
          </a:prstGeom>
        </p:spPr>
        <p:txBody>
          <a:bodyPr vert="horz" lIns="0" tIns="0" rIns="0" bIns="0" rtlCol="0" anchor="ctr" anchorCtr="0">
            <a:noAutofit/>
          </a:bodyPr>
          <a:lstStyle>
            <a:lvl1pPr algn="l" defTabSz="743956" rtl="0" eaLnBrk="1" latinLnBrk="0" hangingPunct="1">
              <a:lnSpc>
                <a:spcPct val="85000"/>
              </a:lnSpc>
              <a:spcBef>
                <a:spcPct val="0"/>
              </a:spcBef>
              <a:buNone/>
              <a:defRPr sz="1953"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400" b="1" dirty="0" err="1"/>
              <a:t>Annexe</a:t>
            </a:r>
            <a:r>
              <a:rPr lang="en-US" sz="1400" b="1" dirty="0"/>
              <a:t> 8 : LISTE DES INTERVENANTS</a:t>
            </a:r>
            <a:br>
              <a:rPr lang="en-US" sz="1302" b="1" dirty="0"/>
            </a:br>
            <a:r>
              <a:rPr lang="en-US" sz="1302" dirty="0"/>
              <a:t>Expert </a:t>
            </a:r>
            <a:r>
              <a:rPr lang="en-US" sz="1302" dirty="0" err="1"/>
              <a:t>Stratégie</a:t>
            </a:r>
            <a:r>
              <a:rPr lang="en-US" sz="1302" dirty="0"/>
              <a:t> </a:t>
            </a:r>
            <a:r>
              <a:rPr lang="en-US" sz="1302" dirty="0" err="1"/>
              <a:t>Bancaire</a:t>
            </a:r>
            <a:r>
              <a:rPr lang="en-US" sz="1302" dirty="0"/>
              <a:t> (4/4)</a:t>
            </a:r>
            <a:endParaRPr lang="en-US" sz="1400" dirty="0"/>
          </a:p>
        </p:txBody>
      </p:sp>
    </p:spTree>
    <p:extLst>
      <p:ext uri="{BB962C8B-B14F-4D97-AF65-F5344CB8AC3E}">
        <p14:creationId xmlns:p14="http://schemas.microsoft.com/office/powerpoint/2010/main" val="3198635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172FD0_82C1_4F8D_A474_F238658057C6&quot;,&quot;SourceFullName&quot;:&quot;&quot;,&quot;LastUpdate&quot;:&quot;2024-03-05 11:18 AM&quot;,&quot;UpdatedBy&quot;:&quot;YC446QX&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D9EAC78_0913_42BD_AD8D_88F1D7CD140D&quot;,&quot;SourceFullName&quot;:&quot;&quot;,&quot;LastUpdate&quot;:&quot;2024-02-29 1:14 PM&quot;,&quot;UpdatedBy&quot;:&quot;YC446QX&quot;,&quot;IsLinked&quot;:false,&quot;IsBrokenLink&quot;:false,&quot;Type&quot;: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8CB920E_3E32_4601_9ABB_8B03AAA6141C&quot;,&quot;SourceFullName&quot;:&quot;&quot;,&quot;LastUpdate&quot;:&quot;2024-03-06 9:49 AM&quot;,&quot;UpdatedBy&quot;:&quot;YC446QX&quot;,&quot;IsLinked&quot;:false,&quot;IsBrokenLink&quot;:false,&quot;Type&quot;: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172FD0_82C1_4F8D_A474_F238658057C6&quot;,&quot;SourceFullName&quot;:&quot;&quot;,&quot;LastUpdate&quot;:&quot;2024-03-05 11:18 AM&quot;,&quot;UpdatedBy&quot;:&quot;YC446QX&quot;,&quot;IsLinked&quot;:false,&quot;IsBrokenLink&quot;:false,&quot;Type&quot;:2}"/>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C844DE1E92EF4698F910C09954FDFE" ma:contentTypeVersion="6" ma:contentTypeDescription="Create a new document." ma:contentTypeScope="" ma:versionID="ad8d24fef22e4c5013471828d4a2b678">
  <xsd:schema xmlns:xsd="http://www.w3.org/2001/XMLSchema" xmlns:xs="http://www.w3.org/2001/XMLSchema" xmlns:p="http://schemas.microsoft.com/office/2006/metadata/properties" xmlns:ns2="92ebf740-c20c-4b99-8281-fa51a27b90fe" xmlns:ns3="1c205334-ae5f-47cf-89fa-edde541b2a58" targetNamespace="http://schemas.microsoft.com/office/2006/metadata/properties" ma:root="true" ma:fieldsID="19b9732127c24a23bb45a7fa21209b57" ns2:_="" ns3:_="">
    <xsd:import namespace="92ebf740-c20c-4b99-8281-fa51a27b90fe"/>
    <xsd:import namespace="1c205334-ae5f-47cf-89fa-edde541b2a5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ebf740-c20c-4b99-8281-fa51a27b90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205334-ae5f-47cf-89fa-edde541b2a5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E71E302-1AAA-442B-96F6-35CB380954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ebf740-c20c-4b99-8281-fa51a27b90fe"/>
    <ds:schemaRef ds:uri="1c205334-ae5f-47cf-89fa-edde541b2a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57B3E1-124C-433E-9854-32A641D15A06}">
  <ds:schemaRefs>
    <ds:schemaRef ds:uri="http://schemas.microsoft.com/sharepoint/v3/contenttype/forms"/>
  </ds:schemaRefs>
</ds:datastoreItem>
</file>

<file path=customXml/itemProps3.xml><?xml version="1.0" encoding="utf-8"?>
<ds:datastoreItem xmlns:ds="http://schemas.openxmlformats.org/officeDocument/2006/customXml" ds:itemID="{4E2F4318-2C1E-4C06-9A70-445FABE3C322}">
  <ds:schemaRefs>
    <ds:schemaRef ds:uri="http://purl.org/dc/elements/1.1/"/>
    <ds:schemaRef ds:uri="http://purl.org/dc/dcmitype/"/>
    <ds:schemaRef ds:uri="http://schemas.microsoft.com/office/2006/metadata/properties"/>
    <ds:schemaRef ds:uri="http://schemas.microsoft.com/office/2006/documentManagement/types"/>
    <ds:schemaRef ds:uri="http://purl.org/dc/terms/"/>
    <ds:schemaRef ds:uri="92ebf740-c20c-4b99-8281-fa51a27b90fe"/>
    <ds:schemaRef ds:uri="http://schemas.openxmlformats.org/package/2006/metadata/core-properties"/>
    <ds:schemaRef ds:uri="http://schemas.microsoft.com/office/infopath/2007/PartnerControls"/>
    <ds:schemaRef ds:uri="1c205334-ae5f-47cf-89fa-edde541b2a5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237</Words>
  <Application>Microsoft Office PowerPoint</Application>
  <PresentationFormat>Custom</PresentationFormat>
  <Paragraphs>149</Paragraphs>
  <Slides>4</Slides>
  <Notes>0</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EY light background</vt:lpstr>
      <vt:lpstr>Annexe 8 : LISTE DES INTERVENANTS  Expert Stratégie Bancaire (1/4)</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nexe 8 : LISTE DES INTERVENANTS  Expert Stratégie Bancaire (1/4)</dc:title>
  <dc:creator/>
  <cp:keywords/>
  <cp:lastModifiedBy/>
  <cp:revision>8</cp:revision>
  <dcterms:created xsi:type="dcterms:W3CDTF">2020-06-09T18:31:46Z</dcterms:created>
  <dcterms:modified xsi:type="dcterms:W3CDTF">2024-04-26T08:49:2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C844DE1E92EF4698F910C09954FDFE</vt:lpwstr>
  </property>
  <property fmtid="{D5CDD505-2E9C-101B-9397-08002B2CF9AE}" pid="3" name="WppReportCurrencySymbol">
    <vt:lpwstr>€</vt:lpwstr>
  </property>
  <property fmtid="{D5CDD505-2E9C-101B-9397-08002B2CF9AE}" pid="4" name="WppReportDashboardTitleText">
    <vt:lpwstr>Dashboard</vt:lpwstr>
  </property>
  <property fmtid="{D5CDD505-2E9C-101B-9397-08002B2CF9AE}" pid="5" name="WppReportPropertiesLastWrittenToDocument">
    <vt:filetime>2023-03-23T09:30:31Z</vt:filetime>
  </property>
  <property fmtid="{D5CDD505-2E9C-101B-9397-08002B2CF9AE}" pid="6" name="WppReportIsTocUpdateRecommended">
    <vt:bool>true</vt:bool>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Date">
    <vt:lpwstr/>
  </property>
  <property fmtid="{D5CDD505-2E9C-101B-9397-08002B2CF9AE}" pid="10" name="WppReportDraft">
    <vt:lpwstr>(Draft)</vt:lpwstr>
  </property>
  <property fmtid="{D5CDD505-2E9C-101B-9397-08002B2CF9AE}" pid="11" name="WppReportVersion">
    <vt:lpwstr>Version 1.0</vt:lpwstr>
  </property>
  <property fmtid="{D5CDD505-2E9C-101B-9397-08002B2CF9AE}" pid="12" name="WppReportTocTitleText">
    <vt:lpwstr>Table of contents</vt:lpwstr>
  </property>
</Properties>
</file>